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wmf" ContentType="image/x-w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87" r:id="rId1"/>
  </p:sldMasterIdLst>
  <p:notesMasterIdLst>
    <p:notesMasterId r:id="rId35"/>
  </p:notesMasterIdLst>
  <p:sldIdLst>
    <p:sldId id="256" r:id="rId2"/>
    <p:sldId id="260" r:id="rId3"/>
    <p:sldId id="261" r:id="rId4"/>
    <p:sldId id="262" r:id="rId5"/>
    <p:sldId id="258" r:id="rId6"/>
    <p:sldId id="259" r:id="rId7"/>
    <p:sldId id="263" r:id="rId8"/>
    <p:sldId id="264" r:id="rId9"/>
    <p:sldId id="265" r:id="rId10"/>
    <p:sldId id="266" r:id="rId11"/>
    <p:sldId id="267" r:id="rId12"/>
    <p:sldId id="268" r:id="rId13"/>
    <p:sldId id="269" r:id="rId14"/>
    <p:sldId id="270" r:id="rId15"/>
    <p:sldId id="271" r:id="rId16"/>
    <p:sldId id="281" r:id="rId17"/>
    <p:sldId id="272" r:id="rId18"/>
    <p:sldId id="273" r:id="rId19"/>
    <p:sldId id="282" r:id="rId20"/>
    <p:sldId id="280" r:id="rId21"/>
    <p:sldId id="286" r:id="rId22"/>
    <p:sldId id="287" r:id="rId23"/>
    <p:sldId id="290" r:id="rId24"/>
    <p:sldId id="283" r:id="rId25"/>
    <p:sldId id="285" r:id="rId26"/>
    <p:sldId id="293" r:id="rId27"/>
    <p:sldId id="292" r:id="rId28"/>
    <p:sldId id="284" r:id="rId29"/>
    <p:sldId id="296" r:id="rId30"/>
    <p:sldId id="294" r:id="rId31"/>
    <p:sldId id="295" r:id="rId32"/>
    <p:sldId id="297" r:id="rId33"/>
    <p:sldId id="298" r:id="rId34"/>
  </p:sldIdLst>
  <p:sldSz cx="10080625" cy="5670550"/>
  <p:notesSz cx="7559675" cy="106918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2" autoAdjust="0"/>
    <p:restoredTop sz="94581" autoAdjust="0"/>
  </p:normalViewPr>
  <p:slideViewPr>
    <p:cSldViewPr snapToGrid="0" snapToObjects="1">
      <p:cViewPr>
        <p:scale>
          <a:sx n="80" d="100"/>
          <a:sy n="80" d="100"/>
        </p:scale>
        <p:origin x="1214" y="259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22F5B37-28FE-452B-A111-0458EEA77523}" type="doc">
      <dgm:prSet loTypeId="urn:microsoft.com/office/officeart/2005/8/layout/b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it-IT"/>
        </a:p>
      </dgm:t>
    </dgm:pt>
    <dgm:pt modelId="{977E1232-C21D-4A99-BA3E-CDFB8824601A}">
      <dgm:prSet phldrT="[Testo]" custT="1"/>
      <dgm:spPr/>
      <dgm:t>
        <a:bodyPr/>
        <a:lstStyle/>
        <a:p>
          <a:r>
            <a:rPr lang="it-IT" sz="2400" dirty="0" smtClean="0"/>
            <a:t>Studio</a:t>
          </a:r>
          <a:endParaRPr lang="it-IT" sz="2400" dirty="0"/>
        </a:p>
      </dgm:t>
    </dgm:pt>
    <dgm:pt modelId="{EDDD8F7D-F92A-4F37-802D-C7288AF9F6F2}" type="parTrans" cxnId="{AA9F382C-E0F7-4481-A041-F5A58CDEC36C}">
      <dgm:prSet/>
      <dgm:spPr/>
      <dgm:t>
        <a:bodyPr/>
        <a:lstStyle/>
        <a:p>
          <a:endParaRPr lang="it-IT" sz="1600"/>
        </a:p>
      </dgm:t>
    </dgm:pt>
    <dgm:pt modelId="{6E7F083B-FCEF-4D9C-BD5F-D990D6803124}" type="sibTrans" cxnId="{AA9F382C-E0F7-4481-A041-F5A58CDEC36C}">
      <dgm:prSet/>
      <dgm:spPr/>
      <dgm:t>
        <a:bodyPr/>
        <a:lstStyle/>
        <a:p>
          <a:endParaRPr lang="it-IT" sz="1600"/>
        </a:p>
      </dgm:t>
    </dgm:pt>
    <dgm:pt modelId="{B4F32F63-5285-4C45-81B7-2D759624E205}">
      <dgm:prSet phldrT="[Testo]" custT="1"/>
      <dgm:spPr/>
      <dgm:t>
        <a:bodyPr/>
        <a:lstStyle/>
        <a:p>
          <a:r>
            <a:rPr lang="it-IT" sz="1600" dirty="0" smtClean="0"/>
            <a:t>Analisi variabilità</a:t>
          </a:r>
          <a:endParaRPr lang="it-IT" sz="1600" dirty="0"/>
        </a:p>
      </dgm:t>
    </dgm:pt>
    <dgm:pt modelId="{1C9C6F00-41A7-4B22-A5E4-9785B20BA29C}" type="parTrans" cxnId="{8902F3A8-A1DD-4993-98B9-F59F269B8B91}">
      <dgm:prSet/>
      <dgm:spPr/>
      <dgm:t>
        <a:bodyPr/>
        <a:lstStyle/>
        <a:p>
          <a:endParaRPr lang="it-IT" sz="1600"/>
        </a:p>
      </dgm:t>
    </dgm:pt>
    <dgm:pt modelId="{0CBDF005-6BD9-4524-A853-B580988F66B4}" type="sibTrans" cxnId="{8902F3A8-A1DD-4993-98B9-F59F269B8B91}">
      <dgm:prSet/>
      <dgm:spPr/>
      <dgm:t>
        <a:bodyPr/>
        <a:lstStyle/>
        <a:p>
          <a:endParaRPr lang="it-IT" sz="1600"/>
        </a:p>
      </dgm:t>
    </dgm:pt>
    <dgm:pt modelId="{4617A46A-8CCF-4D0C-9D71-1F5A411E9575}">
      <dgm:prSet phldrT="[Testo]" custT="1"/>
      <dgm:spPr/>
      <dgm:t>
        <a:bodyPr/>
        <a:lstStyle/>
        <a:p>
          <a:r>
            <a:rPr lang="it-IT" sz="1600" dirty="0" smtClean="0"/>
            <a:t>Studio degli stress degli </a:t>
          </a:r>
          <a:r>
            <a:rPr lang="it-IT" sz="1600" dirty="0" err="1" smtClean="0"/>
            <a:t>shim</a:t>
          </a:r>
          <a:endParaRPr lang="it-IT" sz="1600" dirty="0"/>
        </a:p>
      </dgm:t>
    </dgm:pt>
    <dgm:pt modelId="{3DAB8CF6-7F5C-4DBB-BEA9-D3083090D7AB}" type="parTrans" cxnId="{D053BEFA-6527-4F56-99E1-255F5E8D7BE3}">
      <dgm:prSet/>
      <dgm:spPr/>
      <dgm:t>
        <a:bodyPr/>
        <a:lstStyle/>
        <a:p>
          <a:endParaRPr lang="it-IT" sz="1600"/>
        </a:p>
      </dgm:t>
    </dgm:pt>
    <dgm:pt modelId="{8C76975A-9B21-4B20-B4ED-3CB8BCC8ED0C}" type="sibTrans" cxnId="{D053BEFA-6527-4F56-99E1-255F5E8D7BE3}">
      <dgm:prSet/>
      <dgm:spPr/>
      <dgm:t>
        <a:bodyPr/>
        <a:lstStyle/>
        <a:p>
          <a:endParaRPr lang="it-IT" sz="1600"/>
        </a:p>
      </dgm:t>
    </dgm:pt>
    <dgm:pt modelId="{605FBB7A-46F5-4EF6-A3A8-16F306D34D5B}">
      <dgm:prSet phldrT="[Testo]" custT="1"/>
      <dgm:spPr/>
      <dgm:t>
        <a:bodyPr/>
        <a:lstStyle/>
        <a:p>
          <a:r>
            <a:rPr lang="it-IT" sz="2400" dirty="0" smtClean="0"/>
            <a:t>Misura</a:t>
          </a:r>
          <a:endParaRPr lang="it-IT" sz="2400" dirty="0"/>
        </a:p>
      </dgm:t>
    </dgm:pt>
    <dgm:pt modelId="{4EED3BE5-8983-447E-97C7-A74C55BDEA53}" type="parTrans" cxnId="{3A966046-9FA8-4C5E-BB73-D575EEE1987F}">
      <dgm:prSet/>
      <dgm:spPr/>
      <dgm:t>
        <a:bodyPr/>
        <a:lstStyle/>
        <a:p>
          <a:endParaRPr lang="it-IT" sz="1600"/>
        </a:p>
      </dgm:t>
    </dgm:pt>
    <dgm:pt modelId="{E94CD1DB-6BC8-4C3F-8020-E9048D203181}" type="sibTrans" cxnId="{3A966046-9FA8-4C5E-BB73-D575EEE1987F}">
      <dgm:prSet/>
      <dgm:spPr/>
      <dgm:t>
        <a:bodyPr/>
        <a:lstStyle/>
        <a:p>
          <a:endParaRPr lang="it-IT" sz="1600"/>
        </a:p>
      </dgm:t>
    </dgm:pt>
    <dgm:pt modelId="{EA0C177E-37D1-4869-BD33-8A66D2B31096}">
      <dgm:prSet phldrT="[Testo]" custT="1"/>
      <dgm:spPr/>
      <dgm:t>
        <a:bodyPr/>
        <a:lstStyle/>
        <a:p>
          <a:r>
            <a:rPr lang="it-IT" sz="1600" dirty="0" smtClean="0"/>
            <a:t>Studio di strumenti di misura </a:t>
          </a:r>
          <a:endParaRPr lang="it-IT" sz="1600" dirty="0"/>
        </a:p>
      </dgm:t>
    </dgm:pt>
    <dgm:pt modelId="{DBA5477E-C982-4FAD-9FE0-37EF12D31E30}" type="parTrans" cxnId="{E639138C-5286-49BD-B6AB-0648AD9FE56F}">
      <dgm:prSet/>
      <dgm:spPr/>
      <dgm:t>
        <a:bodyPr/>
        <a:lstStyle/>
        <a:p>
          <a:endParaRPr lang="it-IT" sz="1600"/>
        </a:p>
      </dgm:t>
    </dgm:pt>
    <dgm:pt modelId="{8A4144CA-F773-4752-9CA0-AE5DF324111A}" type="sibTrans" cxnId="{E639138C-5286-49BD-B6AB-0648AD9FE56F}">
      <dgm:prSet/>
      <dgm:spPr/>
      <dgm:t>
        <a:bodyPr/>
        <a:lstStyle/>
        <a:p>
          <a:endParaRPr lang="it-IT" sz="1600"/>
        </a:p>
      </dgm:t>
    </dgm:pt>
    <dgm:pt modelId="{70583264-FA79-4674-8F8E-44045E6A2D5D}">
      <dgm:prSet phldrT="[Testo]" custT="1"/>
      <dgm:spPr/>
      <dgm:t>
        <a:bodyPr/>
        <a:lstStyle/>
        <a:p>
          <a:r>
            <a:rPr lang="it-IT" sz="1600" dirty="0" smtClean="0"/>
            <a:t>Studio dei processi di misura automatici</a:t>
          </a:r>
          <a:endParaRPr lang="it-IT" sz="1600" dirty="0"/>
        </a:p>
      </dgm:t>
    </dgm:pt>
    <dgm:pt modelId="{462D35CC-A4D7-4703-B6E7-762D6E6E5188}" type="parTrans" cxnId="{7A1DB238-C4AE-450F-9D79-673C1F408CA3}">
      <dgm:prSet/>
      <dgm:spPr/>
      <dgm:t>
        <a:bodyPr/>
        <a:lstStyle/>
        <a:p>
          <a:endParaRPr lang="it-IT" sz="1600"/>
        </a:p>
      </dgm:t>
    </dgm:pt>
    <dgm:pt modelId="{9150DF71-BFFC-4038-8856-155208755879}" type="sibTrans" cxnId="{7A1DB238-C4AE-450F-9D79-673C1F408CA3}">
      <dgm:prSet/>
      <dgm:spPr/>
      <dgm:t>
        <a:bodyPr/>
        <a:lstStyle/>
        <a:p>
          <a:endParaRPr lang="it-IT" sz="1600"/>
        </a:p>
      </dgm:t>
    </dgm:pt>
    <dgm:pt modelId="{74933C92-2A58-4E15-B7BC-401A05D99DF9}">
      <dgm:prSet phldrT="[Testo]" custT="1"/>
      <dgm:spPr/>
      <dgm:t>
        <a:bodyPr/>
        <a:lstStyle/>
        <a:p>
          <a:r>
            <a:rPr lang="it-IT" sz="2000" dirty="0" smtClean="0"/>
            <a:t>Soluzioni </a:t>
          </a:r>
          <a:r>
            <a:rPr lang="it-IT" sz="2000" dirty="0" err="1" smtClean="0"/>
            <a:t>Tecnlogiche</a:t>
          </a:r>
          <a:endParaRPr lang="it-IT" sz="2000" dirty="0"/>
        </a:p>
      </dgm:t>
    </dgm:pt>
    <dgm:pt modelId="{FCCCC82B-05AD-4EC0-A8F3-6FCFF5AA93C9}" type="parTrans" cxnId="{9CDF650A-C5E5-4339-94E0-76612D16234E}">
      <dgm:prSet/>
      <dgm:spPr/>
      <dgm:t>
        <a:bodyPr/>
        <a:lstStyle/>
        <a:p>
          <a:endParaRPr lang="it-IT" sz="1600"/>
        </a:p>
      </dgm:t>
    </dgm:pt>
    <dgm:pt modelId="{FD276A66-C7E4-41CF-B227-AEBBBF4192BB}" type="sibTrans" cxnId="{9CDF650A-C5E5-4339-94E0-76612D16234E}">
      <dgm:prSet/>
      <dgm:spPr/>
      <dgm:t>
        <a:bodyPr/>
        <a:lstStyle/>
        <a:p>
          <a:endParaRPr lang="it-IT" sz="1600"/>
        </a:p>
      </dgm:t>
    </dgm:pt>
    <dgm:pt modelId="{D2DAC313-13F5-443B-82CE-ABBDECE76AC7}">
      <dgm:prSet phldrT="[Testo]" custT="1"/>
      <dgm:spPr/>
      <dgm:t>
        <a:bodyPr/>
        <a:lstStyle/>
        <a:p>
          <a:r>
            <a:rPr lang="it-IT" sz="1600" dirty="0" smtClean="0"/>
            <a:t>Individuazione delle soluzioni</a:t>
          </a:r>
          <a:endParaRPr lang="it-IT" sz="1600" dirty="0"/>
        </a:p>
      </dgm:t>
    </dgm:pt>
    <dgm:pt modelId="{BEA4B7BA-2BB6-4B4A-82D2-14540AD6573D}" type="parTrans" cxnId="{0CF5599A-316A-46E9-A9E2-3207D597250A}">
      <dgm:prSet/>
      <dgm:spPr/>
      <dgm:t>
        <a:bodyPr/>
        <a:lstStyle/>
        <a:p>
          <a:endParaRPr lang="it-IT" sz="1600"/>
        </a:p>
      </dgm:t>
    </dgm:pt>
    <dgm:pt modelId="{9A8E9B03-E7EE-45BF-AA8D-CA8B5830661E}" type="sibTrans" cxnId="{0CF5599A-316A-46E9-A9E2-3207D597250A}">
      <dgm:prSet/>
      <dgm:spPr/>
      <dgm:t>
        <a:bodyPr/>
        <a:lstStyle/>
        <a:p>
          <a:endParaRPr lang="it-IT" sz="1600"/>
        </a:p>
      </dgm:t>
    </dgm:pt>
    <dgm:pt modelId="{27008596-6032-4F95-A5AE-7CDEC95F35A0}">
      <dgm:prSet custT="1"/>
      <dgm:spPr/>
      <dgm:t>
        <a:bodyPr/>
        <a:lstStyle/>
        <a:p>
          <a:r>
            <a:rPr lang="it-IT" sz="2000" dirty="0" smtClean="0"/>
            <a:t>Dimostratore</a:t>
          </a:r>
          <a:endParaRPr lang="it-IT" sz="2000" dirty="0"/>
        </a:p>
      </dgm:t>
    </dgm:pt>
    <dgm:pt modelId="{26B3CD70-B40A-410E-975D-ECF5E0E8A662}" type="parTrans" cxnId="{97562977-68E7-4D13-9773-2E1137CBF23F}">
      <dgm:prSet/>
      <dgm:spPr/>
      <dgm:t>
        <a:bodyPr/>
        <a:lstStyle/>
        <a:p>
          <a:endParaRPr lang="it-IT" sz="1600"/>
        </a:p>
      </dgm:t>
    </dgm:pt>
    <dgm:pt modelId="{DBDC76CC-65FA-4C1C-ACEE-96E5808D0BB0}" type="sibTrans" cxnId="{97562977-68E7-4D13-9773-2E1137CBF23F}">
      <dgm:prSet/>
      <dgm:spPr/>
      <dgm:t>
        <a:bodyPr/>
        <a:lstStyle/>
        <a:p>
          <a:endParaRPr lang="it-IT" sz="1600"/>
        </a:p>
      </dgm:t>
    </dgm:pt>
    <dgm:pt modelId="{EAAF8826-5AA5-4295-9FF3-193F37D73A18}">
      <dgm:prSet custT="1"/>
      <dgm:spPr/>
      <dgm:t>
        <a:bodyPr/>
        <a:lstStyle/>
        <a:p>
          <a:r>
            <a:rPr lang="it-IT" sz="1600" dirty="0" smtClean="0"/>
            <a:t>Verifica delle soluzioni oggetto di studio</a:t>
          </a:r>
          <a:endParaRPr lang="it-IT" sz="1600" dirty="0"/>
        </a:p>
      </dgm:t>
    </dgm:pt>
    <dgm:pt modelId="{BCBF133D-7BF0-47F0-ADBC-8F1E77B9C7A9}" type="parTrans" cxnId="{A65DABE6-1460-4183-B92B-E6EF8C5B4836}">
      <dgm:prSet/>
      <dgm:spPr/>
      <dgm:t>
        <a:bodyPr/>
        <a:lstStyle/>
        <a:p>
          <a:endParaRPr lang="it-IT" sz="1600"/>
        </a:p>
      </dgm:t>
    </dgm:pt>
    <dgm:pt modelId="{3388DB8B-222F-4A0F-B50D-DB9B601EDD5C}" type="sibTrans" cxnId="{A65DABE6-1460-4183-B92B-E6EF8C5B4836}">
      <dgm:prSet/>
      <dgm:spPr/>
      <dgm:t>
        <a:bodyPr/>
        <a:lstStyle/>
        <a:p>
          <a:endParaRPr lang="it-IT" sz="1600"/>
        </a:p>
      </dgm:t>
    </dgm:pt>
    <dgm:pt modelId="{75543C9D-8321-40E8-AAC3-EDD86C9BB0B1}">
      <dgm:prSet phldrT="[Testo]" custT="1"/>
      <dgm:spPr/>
      <dgm:t>
        <a:bodyPr/>
        <a:lstStyle/>
        <a:p>
          <a:r>
            <a:rPr lang="it-IT" sz="1600" dirty="0" smtClean="0"/>
            <a:t>Benchmark</a:t>
          </a:r>
          <a:endParaRPr lang="it-IT" sz="1600" dirty="0"/>
        </a:p>
      </dgm:t>
    </dgm:pt>
    <dgm:pt modelId="{4574E858-9C56-4B4F-815C-DB74D7F28A28}" type="parTrans" cxnId="{AA0788DA-1CAA-45A2-BA7C-C6302FEDA155}">
      <dgm:prSet/>
      <dgm:spPr/>
      <dgm:t>
        <a:bodyPr/>
        <a:lstStyle/>
        <a:p>
          <a:endParaRPr lang="it-IT" sz="1600"/>
        </a:p>
      </dgm:t>
    </dgm:pt>
    <dgm:pt modelId="{B7B31F10-3EB0-46D6-966D-9DE08516E5A5}" type="sibTrans" cxnId="{AA0788DA-1CAA-45A2-BA7C-C6302FEDA155}">
      <dgm:prSet/>
      <dgm:spPr/>
      <dgm:t>
        <a:bodyPr/>
        <a:lstStyle/>
        <a:p>
          <a:endParaRPr lang="it-IT" sz="1600"/>
        </a:p>
      </dgm:t>
    </dgm:pt>
    <dgm:pt modelId="{EF249339-C4CA-46B2-8768-BC42C316CEE1}">
      <dgm:prSet phldrT="[Testo]" custT="1"/>
      <dgm:spPr/>
      <dgm:t>
        <a:bodyPr/>
        <a:lstStyle/>
        <a:p>
          <a:r>
            <a:rPr lang="it-IT" sz="1600" dirty="0" smtClean="0"/>
            <a:t>Sviluppo software</a:t>
          </a:r>
          <a:endParaRPr lang="it-IT" sz="1600" dirty="0"/>
        </a:p>
      </dgm:t>
    </dgm:pt>
    <dgm:pt modelId="{E87805DE-9EAC-454D-B568-D7E9206E7B6B}" type="parTrans" cxnId="{6B1C6E69-3FEB-4EA8-B943-7055124DCCAF}">
      <dgm:prSet/>
      <dgm:spPr/>
      <dgm:t>
        <a:bodyPr/>
        <a:lstStyle/>
        <a:p>
          <a:endParaRPr lang="it-IT" sz="1600"/>
        </a:p>
      </dgm:t>
    </dgm:pt>
    <dgm:pt modelId="{1B4595CB-9DA9-4B86-BD9F-C8EB279E2593}" type="sibTrans" cxnId="{6B1C6E69-3FEB-4EA8-B943-7055124DCCAF}">
      <dgm:prSet/>
      <dgm:spPr/>
      <dgm:t>
        <a:bodyPr/>
        <a:lstStyle/>
        <a:p>
          <a:endParaRPr lang="it-IT" sz="1600"/>
        </a:p>
      </dgm:t>
    </dgm:pt>
    <dgm:pt modelId="{EFBF2E64-15BE-442D-80F8-BD072C31CF20}">
      <dgm:prSet phldrT="[Testo]" custT="1"/>
      <dgm:spPr/>
      <dgm:t>
        <a:bodyPr/>
        <a:lstStyle/>
        <a:p>
          <a:r>
            <a:rPr lang="it-IT" sz="1600" dirty="0" smtClean="0"/>
            <a:t>Studio dell’implementazione</a:t>
          </a:r>
          <a:endParaRPr lang="it-IT" sz="1600" dirty="0"/>
        </a:p>
      </dgm:t>
    </dgm:pt>
    <dgm:pt modelId="{A5CADD43-C69D-4FB0-AED6-77E5DF529647}" type="parTrans" cxnId="{032D68DF-8712-474D-B061-EE4A359335A0}">
      <dgm:prSet/>
      <dgm:spPr/>
    </dgm:pt>
    <dgm:pt modelId="{D865C093-9B6C-4CD0-BAE0-D2F94DD04C0F}" type="sibTrans" cxnId="{032D68DF-8712-474D-B061-EE4A359335A0}">
      <dgm:prSet/>
      <dgm:spPr/>
    </dgm:pt>
    <dgm:pt modelId="{67E1F6F0-E728-47DE-972D-A66290D9CFC2}">
      <dgm:prSet phldrT="[Testo]" custT="1"/>
      <dgm:spPr/>
      <dgm:t>
        <a:bodyPr/>
        <a:lstStyle/>
        <a:p>
          <a:r>
            <a:rPr lang="it-IT" sz="1600" dirty="0" smtClean="0"/>
            <a:t>Innalzamento di TRL su soluzioni particolarmente innovative</a:t>
          </a:r>
          <a:endParaRPr lang="it-IT" sz="1600" dirty="0"/>
        </a:p>
      </dgm:t>
    </dgm:pt>
    <dgm:pt modelId="{45128634-0F4E-4BA4-A97E-628F93C13F80}" type="parTrans" cxnId="{4FA94E8C-9D01-4BAC-8ECD-78911D07328E}">
      <dgm:prSet/>
      <dgm:spPr/>
    </dgm:pt>
    <dgm:pt modelId="{E920DB0B-B9DD-44A4-9478-9A074D66FF30}" type="sibTrans" cxnId="{4FA94E8C-9D01-4BAC-8ECD-78911D07328E}">
      <dgm:prSet/>
      <dgm:spPr/>
    </dgm:pt>
    <dgm:pt modelId="{2E68CD06-BD38-4B1A-AB11-4172E0BA85AB}">
      <dgm:prSet phldrT="[Testo]" custT="1"/>
      <dgm:spPr/>
      <dgm:t>
        <a:bodyPr/>
        <a:lstStyle/>
        <a:p>
          <a:r>
            <a:rPr lang="it-IT" sz="1600" dirty="0" smtClean="0"/>
            <a:t>Calcolo predittivo dello </a:t>
          </a:r>
          <a:r>
            <a:rPr lang="it-IT" sz="1600" dirty="0" err="1" smtClean="0"/>
            <a:t>shim</a:t>
          </a:r>
          <a:endParaRPr lang="it-IT" sz="1600" dirty="0"/>
        </a:p>
      </dgm:t>
    </dgm:pt>
    <dgm:pt modelId="{91435B50-D6FF-4261-ADC8-CAFD53CF4FB2}" type="parTrans" cxnId="{1A294FE3-0D26-4D48-AE6C-88484355B263}">
      <dgm:prSet/>
      <dgm:spPr/>
    </dgm:pt>
    <dgm:pt modelId="{61D29223-E349-4F1F-8DAA-097E94EFCFC4}" type="sibTrans" cxnId="{1A294FE3-0D26-4D48-AE6C-88484355B263}">
      <dgm:prSet/>
      <dgm:spPr/>
    </dgm:pt>
    <dgm:pt modelId="{10B12952-6959-4065-9660-D66E3F94F4F3}" type="pres">
      <dgm:prSet presAssocID="{922F5B37-28FE-452B-A111-0458EEA77523}" presName="diagram" presStyleCnt="0">
        <dgm:presLayoutVars>
          <dgm:dir/>
          <dgm:animLvl val="lvl"/>
          <dgm:resizeHandles val="exact"/>
        </dgm:presLayoutVars>
      </dgm:prSet>
      <dgm:spPr/>
    </dgm:pt>
    <dgm:pt modelId="{EBDF9077-F9EF-4507-A451-18284C62CE4E}" type="pres">
      <dgm:prSet presAssocID="{977E1232-C21D-4A99-BA3E-CDFB8824601A}" presName="compNode" presStyleCnt="0"/>
      <dgm:spPr/>
    </dgm:pt>
    <dgm:pt modelId="{E62D88B7-F964-49ED-AD64-CF1EE6A85298}" type="pres">
      <dgm:prSet presAssocID="{977E1232-C21D-4A99-BA3E-CDFB8824601A}" presName="childRect" presStyleLbl="bgAcc1" presStyleIdx="0" presStyleCnt="4" custScaleY="160413">
        <dgm:presLayoutVars>
          <dgm:bulletEnabled val="1"/>
        </dgm:presLayoutVars>
      </dgm:prSet>
      <dgm:spPr/>
    </dgm:pt>
    <dgm:pt modelId="{D678B723-07DA-4F06-AD3C-B29758F5EA3E}" type="pres">
      <dgm:prSet presAssocID="{977E1232-C21D-4A99-BA3E-CDFB8824601A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75ADB50-D1B6-47B0-B978-2865A8B1B75D}" type="pres">
      <dgm:prSet presAssocID="{977E1232-C21D-4A99-BA3E-CDFB8824601A}" presName="parentRect" presStyleLbl="alignNode1" presStyleIdx="0" presStyleCnt="4"/>
      <dgm:spPr/>
    </dgm:pt>
    <dgm:pt modelId="{57D1A3ED-036B-4282-AEBD-FBA3FF5B9142}" type="pres">
      <dgm:prSet presAssocID="{977E1232-C21D-4A99-BA3E-CDFB8824601A}" presName="adorn" presStyleLbl="fgAccFollowNode1" presStyleIdx="0" presStyleCnt="4"/>
      <dgm:spPr/>
    </dgm:pt>
    <dgm:pt modelId="{731652B5-1340-48DC-9D14-F2668082BAD0}" type="pres">
      <dgm:prSet presAssocID="{6E7F083B-FCEF-4D9C-BD5F-D990D6803124}" presName="sibTrans" presStyleLbl="sibTrans2D1" presStyleIdx="0" presStyleCnt="0"/>
      <dgm:spPr/>
    </dgm:pt>
    <dgm:pt modelId="{2EA7C436-A2BC-4641-9994-1E529D815E50}" type="pres">
      <dgm:prSet presAssocID="{605FBB7A-46F5-4EF6-A3A8-16F306D34D5B}" presName="compNode" presStyleCnt="0"/>
      <dgm:spPr/>
    </dgm:pt>
    <dgm:pt modelId="{3872331E-5AD7-4278-9DDA-C64AC162A4C6}" type="pres">
      <dgm:prSet presAssocID="{605FBB7A-46F5-4EF6-A3A8-16F306D34D5B}" presName="childRect" presStyleLbl="bgAcc1" presStyleIdx="1" presStyleCnt="4" custScaleY="16041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9B91A192-1026-41EF-8BBF-3168A85B1CA3}" type="pres">
      <dgm:prSet presAssocID="{605FBB7A-46F5-4EF6-A3A8-16F306D34D5B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94A6EE2A-3E7D-4B69-A6E5-2FEFE4878316}" type="pres">
      <dgm:prSet presAssocID="{605FBB7A-46F5-4EF6-A3A8-16F306D34D5B}" presName="parentRect" presStyleLbl="alignNode1" presStyleIdx="1" presStyleCnt="4"/>
      <dgm:spPr/>
    </dgm:pt>
    <dgm:pt modelId="{E9120F13-E2D8-437B-9243-E9B8527379DC}" type="pres">
      <dgm:prSet presAssocID="{605FBB7A-46F5-4EF6-A3A8-16F306D34D5B}" presName="adorn" presStyleLbl="fgAccFollowNode1" presStyleIdx="1" presStyleCnt="4"/>
      <dgm:spPr/>
    </dgm:pt>
    <dgm:pt modelId="{7ED3AF70-3431-4317-9600-C68C27E50BCE}" type="pres">
      <dgm:prSet presAssocID="{E94CD1DB-6BC8-4C3F-8020-E9048D203181}" presName="sibTrans" presStyleLbl="sibTrans2D1" presStyleIdx="0" presStyleCnt="0"/>
      <dgm:spPr/>
    </dgm:pt>
    <dgm:pt modelId="{96569BFE-FC2E-4A5E-8169-2D8A5BCECB54}" type="pres">
      <dgm:prSet presAssocID="{74933C92-2A58-4E15-B7BC-401A05D99DF9}" presName="compNode" presStyleCnt="0"/>
      <dgm:spPr/>
    </dgm:pt>
    <dgm:pt modelId="{AEB127BD-F7D3-4E1F-8665-227FBACFBD90}" type="pres">
      <dgm:prSet presAssocID="{74933C92-2A58-4E15-B7BC-401A05D99DF9}" presName="childRect" presStyleLbl="bgAcc1" presStyleIdx="2" presStyleCnt="4" custScaleY="16041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0277707-4E0D-435C-8BBB-00521FC3F8DD}" type="pres">
      <dgm:prSet presAssocID="{74933C92-2A58-4E15-B7BC-401A05D99DF9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9899E3E5-B357-400B-80B0-14914903F8BA}" type="pres">
      <dgm:prSet presAssocID="{74933C92-2A58-4E15-B7BC-401A05D99DF9}" presName="parentRect" presStyleLbl="alignNode1" presStyleIdx="2" presStyleCnt="4"/>
      <dgm:spPr/>
    </dgm:pt>
    <dgm:pt modelId="{983B5866-D817-4AD0-B676-AD9C0511949B}" type="pres">
      <dgm:prSet presAssocID="{74933C92-2A58-4E15-B7BC-401A05D99DF9}" presName="adorn" presStyleLbl="fgAccFollowNode1" presStyleIdx="2" presStyleCnt="4"/>
      <dgm:spPr/>
    </dgm:pt>
    <dgm:pt modelId="{8F0F4BF4-D61C-4BF8-A9D0-CF0B068F99FF}" type="pres">
      <dgm:prSet presAssocID="{FD276A66-C7E4-41CF-B227-AEBBBF4192BB}" presName="sibTrans" presStyleLbl="sibTrans2D1" presStyleIdx="0" presStyleCnt="0"/>
      <dgm:spPr/>
    </dgm:pt>
    <dgm:pt modelId="{30E6A2AE-87E0-4031-A570-5124239668EF}" type="pres">
      <dgm:prSet presAssocID="{27008596-6032-4F95-A5AE-7CDEC95F35A0}" presName="compNode" presStyleCnt="0"/>
      <dgm:spPr/>
    </dgm:pt>
    <dgm:pt modelId="{21C1D358-AAD0-4956-8518-EDFEEE29FCBE}" type="pres">
      <dgm:prSet presAssocID="{27008596-6032-4F95-A5AE-7CDEC95F35A0}" presName="childRect" presStyleLbl="bgAcc1" presStyleIdx="3" presStyleCnt="4" custScaleY="160413">
        <dgm:presLayoutVars>
          <dgm:bulletEnabled val="1"/>
        </dgm:presLayoutVars>
      </dgm:prSet>
      <dgm:spPr/>
    </dgm:pt>
    <dgm:pt modelId="{38F28C4B-CF02-4D1E-AF2D-B077B649CD13}" type="pres">
      <dgm:prSet presAssocID="{27008596-6032-4F95-A5AE-7CDEC95F35A0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D650984E-3017-48C4-AC12-19DAC08DE9BA}" type="pres">
      <dgm:prSet presAssocID="{27008596-6032-4F95-A5AE-7CDEC95F35A0}" presName="parentRect" presStyleLbl="alignNode1" presStyleIdx="3" presStyleCnt="4"/>
      <dgm:spPr/>
    </dgm:pt>
    <dgm:pt modelId="{2C8EB36D-2B8C-42F6-BE23-F3FA08C6CEB6}" type="pres">
      <dgm:prSet presAssocID="{27008596-6032-4F95-A5AE-7CDEC95F35A0}" presName="adorn" presStyleLbl="fgAccFollowNode1" presStyleIdx="3" presStyleCnt="4"/>
      <dgm:spPr/>
    </dgm:pt>
  </dgm:ptLst>
  <dgm:cxnLst>
    <dgm:cxn modelId="{032D68DF-8712-474D-B061-EE4A359335A0}" srcId="{74933C92-2A58-4E15-B7BC-401A05D99DF9}" destId="{EFBF2E64-15BE-442D-80F8-BD072C31CF20}" srcOrd="1" destOrd="0" parTransId="{A5CADD43-C69D-4FB0-AED6-77E5DF529647}" sibTransId="{D865C093-9B6C-4CD0-BAE0-D2F94DD04C0F}"/>
    <dgm:cxn modelId="{9E475E44-7750-4305-914D-EC48BF1E181D}" type="presOf" srcId="{2E68CD06-BD38-4B1A-AB11-4172E0BA85AB}" destId="{3872331E-5AD7-4278-9DDA-C64AC162A4C6}" srcOrd="0" destOrd="2" presId="urn:microsoft.com/office/officeart/2005/8/layout/bList2"/>
    <dgm:cxn modelId="{583A0B8E-8C5D-4F0B-954E-D594255E3A34}" type="presOf" srcId="{605FBB7A-46F5-4EF6-A3A8-16F306D34D5B}" destId="{94A6EE2A-3E7D-4B69-A6E5-2FEFE4878316}" srcOrd="1" destOrd="0" presId="urn:microsoft.com/office/officeart/2005/8/layout/bList2"/>
    <dgm:cxn modelId="{E639138C-5286-49BD-B6AB-0648AD9FE56F}" srcId="{605FBB7A-46F5-4EF6-A3A8-16F306D34D5B}" destId="{EA0C177E-37D1-4869-BD33-8A66D2B31096}" srcOrd="0" destOrd="0" parTransId="{DBA5477E-C982-4FAD-9FE0-37EF12D31E30}" sibTransId="{8A4144CA-F773-4752-9CA0-AE5DF324111A}"/>
    <dgm:cxn modelId="{FBA5FFA7-26B6-4BBC-9B5F-23BDD4F9E5D2}" type="presOf" srcId="{E94CD1DB-6BC8-4C3F-8020-E9048D203181}" destId="{7ED3AF70-3431-4317-9600-C68C27E50BCE}" srcOrd="0" destOrd="0" presId="urn:microsoft.com/office/officeart/2005/8/layout/bList2"/>
    <dgm:cxn modelId="{3A966046-9FA8-4C5E-BB73-D575EEE1987F}" srcId="{922F5B37-28FE-452B-A111-0458EEA77523}" destId="{605FBB7A-46F5-4EF6-A3A8-16F306D34D5B}" srcOrd="1" destOrd="0" parTransId="{4EED3BE5-8983-447E-97C7-A74C55BDEA53}" sibTransId="{E94CD1DB-6BC8-4C3F-8020-E9048D203181}"/>
    <dgm:cxn modelId="{97562977-68E7-4D13-9773-2E1137CBF23F}" srcId="{922F5B37-28FE-452B-A111-0458EEA77523}" destId="{27008596-6032-4F95-A5AE-7CDEC95F35A0}" srcOrd="3" destOrd="0" parTransId="{26B3CD70-B40A-410E-975D-ECF5E0E8A662}" sibTransId="{DBDC76CC-65FA-4C1C-ACEE-96E5808D0BB0}"/>
    <dgm:cxn modelId="{90AF3C8F-164F-4368-9A03-7D2F127D9A31}" type="presOf" srcId="{EA0C177E-37D1-4869-BD33-8A66D2B31096}" destId="{3872331E-5AD7-4278-9DDA-C64AC162A4C6}" srcOrd="0" destOrd="0" presId="urn:microsoft.com/office/officeart/2005/8/layout/bList2"/>
    <dgm:cxn modelId="{B3D84108-F7A8-4340-9789-C3EDE9C25243}" type="presOf" srcId="{977E1232-C21D-4A99-BA3E-CDFB8824601A}" destId="{F75ADB50-D1B6-47B0-B978-2865A8B1B75D}" srcOrd="1" destOrd="0" presId="urn:microsoft.com/office/officeart/2005/8/layout/bList2"/>
    <dgm:cxn modelId="{D9FC0108-793C-4694-9FE1-27E3BA7A5B4C}" type="presOf" srcId="{67E1F6F0-E728-47DE-972D-A66290D9CFC2}" destId="{AEB127BD-F7D3-4E1F-8665-227FBACFBD90}" srcOrd="0" destOrd="2" presId="urn:microsoft.com/office/officeart/2005/8/layout/bList2"/>
    <dgm:cxn modelId="{D1B29DE1-A10A-4E07-90A9-1A3798DFB7E0}" type="presOf" srcId="{977E1232-C21D-4A99-BA3E-CDFB8824601A}" destId="{D678B723-07DA-4F06-AD3C-B29758F5EA3E}" srcOrd="0" destOrd="0" presId="urn:microsoft.com/office/officeart/2005/8/layout/bList2"/>
    <dgm:cxn modelId="{9CDF650A-C5E5-4339-94E0-76612D16234E}" srcId="{922F5B37-28FE-452B-A111-0458EEA77523}" destId="{74933C92-2A58-4E15-B7BC-401A05D99DF9}" srcOrd="2" destOrd="0" parTransId="{FCCCC82B-05AD-4EC0-A8F3-6FCFF5AA93C9}" sibTransId="{FD276A66-C7E4-41CF-B227-AEBBBF4192BB}"/>
    <dgm:cxn modelId="{8902F3A8-A1DD-4993-98B9-F59F269B8B91}" srcId="{977E1232-C21D-4A99-BA3E-CDFB8824601A}" destId="{B4F32F63-5285-4C45-81B7-2D759624E205}" srcOrd="0" destOrd="0" parTransId="{1C9C6F00-41A7-4B22-A5E4-9785B20BA29C}" sibTransId="{0CBDF005-6BD9-4524-A853-B580988F66B4}"/>
    <dgm:cxn modelId="{CF899937-917C-428D-B036-7F358B1F2632}" type="presOf" srcId="{27008596-6032-4F95-A5AE-7CDEC95F35A0}" destId="{38F28C4B-CF02-4D1E-AF2D-B077B649CD13}" srcOrd="0" destOrd="0" presId="urn:microsoft.com/office/officeart/2005/8/layout/bList2"/>
    <dgm:cxn modelId="{36E231DC-FA58-4072-B538-83BA09290820}" type="presOf" srcId="{922F5B37-28FE-452B-A111-0458EEA77523}" destId="{10B12952-6959-4065-9660-D66E3F94F4F3}" srcOrd="0" destOrd="0" presId="urn:microsoft.com/office/officeart/2005/8/layout/bList2"/>
    <dgm:cxn modelId="{0CF5599A-316A-46E9-A9E2-3207D597250A}" srcId="{74933C92-2A58-4E15-B7BC-401A05D99DF9}" destId="{D2DAC313-13F5-443B-82CE-ABBDECE76AC7}" srcOrd="0" destOrd="0" parTransId="{BEA4B7BA-2BB6-4B4A-82D2-14540AD6573D}" sibTransId="{9A8E9B03-E7EE-45BF-AA8D-CA8B5830661E}"/>
    <dgm:cxn modelId="{CC7E76CF-6DCB-4D21-A854-B79D17B4F483}" type="presOf" srcId="{EF249339-C4CA-46B2-8768-BC42C316CEE1}" destId="{3872331E-5AD7-4278-9DDA-C64AC162A4C6}" srcOrd="0" destOrd="3" presId="urn:microsoft.com/office/officeart/2005/8/layout/bList2"/>
    <dgm:cxn modelId="{57CE7326-748E-430D-B048-D7C27A7C2F6F}" type="presOf" srcId="{B4F32F63-5285-4C45-81B7-2D759624E205}" destId="{E62D88B7-F964-49ED-AD64-CF1EE6A85298}" srcOrd="0" destOrd="0" presId="urn:microsoft.com/office/officeart/2005/8/layout/bList2"/>
    <dgm:cxn modelId="{3C8EEB36-3E03-4DE8-9FD0-685FDC89E856}" type="presOf" srcId="{EAAF8826-5AA5-4295-9FF3-193F37D73A18}" destId="{21C1D358-AAD0-4956-8518-EDFEEE29FCBE}" srcOrd="0" destOrd="0" presId="urn:microsoft.com/office/officeart/2005/8/layout/bList2"/>
    <dgm:cxn modelId="{77CCAD3B-1DB4-424F-AA05-D40173745A75}" type="presOf" srcId="{74933C92-2A58-4E15-B7BC-401A05D99DF9}" destId="{9899E3E5-B357-400B-80B0-14914903F8BA}" srcOrd="1" destOrd="0" presId="urn:microsoft.com/office/officeart/2005/8/layout/bList2"/>
    <dgm:cxn modelId="{4FA94E8C-9D01-4BAC-8ECD-78911D07328E}" srcId="{74933C92-2A58-4E15-B7BC-401A05D99DF9}" destId="{67E1F6F0-E728-47DE-972D-A66290D9CFC2}" srcOrd="2" destOrd="0" parTransId="{45128634-0F4E-4BA4-A97E-628F93C13F80}" sibTransId="{E920DB0B-B9DD-44A4-9478-9A074D66FF30}"/>
    <dgm:cxn modelId="{AA9F382C-E0F7-4481-A041-F5A58CDEC36C}" srcId="{922F5B37-28FE-452B-A111-0458EEA77523}" destId="{977E1232-C21D-4A99-BA3E-CDFB8824601A}" srcOrd="0" destOrd="0" parTransId="{EDDD8F7D-F92A-4F37-802D-C7288AF9F6F2}" sibTransId="{6E7F083B-FCEF-4D9C-BD5F-D990D6803124}"/>
    <dgm:cxn modelId="{580D8347-317B-4CB1-865F-ABB1DDE91589}" type="presOf" srcId="{D2DAC313-13F5-443B-82CE-ABBDECE76AC7}" destId="{AEB127BD-F7D3-4E1F-8665-227FBACFBD90}" srcOrd="0" destOrd="0" presId="urn:microsoft.com/office/officeart/2005/8/layout/bList2"/>
    <dgm:cxn modelId="{89315148-B052-4D37-8B5E-9DD0ADF67FB6}" type="presOf" srcId="{70583264-FA79-4674-8F8E-44045E6A2D5D}" destId="{3872331E-5AD7-4278-9DDA-C64AC162A4C6}" srcOrd="0" destOrd="1" presId="urn:microsoft.com/office/officeart/2005/8/layout/bList2"/>
    <dgm:cxn modelId="{7A1DB238-C4AE-450F-9D79-673C1F408CA3}" srcId="{605FBB7A-46F5-4EF6-A3A8-16F306D34D5B}" destId="{70583264-FA79-4674-8F8E-44045E6A2D5D}" srcOrd="1" destOrd="0" parTransId="{462D35CC-A4D7-4703-B6E7-762D6E6E5188}" sibTransId="{9150DF71-BFFC-4038-8856-155208755879}"/>
    <dgm:cxn modelId="{E2B24579-49B8-4038-9A08-82AE5708A099}" type="presOf" srcId="{605FBB7A-46F5-4EF6-A3A8-16F306D34D5B}" destId="{9B91A192-1026-41EF-8BBF-3168A85B1CA3}" srcOrd="0" destOrd="0" presId="urn:microsoft.com/office/officeart/2005/8/layout/bList2"/>
    <dgm:cxn modelId="{CF375383-85E9-474A-BAFD-BC4AF69F2AE9}" type="presOf" srcId="{75543C9D-8321-40E8-AAC3-EDD86C9BB0B1}" destId="{E62D88B7-F964-49ED-AD64-CF1EE6A85298}" srcOrd="0" destOrd="2" presId="urn:microsoft.com/office/officeart/2005/8/layout/bList2"/>
    <dgm:cxn modelId="{607E3A19-60DF-4BF5-A6EB-99DC9E5F6C2E}" type="presOf" srcId="{EFBF2E64-15BE-442D-80F8-BD072C31CF20}" destId="{AEB127BD-F7D3-4E1F-8665-227FBACFBD90}" srcOrd="0" destOrd="1" presId="urn:microsoft.com/office/officeart/2005/8/layout/bList2"/>
    <dgm:cxn modelId="{CD0C1A2A-534C-4167-A99F-9D560472DBC0}" type="presOf" srcId="{FD276A66-C7E4-41CF-B227-AEBBBF4192BB}" destId="{8F0F4BF4-D61C-4BF8-A9D0-CF0B068F99FF}" srcOrd="0" destOrd="0" presId="urn:microsoft.com/office/officeart/2005/8/layout/bList2"/>
    <dgm:cxn modelId="{AA0788DA-1CAA-45A2-BA7C-C6302FEDA155}" srcId="{977E1232-C21D-4A99-BA3E-CDFB8824601A}" destId="{75543C9D-8321-40E8-AAC3-EDD86C9BB0B1}" srcOrd="2" destOrd="0" parTransId="{4574E858-9C56-4B4F-815C-DB74D7F28A28}" sibTransId="{B7B31F10-3EB0-46D6-966D-9DE08516E5A5}"/>
    <dgm:cxn modelId="{C64B306D-9074-4D8F-AC31-71D2B26749EA}" type="presOf" srcId="{27008596-6032-4F95-A5AE-7CDEC95F35A0}" destId="{D650984E-3017-48C4-AC12-19DAC08DE9BA}" srcOrd="1" destOrd="0" presId="urn:microsoft.com/office/officeart/2005/8/layout/bList2"/>
    <dgm:cxn modelId="{A65DABE6-1460-4183-B92B-E6EF8C5B4836}" srcId="{27008596-6032-4F95-A5AE-7CDEC95F35A0}" destId="{EAAF8826-5AA5-4295-9FF3-193F37D73A18}" srcOrd="0" destOrd="0" parTransId="{BCBF133D-7BF0-47F0-ADBC-8F1E77B9C7A9}" sibTransId="{3388DB8B-222F-4A0F-B50D-DB9B601EDD5C}"/>
    <dgm:cxn modelId="{1A294FE3-0D26-4D48-AE6C-88484355B263}" srcId="{605FBB7A-46F5-4EF6-A3A8-16F306D34D5B}" destId="{2E68CD06-BD38-4B1A-AB11-4172E0BA85AB}" srcOrd="2" destOrd="0" parTransId="{91435B50-D6FF-4261-ADC8-CAFD53CF4FB2}" sibTransId="{61D29223-E349-4F1F-8DAA-097E94EFCFC4}"/>
    <dgm:cxn modelId="{6B1C6E69-3FEB-4EA8-B943-7055124DCCAF}" srcId="{605FBB7A-46F5-4EF6-A3A8-16F306D34D5B}" destId="{EF249339-C4CA-46B2-8768-BC42C316CEE1}" srcOrd="3" destOrd="0" parTransId="{E87805DE-9EAC-454D-B568-D7E9206E7B6B}" sibTransId="{1B4595CB-9DA9-4B86-BD9F-C8EB279E2593}"/>
    <dgm:cxn modelId="{618EB4EE-C3C4-4404-A496-DB4A38841B3F}" type="presOf" srcId="{6E7F083B-FCEF-4D9C-BD5F-D990D6803124}" destId="{731652B5-1340-48DC-9D14-F2668082BAD0}" srcOrd="0" destOrd="0" presId="urn:microsoft.com/office/officeart/2005/8/layout/bList2"/>
    <dgm:cxn modelId="{D053BEFA-6527-4F56-99E1-255F5E8D7BE3}" srcId="{977E1232-C21D-4A99-BA3E-CDFB8824601A}" destId="{4617A46A-8CCF-4D0C-9D71-1F5A411E9575}" srcOrd="1" destOrd="0" parTransId="{3DAB8CF6-7F5C-4DBB-BEA9-D3083090D7AB}" sibTransId="{8C76975A-9B21-4B20-B4ED-3CB8BCC8ED0C}"/>
    <dgm:cxn modelId="{C8703953-1D21-44DF-B4A2-575A1381303D}" type="presOf" srcId="{4617A46A-8CCF-4D0C-9D71-1F5A411E9575}" destId="{E62D88B7-F964-49ED-AD64-CF1EE6A85298}" srcOrd="0" destOrd="1" presId="urn:microsoft.com/office/officeart/2005/8/layout/bList2"/>
    <dgm:cxn modelId="{348BDAFE-3BC4-45FD-BDA6-E1D455991B4D}" type="presOf" srcId="{74933C92-2A58-4E15-B7BC-401A05D99DF9}" destId="{F0277707-4E0D-435C-8BBB-00521FC3F8DD}" srcOrd="0" destOrd="0" presId="urn:microsoft.com/office/officeart/2005/8/layout/bList2"/>
    <dgm:cxn modelId="{F5CB6CC4-75F4-4188-82E8-5572A2D0677B}" type="presParOf" srcId="{10B12952-6959-4065-9660-D66E3F94F4F3}" destId="{EBDF9077-F9EF-4507-A451-18284C62CE4E}" srcOrd="0" destOrd="0" presId="urn:microsoft.com/office/officeart/2005/8/layout/bList2"/>
    <dgm:cxn modelId="{5EDA0A9E-D04D-4778-B466-873F4A1D98C5}" type="presParOf" srcId="{EBDF9077-F9EF-4507-A451-18284C62CE4E}" destId="{E62D88B7-F964-49ED-AD64-CF1EE6A85298}" srcOrd="0" destOrd="0" presId="urn:microsoft.com/office/officeart/2005/8/layout/bList2"/>
    <dgm:cxn modelId="{64CDF657-74AE-4454-87FB-8F805B2D9C7E}" type="presParOf" srcId="{EBDF9077-F9EF-4507-A451-18284C62CE4E}" destId="{D678B723-07DA-4F06-AD3C-B29758F5EA3E}" srcOrd="1" destOrd="0" presId="urn:microsoft.com/office/officeart/2005/8/layout/bList2"/>
    <dgm:cxn modelId="{B89102E6-4B63-42DD-837A-43A158A149F9}" type="presParOf" srcId="{EBDF9077-F9EF-4507-A451-18284C62CE4E}" destId="{F75ADB50-D1B6-47B0-B978-2865A8B1B75D}" srcOrd="2" destOrd="0" presId="urn:microsoft.com/office/officeart/2005/8/layout/bList2"/>
    <dgm:cxn modelId="{A8E04A64-31D4-4882-8377-CE39136B6DCD}" type="presParOf" srcId="{EBDF9077-F9EF-4507-A451-18284C62CE4E}" destId="{57D1A3ED-036B-4282-AEBD-FBA3FF5B9142}" srcOrd="3" destOrd="0" presId="urn:microsoft.com/office/officeart/2005/8/layout/bList2"/>
    <dgm:cxn modelId="{4CC06621-A587-40B2-8454-D14637401E3C}" type="presParOf" srcId="{10B12952-6959-4065-9660-D66E3F94F4F3}" destId="{731652B5-1340-48DC-9D14-F2668082BAD0}" srcOrd="1" destOrd="0" presId="urn:microsoft.com/office/officeart/2005/8/layout/bList2"/>
    <dgm:cxn modelId="{56C2C7AC-2227-49EE-9DAF-68428D5CD79F}" type="presParOf" srcId="{10B12952-6959-4065-9660-D66E3F94F4F3}" destId="{2EA7C436-A2BC-4641-9994-1E529D815E50}" srcOrd="2" destOrd="0" presId="urn:microsoft.com/office/officeart/2005/8/layout/bList2"/>
    <dgm:cxn modelId="{B5E631FC-5B36-4020-A168-A1162C51642F}" type="presParOf" srcId="{2EA7C436-A2BC-4641-9994-1E529D815E50}" destId="{3872331E-5AD7-4278-9DDA-C64AC162A4C6}" srcOrd="0" destOrd="0" presId="urn:microsoft.com/office/officeart/2005/8/layout/bList2"/>
    <dgm:cxn modelId="{5937E09F-7A9D-47BD-B3BA-905D3F33A464}" type="presParOf" srcId="{2EA7C436-A2BC-4641-9994-1E529D815E50}" destId="{9B91A192-1026-41EF-8BBF-3168A85B1CA3}" srcOrd="1" destOrd="0" presId="urn:microsoft.com/office/officeart/2005/8/layout/bList2"/>
    <dgm:cxn modelId="{DFAA0912-A67C-42BC-8424-523694B38925}" type="presParOf" srcId="{2EA7C436-A2BC-4641-9994-1E529D815E50}" destId="{94A6EE2A-3E7D-4B69-A6E5-2FEFE4878316}" srcOrd="2" destOrd="0" presId="urn:microsoft.com/office/officeart/2005/8/layout/bList2"/>
    <dgm:cxn modelId="{E8FB937D-9C50-4064-A689-2CD77089E80D}" type="presParOf" srcId="{2EA7C436-A2BC-4641-9994-1E529D815E50}" destId="{E9120F13-E2D8-437B-9243-E9B8527379DC}" srcOrd="3" destOrd="0" presId="urn:microsoft.com/office/officeart/2005/8/layout/bList2"/>
    <dgm:cxn modelId="{042160AB-52AC-4886-9883-A53110B63E6A}" type="presParOf" srcId="{10B12952-6959-4065-9660-D66E3F94F4F3}" destId="{7ED3AF70-3431-4317-9600-C68C27E50BCE}" srcOrd="3" destOrd="0" presId="urn:microsoft.com/office/officeart/2005/8/layout/bList2"/>
    <dgm:cxn modelId="{02ECFE8B-A259-4B30-A1CA-BF9B54A7C39C}" type="presParOf" srcId="{10B12952-6959-4065-9660-D66E3F94F4F3}" destId="{96569BFE-FC2E-4A5E-8169-2D8A5BCECB54}" srcOrd="4" destOrd="0" presId="urn:microsoft.com/office/officeart/2005/8/layout/bList2"/>
    <dgm:cxn modelId="{8DFDDE22-130D-4916-B7F4-65564629407D}" type="presParOf" srcId="{96569BFE-FC2E-4A5E-8169-2D8A5BCECB54}" destId="{AEB127BD-F7D3-4E1F-8665-227FBACFBD90}" srcOrd="0" destOrd="0" presId="urn:microsoft.com/office/officeart/2005/8/layout/bList2"/>
    <dgm:cxn modelId="{6AF363F8-87DC-48C2-BFAD-5715639BC2A8}" type="presParOf" srcId="{96569BFE-FC2E-4A5E-8169-2D8A5BCECB54}" destId="{F0277707-4E0D-435C-8BBB-00521FC3F8DD}" srcOrd="1" destOrd="0" presId="urn:microsoft.com/office/officeart/2005/8/layout/bList2"/>
    <dgm:cxn modelId="{68D4CE72-4B4B-4DD4-AA56-891C82ECD24B}" type="presParOf" srcId="{96569BFE-FC2E-4A5E-8169-2D8A5BCECB54}" destId="{9899E3E5-B357-400B-80B0-14914903F8BA}" srcOrd="2" destOrd="0" presId="urn:microsoft.com/office/officeart/2005/8/layout/bList2"/>
    <dgm:cxn modelId="{7E243401-E3E0-4004-B4C7-362CE2C4A3DE}" type="presParOf" srcId="{96569BFE-FC2E-4A5E-8169-2D8A5BCECB54}" destId="{983B5866-D817-4AD0-B676-AD9C0511949B}" srcOrd="3" destOrd="0" presId="urn:microsoft.com/office/officeart/2005/8/layout/bList2"/>
    <dgm:cxn modelId="{481DC22E-BB1D-4A2A-89B7-BABEF7323D3A}" type="presParOf" srcId="{10B12952-6959-4065-9660-D66E3F94F4F3}" destId="{8F0F4BF4-D61C-4BF8-A9D0-CF0B068F99FF}" srcOrd="5" destOrd="0" presId="urn:microsoft.com/office/officeart/2005/8/layout/bList2"/>
    <dgm:cxn modelId="{06892D8C-3504-468A-9070-1D8DD7817C7A}" type="presParOf" srcId="{10B12952-6959-4065-9660-D66E3F94F4F3}" destId="{30E6A2AE-87E0-4031-A570-5124239668EF}" srcOrd="6" destOrd="0" presId="urn:microsoft.com/office/officeart/2005/8/layout/bList2"/>
    <dgm:cxn modelId="{F1150E43-4D8D-4542-AA02-23CB13AE3E52}" type="presParOf" srcId="{30E6A2AE-87E0-4031-A570-5124239668EF}" destId="{21C1D358-AAD0-4956-8518-EDFEEE29FCBE}" srcOrd="0" destOrd="0" presId="urn:microsoft.com/office/officeart/2005/8/layout/bList2"/>
    <dgm:cxn modelId="{0CF2BF53-DDD0-4AE2-A61F-A15708FD2E2F}" type="presParOf" srcId="{30E6A2AE-87E0-4031-A570-5124239668EF}" destId="{38F28C4B-CF02-4D1E-AF2D-B077B649CD13}" srcOrd="1" destOrd="0" presId="urn:microsoft.com/office/officeart/2005/8/layout/bList2"/>
    <dgm:cxn modelId="{D52DC5C3-0F25-4D56-95C9-004E164EC8A3}" type="presParOf" srcId="{30E6A2AE-87E0-4031-A570-5124239668EF}" destId="{D650984E-3017-48C4-AC12-19DAC08DE9BA}" srcOrd="2" destOrd="0" presId="urn:microsoft.com/office/officeart/2005/8/layout/bList2"/>
    <dgm:cxn modelId="{07CFC730-8DEB-4A3F-AABD-AEB89AA53A41}" type="presParOf" srcId="{30E6A2AE-87E0-4031-A570-5124239668EF}" destId="{2C8EB36D-2B8C-42F6-BE23-F3FA08C6CEB6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22F5B37-28FE-452B-A111-0458EEA77523}" type="doc">
      <dgm:prSet loTypeId="urn:microsoft.com/office/officeart/2005/8/layout/bList2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it-IT"/>
        </a:p>
      </dgm:t>
    </dgm:pt>
    <dgm:pt modelId="{977E1232-C21D-4A99-BA3E-CDFB8824601A}">
      <dgm:prSet phldrT="[Testo]" custT="1"/>
      <dgm:spPr/>
      <dgm:t>
        <a:bodyPr/>
        <a:lstStyle/>
        <a:p>
          <a:r>
            <a:rPr lang="it-IT" sz="2400" dirty="0" smtClean="0"/>
            <a:t>Studio</a:t>
          </a:r>
          <a:endParaRPr lang="it-IT" sz="2400" dirty="0"/>
        </a:p>
      </dgm:t>
    </dgm:pt>
    <dgm:pt modelId="{EDDD8F7D-F92A-4F37-802D-C7288AF9F6F2}" type="parTrans" cxnId="{AA9F382C-E0F7-4481-A041-F5A58CDEC36C}">
      <dgm:prSet/>
      <dgm:spPr/>
      <dgm:t>
        <a:bodyPr/>
        <a:lstStyle/>
        <a:p>
          <a:endParaRPr lang="it-IT" sz="1600"/>
        </a:p>
      </dgm:t>
    </dgm:pt>
    <dgm:pt modelId="{6E7F083B-FCEF-4D9C-BD5F-D990D6803124}" type="sibTrans" cxnId="{AA9F382C-E0F7-4481-A041-F5A58CDEC36C}">
      <dgm:prSet/>
      <dgm:spPr/>
      <dgm:t>
        <a:bodyPr/>
        <a:lstStyle/>
        <a:p>
          <a:endParaRPr lang="it-IT" sz="1600"/>
        </a:p>
      </dgm:t>
    </dgm:pt>
    <dgm:pt modelId="{B4F32F63-5285-4C45-81B7-2D759624E205}">
      <dgm:prSet phldrT="[Testo]" custT="1"/>
      <dgm:spPr/>
      <dgm:t>
        <a:bodyPr/>
        <a:lstStyle/>
        <a:p>
          <a:r>
            <a:rPr lang="it-IT" sz="1600" dirty="0" smtClean="0"/>
            <a:t>Analisi variabilità</a:t>
          </a:r>
          <a:endParaRPr lang="it-IT" sz="1600" dirty="0"/>
        </a:p>
      </dgm:t>
    </dgm:pt>
    <dgm:pt modelId="{0CBDF005-6BD9-4524-A853-B580988F66B4}" type="sibTrans" cxnId="{8902F3A8-A1DD-4993-98B9-F59F269B8B91}">
      <dgm:prSet/>
      <dgm:spPr/>
      <dgm:t>
        <a:bodyPr/>
        <a:lstStyle/>
        <a:p>
          <a:endParaRPr lang="it-IT" sz="1600"/>
        </a:p>
      </dgm:t>
    </dgm:pt>
    <dgm:pt modelId="{1C9C6F00-41A7-4B22-A5E4-9785B20BA29C}" type="parTrans" cxnId="{8902F3A8-A1DD-4993-98B9-F59F269B8B91}">
      <dgm:prSet/>
      <dgm:spPr/>
      <dgm:t>
        <a:bodyPr/>
        <a:lstStyle/>
        <a:p>
          <a:endParaRPr lang="it-IT" sz="1600"/>
        </a:p>
      </dgm:t>
    </dgm:pt>
    <dgm:pt modelId="{4617A46A-8CCF-4D0C-9D71-1F5A411E9575}">
      <dgm:prSet phldrT="[Testo]" custT="1"/>
      <dgm:spPr/>
      <dgm:t>
        <a:bodyPr/>
        <a:lstStyle/>
        <a:p>
          <a:r>
            <a:rPr lang="it-IT" sz="1600" dirty="0" smtClean="0"/>
            <a:t>Studio degli stress degli </a:t>
          </a:r>
          <a:r>
            <a:rPr lang="it-IT" sz="1600" dirty="0" err="1" smtClean="0"/>
            <a:t>shim</a:t>
          </a:r>
          <a:endParaRPr lang="it-IT" sz="1600" dirty="0"/>
        </a:p>
      </dgm:t>
    </dgm:pt>
    <dgm:pt modelId="{8C76975A-9B21-4B20-B4ED-3CB8BCC8ED0C}" type="sibTrans" cxnId="{D053BEFA-6527-4F56-99E1-255F5E8D7BE3}">
      <dgm:prSet/>
      <dgm:spPr/>
      <dgm:t>
        <a:bodyPr/>
        <a:lstStyle/>
        <a:p>
          <a:endParaRPr lang="it-IT" sz="1600"/>
        </a:p>
      </dgm:t>
    </dgm:pt>
    <dgm:pt modelId="{3DAB8CF6-7F5C-4DBB-BEA9-D3083090D7AB}" type="parTrans" cxnId="{D053BEFA-6527-4F56-99E1-255F5E8D7BE3}">
      <dgm:prSet/>
      <dgm:spPr/>
      <dgm:t>
        <a:bodyPr/>
        <a:lstStyle/>
        <a:p>
          <a:endParaRPr lang="it-IT" sz="1600"/>
        </a:p>
      </dgm:t>
    </dgm:pt>
    <dgm:pt modelId="{75543C9D-8321-40E8-AAC3-EDD86C9BB0B1}">
      <dgm:prSet phldrT="[Testo]" custT="1"/>
      <dgm:spPr/>
      <dgm:t>
        <a:bodyPr/>
        <a:lstStyle/>
        <a:p>
          <a:r>
            <a:rPr lang="it-IT" sz="1600" dirty="0" smtClean="0"/>
            <a:t>Benchmark</a:t>
          </a:r>
          <a:endParaRPr lang="it-IT" sz="1600" dirty="0"/>
        </a:p>
      </dgm:t>
    </dgm:pt>
    <dgm:pt modelId="{B7B31F10-3EB0-46D6-966D-9DE08516E5A5}" type="sibTrans" cxnId="{AA0788DA-1CAA-45A2-BA7C-C6302FEDA155}">
      <dgm:prSet/>
      <dgm:spPr/>
      <dgm:t>
        <a:bodyPr/>
        <a:lstStyle/>
        <a:p>
          <a:endParaRPr lang="it-IT" sz="1600"/>
        </a:p>
      </dgm:t>
    </dgm:pt>
    <dgm:pt modelId="{4574E858-9C56-4B4F-815C-DB74D7F28A28}" type="parTrans" cxnId="{AA0788DA-1CAA-45A2-BA7C-C6302FEDA155}">
      <dgm:prSet/>
      <dgm:spPr/>
      <dgm:t>
        <a:bodyPr/>
        <a:lstStyle/>
        <a:p>
          <a:endParaRPr lang="it-IT" sz="1600"/>
        </a:p>
      </dgm:t>
    </dgm:pt>
    <dgm:pt modelId="{10B12952-6959-4065-9660-D66E3F94F4F3}" type="pres">
      <dgm:prSet presAssocID="{922F5B37-28FE-452B-A111-0458EEA77523}" presName="diagram" presStyleCnt="0">
        <dgm:presLayoutVars>
          <dgm:dir/>
          <dgm:animLvl val="lvl"/>
          <dgm:resizeHandles val="exact"/>
        </dgm:presLayoutVars>
      </dgm:prSet>
      <dgm:spPr/>
    </dgm:pt>
    <dgm:pt modelId="{EBDF9077-F9EF-4507-A451-18284C62CE4E}" type="pres">
      <dgm:prSet presAssocID="{977E1232-C21D-4A99-BA3E-CDFB8824601A}" presName="compNode" presStyleCnt="0"/>
      <dgm:spPr/>
    </dgm:pt>
    <dgm:pt modelId="{E62D88B7-F964-49ED-AD64-CF1EE6A85298}" type="pres">
      <dgm:prSet presAssocID="{977E1232-C21D-4A99-BA3E-CDFB8824601A}" presName="childRect" presStyleLbl="bgAcc1" presStyleIdx="0" presStyleCnt="1" custScaleY="160413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678B723-07DA-4F06-AD3C-B29758F5EA3E}" type="pres">
      <dgm:prSet presAssocID="{977E1232-C21D-4A99-BA3E-CDFB8824601A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F75ADB50-D1B6-47B0-B978-2865A8B1B75D}" type="pres">
      <dgm:prSet presAssocID="{977E1232-C21D-4A99-BA3E-CDFB8824601A}" presName="parentRect" presStyleLbl="alignNode1" presStyleIdx="0" presStyleCnt="1"/>
      <dgm:spPr/>
    </dgm:pt>
    <dgm:pt modelId="{57D1A3ED-036B-4282-AEBD-FBA3FF5B9142}" type="pres">
      <dgm:prSet presAssocID="{977E1232-C21D-4A99-BA3E-CDFB8824601A}" presName="adorn" presStyleLbl="fgAccFollowNode1" presStyleIdx="0" presStyleCnt="1"/>
      <dgm:spPr/>
    </dgm:pt>
  </dgm:ptLst>
  <dgm:cxnLst>
    <dgm:cxn modelId="{B3D84108-F7A8-4340-9789-C3EDE9C25243}" type="presOf" srcId="{977E1232-C21D-4A99-BA3E-CDFB8824601A}" destId="{F75ADB50-D1B6-47B0-B978-2865A8B1B75D}" srcOrd="1" destOrd="0" presId="urn:microsoft.com/office/officeart/2005/8/layout/bList2"/>
    <dgm:cxn modelId="{D1B29DE1-A10A-4E07-90A9-1A3798DFB7E0}" type="presOf" srcId="{977E1232-C21D-4A99-BA3E-CDFB8824601A}" destId="{D678B723-07DA-4F06-AD3C-B29758F5EA3E}" srcOrd="0" destOrd="0" presId="urn:microsoft.com/office/officeart/2005/8/layout/bList2"/>
    <dgm:cxn modelId="{36E231DC-FA58-4072-B538-83BA09290820}" type="presOf" srcId="{922F5B37-28FE-452B-A111-0458EEA77523}" destId="{10B12952-6959-4065-9660-D66E3F94F4F3}" srcOrd="0" destOrd="0" presId="urn:microsoft.com/office/officeart/2005/8/layout/bList2"/>
    <dgm:cxn modelId="{AA9F382C-E0F7-4481-A041-F5A58CDEC36C}" srcId="{922F5B37-28FE-452B-A111-0458EEA77523}" destId="{977E1232-C21D-4A99-BA3E-CDFB8824601A}" srcOrd="0" destOrd="0" parTransId="{EDDD8F7D-F92A-4F37-802D-C7288AF9F6F2}" sibTransId="{6E7F083B-FCEF-4D9C-BD5F-D990D6803124}"/>
    <dgm:cxn modelId="{AA0788DA-1CAA-45A2-BA7C-C6302FEDA155}" srcId="{977E1232-C21D-4A99-BA3E-CDFB8824601A}" destId="{75543C9D-8321-40E8-AAC3-EDD86C9BB0B1}" srcOrd="2" destOrd="0" parTransId="{4574E858-9C56-4B4F-815C-DB74D7F28A28}" sibTransId="{B7B31F10-3EB0-46D6-966D-9DE08516E5A5}"/>
    <dgm:cxn modelId="{C8703953-1D21-44DF-B4A2-575A1381303D}" type="presOf" srcId="{4617A46A-8CCF-4D0C-9D71-1F5A411E9575}" destId="{E62D88B7-F964-49ED-AD64-CF1EE6A85298}" srcOrd="0" destOrd="1" presId="urn:microsoft.com/office/officeart/2005/8/layout/bList2"/>
    <dgm:cxn modelId="{D053BEFA-6527-4F56-99E1-255F5E8D7BE3}" srcId="{977E1232-C21D-4A99-BA3E-CDFB8824601A}" destId="{4617A46A-8CCF-4D0C-9D71-1F5A411E9575}" srcOrd="1" destOrd="0" parTransId="{3DAB8CF6-7F5C-4DBB-BEA9-D3083090D7AB}" sibTransId="{8C76975A-9B21-4B20-B4ED-3CB8BCC8ED0C}"/>
    <dgm:cxn modelId="{57CE7326-748E-430D-B048-D7C27A7C2F6F}" type="presOf" srcId="{B4F32F63-5285-4C45-81B7-2D759624E205}" destId="{E62D88B7-F964-49ED-AD64-CF1EE6A85298}" srcOrd="0" destOrd="0" presId="urn:microsoft.com/office/officeart/2005/8/layout/bList2"/>
    <dgm:cxn modelId="{8902F3A8-A1DD-4993-98B9-F59F269B8B91}" srcId="{977E1232-C21D-4A99-BA3E-CDFB8824601A}" destId="{B4F32F63-5285-4C45-81B7-2D759624E205}" srcOrd="0" destOrd="0" parTransId="{1C9C6F00-41A7-4B22-A5E4-9785B20BA29C}" sibTransId="{0CBDF005-6BD9-4524-A853-B580988F66B4}"/>
    <dgm:cxn modelId="{CF375383-85E9-474A-BAFD-BC4AF69F2AE9}" type="presOf" srcId="{75543C9D-8321-40E8-AAC3-EDD86C9BB0B1}" destId="{E62D88B7-F964-49ED-AD64-CF1EE6A85298}" srcOrd="0" destOrd="2" presId="urn:microsoft.com/office/officeart/2005/8/layout/bList2"/>
    <dgm:cxn modelId="{F5CB6CC4-75F4-4188-82E8-5572A2D0677B}" type="presParOf" srcId="{10B12952-6959-4065-9660-D66E3F94F4F3}" destId="{EBDF9077-F9EF-4507-A451-18284C62CE4E}" srcOrd="0" destOrd="0" presId="urn:microsoft.com/office/officeart/2005/8/layout/bList2"/>
    <dgm:cxn modelId="{5EDA0A9E-D04D-4778-B466-873F4A1D98C5}" type="presParOf" srcId="{EBDF9077-F9EF-4507-A451-18284C62CE4E}" destId="{E62D88B7-F964-49ED-AD64-CF1EE6A85298}" srcOrd="0" destOrd="0" presId="urn:microsoft.com/office/officeart/2005/8/layout/bList2"/>
    <dgm:cxn modelId="{64CDF657-74AE-4454-87FB-8F805B2D9C7E}" type="presParOf" srcId="{EBDF9077-F9EF-4507-A451-18284C62CE4E}" destId="{D678B723-07DA-4F06-AD3C-B29758F5EA3E}" srcOrd="1" destOrd="0" presId="urn:microsoft.com/office/officeart/2005/8/layout/bList2"/>
    <dgm:cxn modelId="{B89102E6-4B63-42DD-837A-43A158A149F9}" type="presParOf" srcId="{EBDF9077-F9EF-4507-A451-18284C62CE4E}" destId="{F75ADB50-D1B6-47B0-B978-2865A8B1B75D}" srcOrd="2" destOrd="0" presId="urn:microsoft.com/office/officeart/2005/8/layout/bList2"/>
    <dgm:cxn modelId="{A8E04A64-31D4-4882-8377-CE39136B6DCD}" type="presParOf" srcId="{EBDF9077-F9EF-4507-A451-18284C62CE4E}" destId="{57D1A3ED-036B-4282-AEBD-FBA3FF5B9142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2D88B7-F964-49ED-AD64-CF1EE6A85298}">
      <dsp:nvSpPr>
        <dsp:cNvPr id="0" name=""/>
        <dsp:cNvSpPr/>
      </dsp:nvSpPr>
      <dsp:spPr>
        <a:xfrm>
          <a:off x="6000" y="323492"/>
          <a:ext cx="2127800" cy="254793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60960" rIns="20320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Analisi variabilità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Studio degli stress degli </a:t>
          </a:r>
          <a:r>
            <a:rPr lang="it-IT" sz="1600" kern="1200" dirty="0" err="1" smtClean="0"/>
            <a:t>shim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Benchmark</a:t>
          </a:r>
          <a:endParaRPr lang="it-IT" sz="1600" kern="1200" dirty="0"/>
        </a:p>
      </dsp:txBody>
      <dsp:txXfrm>
        <a:off x="55857" y="373349"/>
        <a:ext cx="2028086" cy="2498075"/>
      </dsp:txXfrm>
    </dsp:sp>
    <dsp:sp modelId="{F75ADB50-D1B6-47B0-B978-2865A8B1B75D}">
      <dsp:nvSpPr>
        <dsp:cNvPr id="0" name=""/>
        <dsp:cNvSpPr/>
      </dsp:nvSpPr>
      <dsp:spPr>
        <a:xfrm>
          <a:off x="6000" y="2391637"/>
          <a:ext cx="2127800" cy="682993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udio</a:t>
          </a:r>
          <a:endParaRPr lang="it-IT" sz="2400" kern="1200" dirty="0"/>
        </a:p>
      </dsp:txBody>
      <dsp:txXfrm>
        <a:off x="6000" y="2391637"/>
        <a:ext cx="1498450" cy="682993"/>
      </dsp:txXfrm>
    </dsp:sp>
    <dsp:sp modelId="{57D1A3ED-036B-4282-AEBD-FBA3FF5B9142}">
      <dsp:nvSpPr>
        <dsp:cNvPr id="0" name=""/>
        <dsp:cNvSpPr/>
      </dsp:nvSpPr>
      <dsp:spPr>
        <a:xfrm>
          <a:off x="1564643" y="2500125"/>
          <a:ext cx="744730" cy="744730"/>
        </a:xfrm>
        <a:prstGeom prst="ellipse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872331E-5AD7-4278-9DDA-C64AC162A4C6}">
      <dsp:nvSpPr>
        <dsp:cNvPr id="0" name=""/>
        <dsp:cNvSpPr/>
      </dsp:nvSpPr>
      <dsp:spPr>
        <a:xfrm>
          <a:off x="2493875" y="323492"/>
          <a:ext cx="2127800" cy="254793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3465231"/>
              <a:satOff val="-15989"/>
              <a:lumOff val="5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60960" rIns="20320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Studio di strumenti di misura 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Studio dei processi di misura automatici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Calcolo predittivo dello </a:t>
          </a:r>
          <a:r>
            <a:rPr lang="it-IT" sz="1600" kern="1200" dirty="0" err="1" smtClean="0"/>
            <a:t>shim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Sviluppo software</a:t>
          </a:r>
          <a:endParaRPr lang="it-IT" sz="1600" kern="1200" dirty="0"/>
        </a:p>
      </dsp:txBody>
      <dsp:txXfrm>
        <a:off x="2543732" y="373349"/>
        <a:ext cx="2028086" cy="2498075"/>
      </dsp:txXfrm>
    </dsp:sp>
    <dsp:sp modelId="{94A6EE2A-3E7D-4B69-A6E5-2FEFE4878316}">
      <dsp:nvSpPr>
        <dsp:cNvPr id="0" name=""/>
        <dsp:cNvSpPr/>
      </dsp:nvSpPr>
      <dsp:spPr>
        <a:xfrm>
          <a:off x="2493875" y="2391637"/>
          <a:ext cx="2127800" cy="682993"/>
        </a:xfrm>
        <a:prstGeom prst="rect">
          <a:avLst/>
        </a:prstGeom>
        <a:solidFill>
          <a:schemeClr val="accent4">
            <a:hueOff val="3465231"/>
            <a:satOff val="-15989"/>
            <a:lumOff val="588"/>
            <a:alphaOff val="0"/>
          </a:schemeClr>
        </a:solidFill>
        <a:ln w="12700" cap="flat" cmpd="sng" algn="ctr">
          <a:solidFill>
            <a:schemeClr val="accent4">
              <a:hueOff val="3465231"/>
              <a:satOff val="-15989"/>
              <a:lumOff val="58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Misura</a:t>
          </a:r>
          <a:endParaRPr lang="it-IT" sz="2400" kern="1200" dirty="0"/>
        </a:p>
      </dsp:txBody>
      <dsp:txXfrm>
        <a:off x="2493875" y="2391637"/>
        <a:ext cx="1498450" cy="682993"/>
      </dsp:txXfrm>
    </dsp:sp>
    <dsp:sp modelId="{E9120F13-E2D8-437B-9243-E9B8527379DC}">
      <dsp:nvSpPr>
        <dsp:cNvPr id="0" name=""/>
        <dsp:cNvSpPr/>
      </dsp:nvSpPr>
      <dsp:spPr>
        <a:xfrm>
          <a:off x="4052518" y="2500125"/>
          <a:ext cx="744730" cy="744730"/>
        </a:xfrm>
        <a:prstGeom prst="ellipse">
          <a:avLst/>
        </a:prstGeom>
        <a:solidFill>
          <a:schemeClr val="accent4">
            <a:tint val="40000"/>
            <a:alpha val="90000"/>
            <a:hueOff val="3837973"/>
            <a:satOff val="-20420"/>
            <a:lumOff val="-1163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3837973"/>
              <a:satOff val="-20420"/>
              <a:lumOff val="-116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EB127BD-F7D3-4E1F-8665-227FBACFBD90}">
      <dsp:nvSpPr>
        <dsp:cNvPr id="0" name=""/>
        <dsp:cNvSpPr/>
      </dsp:nvSpPr>
      <dsp:spPr>
        <a:xfrm>
          <a:off x="4981751" y="323492"/>
          <a:ext cx="2127800" cy="254793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6930461"/>
              <a:satOff val="-31979"/>
              <a:lumOff val="11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60960" rIns="20320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Individuazione delle soluzioni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Studio dell’implementazione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Innalzamento di TRL su soluzioni particolarmente innovative</a:t>
          </a:r>
          <a:endParaRPr lang="it-IT" sz="1600" kern="1200" dirty="0"/>
        </a:p>
      </dsp:txBody>
      <dsp:txXfrm>
        <a:off x="5031608" y="373349"/>
        <a:ext cx="2028086" cy="2498075"/>
      </dsp:txXfrm>
    </dsp:sp>
    <dsp:sp modelId="{9899E3E5-B357-400B-80B0-14914903F8BA}">
      <dsp:nvSpPr>
        <dsp:cNvPr id="0" name=""/>
        <dsp:cNvSpPr/>
      </dsp:nvSpPr>
      <dsp:spPr>
        <a:xfrm>
          <a:off x="4981751" y="2391637"/>
          <a:ext cx="2127800" cy="682993"/>
        </a:xfrm>
        <a:prstGeom prst="rect">
          <a:avLst/>
        </a:prstGeom>
        <a:solidFill>
          <a:schemeClr val="accent4">
            <a:hueOff val="6930461"/>
            <a:satOff val="-31979"/>
            <a:lumOff val="1177"/>
            <a:alphaOff val="0"/>
          </a:schemeClr>
        </a:solidFill>
        <a:ln w="12700" cap="flat" cmpd="sng" algn="ctr">
          <a:solidFill>
            <a:schemeClr val="accent4">
              <a:hueOff val="6930461"/>
              <a:satOff val="-31979"/>
              <a:lumOff val="117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Soluzioni </a:t>
          </a:r>
          <a:r>
            <a:rPr lang="it-IT" sz="2000" kern="1200" dirty="0" err="1" smtClean="0"/>
            <a:t>Tecnlogiche</a:t>
          </a:r>
          <a:endParaRPr lang="it-IT" sz="2000" kern="1200" dirty="0"/>
        </a:p>
      </dsp:txBody>
      <dsp:txXfrm>
        <a:off x="4981751" y="2391637"/>
        <a:ext cx="1498450" cy="682993"/>
      </dsp:txXfrm>
    </dsp:sp>
    <dsp:sp modelId="{983B5866-D817-4AD0-B676-AD9C0511949B}">
      <dsp:nvSpPr>
        <dsp:cNvPr id="0" name=""/>
        <dsp:cNvSpPr/>
      </dsp:nvSpPr>
      <dsp:spPr>
        <a:xfrm>
          <a:off x="6540394" y="2500125"/>
          <a:ext cx="744730" cy="744730"/>
        </a:xfrm>
        <a:prstGeom prst="ellipse">
          <a:avLst/>
        </a:prstGeom>
        <a:solidFill>
          <a:schemeClr val="accent4">
            <a:tint val="40000"/>
            <a:alpha val="90000"/>
            <a:hueOff val="7675946"/>
            <a:satOff val="-40841"/>
            <a:lumOff val="-2327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7675946"/>
              <a:satOff val="-40841"/>
              <a:lumOff val="-232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1C1D358-AAD0-4956-8518-EDFEEE29FCBE}">
      <dsp:nvSpPr>
        <dsp:cNvPr id="0" name=""/>
        <dsp:cNvSpPr/>
      </dsp:nvSpPr>
      <dsp:spPr>
        <a:xfrm>
          <a:off x="7469626" y="323492"/>
          <a:ext cx="2127800" cy="2547932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10395692"/>
              <a:satOff val="-47968"/>
              <a:lumOff val="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60960" rIns="20320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Verifica delle soluzioni oggetto di studio</a:t>
          </a:r>
          <a:endParaRPr lang="it-IT" sz="1600" kern="1200" dirty="0"/>
        </a:p>
      </dsp:txBody>
      <dsp:txXfrm>
        <a:off x="7519483" y="373349"/>
        <a:ext cx="2028086" cy="2498075"/>
      </dsp:txXfrm>
    </dsp:sp>
    <dsp:sp modelId="{D650984E-3017-48C4-AC12-19DAC08DE9BA}">
      <dsp:nvSpPr>
        <dsp:cNvPr id="0" name=""/>
        <dsp:cNvSpPr/>
      </dsp:nvSpPr>
      <dsp:spPr>
        <a:xfrm>
          <a:off x="7469626" y="2391637"/>
          <a:ext cx="2127800" cy="682993"/>
        </a:xfrm>
        <a:prstGeom prst="rect">
          <a:avLst/>
        </a:prstGeom>
        <a:solidFill>
          <a:schemeClr val="accent4">
            <a:hueOff val="10395692"/>
            <a:satOff val="-47968"/>
            <a:lumOff val="1765"/>
            <a:alphaOff val="0"/>
          </a:schemeClr>
        </a:solidFill>
        <a:ln w="12700" cap="flat" cmpd="sng" algn="ctr">
          <a:solidFill>
            <a:schemeClr val="accent4">
              <a:hueOff val="10395692"/>
              <a:satOff val="-47968"/>
              <a:lumOff val="1765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6200" tIns="0" rIns="25400" bIns="0" numCol="1" spcCol="1270" anchor="ctr" anchorCtr="0">
          <a:noAutofit/>
        </a:bodyPr>
        <a:lstStyle/>
        <a:p>
          <a:pPr lvl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000" kern="1200" dirty="0" smtClean="0"/>
            <a:t>Dimostratore</a:t>
          </a:r>
          <a:endParaRPr lang="it-IT" sz="2000" kern="1200" dirty="0"/>
        </a:p>
      </dsp:txBody>
      <dsp:txXfrm>
        <a:off x="7469626" y="2391637"/>
        <a:ext cx="1498450" cy="682993"/>
      </dsp:txXfrm>
    </dsp:sp>
    <dsp:sp modelId="{2C8EB36D-2B8C-42F6-BE23-F3FA08C6CEB6}">
      <dsp:nvSpPr>
        <dsp:cNvPr id="0" name=""/>
        <dsp:cNvSpPr/>
      </dsp:nvSpPr>
      <dsp:spPr>
        <a:xfrm>
          <a:off x="9028269" y="2500125"/>
          <a:ext cx="744730" cy="744730"/>
        </a:xfrm>
        <a:prstGeom prst="ellipse">
          <a:avLst/>
        </a:prstGeom>
        <a:solidFill>
          <a:schemeClr val="accent4">
            <a:tint val="40000"/>
            <a:alpha val="90000"/>
            <a:hueOff val="11513918"/>
            <a:satOff val="-61261"/>
            <a:lumOff val="-349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11513918"/>
              <a:satOff val="-61261"/>
              <a:lumOff val="-349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2D88B7-F964-49ED-AD64-CF1EE6A85298}">
      <dsp:nvSpPr>
        <dsp:cNvPr id="0" name=""/>
        <dsp:cNvSpPr/>
      </dsp:nvSpPr>
      <dsp:spPr>
        <a:xfrm>
          <a:off x="119345" y="2653"/>
          <a:ext cx="2595171" cy="3107585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0320" tIns="60960" rIns="20320" bIns="20320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Analisi variabilità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Studio degli stress degli </a:t>
          </a:r>
          <a:r>
            <a:rPr lang="it-IT" sz="1600" kern="1200" dirty="0" err="1" smtClean="0"/>
            <a:t>shim</a:t>
          </a:r>
          <a:endParaRPr lang="it-IT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600" kern="1200" dirty="0" smtClean="0"/>
            <a:t>Benchmark</a:t>
          </a:r>
          <a:endParaRPr lang="it-IT" sz="1600" kern="1200" dirty="0"/>
        </a:p>
      </dsp:txBody>
      <dsp:txXfrm>
        <a:off x="180153" y="63461"/>
        <a:ext cx="2473555" cy="3046777"/>
      </dsp:txXfrm>
    </dsp:sp>
    <dsp:sp modelId="{F75ADB50-D1B6-47B0-B978-2865A8B1B75D}">
      <dsp:nvSpPr>
        <dsp:cNvPr id="0" name=""/>
        <dsp:cNvSpPr/>
      </dsp:nvSpPr>
      <dsp:spPr>
        <a:xfrm>
          <a:off x="119345" y="2525067"/>
          <a:ext cx="2595171" cy="833013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0" rIns="30480" bIns="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2400" kern="1200" dirty="0" smtClean="0"/>
            <a:t>Studio</a:t>
          </a:r>
          <a:endParaRPr lang="it-IT" sz="2400" kern="1200" dirty="0"/>
        </a:p>
      </dsp:txBody>
      <dsp:txXfrm>
        <a:off x="119345" y="2525067"/>
        <a:ext cx="1827585" cy="833013"/>
      </dsp:txXfrm>
    </dsp:sp>
    <dsp:sp modelId="{57D1A3ED-036B-4282-AEBD-FBA3FF5B9142}">
      <dsp:nvSpPr>
        <dsp:cNvPr id="0" name=""/>
        <dsp:cNvSpPr/>
      </dsp:nvSpPr>
      <dsp:spPr>
        <a:xfrm>
          <a:off x="2020344" y="2657383"/>
          <a:ext cx="908310" cy="908310"/>
        </a:xfrm>
        <a:prstGeom prst="ellipse">
          <a:avLst/>
        </a:prstGeom>
        <a:solidFill>
          <a:schemeClr val="accent4">
            <a:tint val="40000"/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tint val="40000"/>
              <a:alpha val="9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w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7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4281488" y="0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61E1667-1329-4806-821B-DA5D5C9DEE71}" type="datetimeFigureOut">
              <a:rPr lang="en-GB" smtClean="0"/>
              <a:t>27/04/2022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573088" y="1336675"/>
            <a:ext cx="6413500" cy="36083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755650" y="5145088"/>
            <a:ext cx="6048375" cy="42100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10155238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4281488" y="10155238"/>
            <a:ext cx="3276600" cy="5365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A5F82A-6C7C-49B0-8BAD-AEEFFFCE39F9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0631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4516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35946" indent="-283056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32225" indent="-22644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85114" indent="-22644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38004" indent="-226445" eaLnBrk="0" hangingPunct="0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90893" indent="-226445" defTabSz="45289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43783" indent="-226445" defTabSz="45289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396673" indent="-226445" defTabSz="45289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49562" indent="-226445" defTabSz="45289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1" hangingPunct="1"/>
            <a:fld id="{C2B78E19-7418-4B20-8197-41439EFDFDF7}" type="slidenum">
              <a:rPr lang="it-IT" sz="1200">
                <a:solidFill>
                  <a:prstClr val="black"/>
                </a:solidFill>
              </a:rPr>
              <a:pPr eaLnBrk="1" hangingPunct="1"/>
              <a:t>2</a:t>
            </a:fld>
            <a:endParaRPr lang="it-IT" sz="1200">
              <a:solidFill>
                <a:prstClr val="black"/>
              </a:solidFill>
            </a:endParaRPr>
          </a:p>
        </p:txBody>
      </p:sp>
      <p:sp>
        <p:nvSpPr>
          <p:cNvPr id="2" name="Segnaposto note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462483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3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0921371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egnaposto immagine diapositiva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Segnaposto note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it-IT" dirty="0"/>
          </a:p>
        </p:txBody>
      </p:sp>
      <p:sp>
        <p:nvSpPr>
          <p:cNvPr id="11268" name="Segnaposto numero diapositiva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>
              <a:defRPr/>
            </a:pPr>
            <a:fld id="{A6ABE007-C64C-488C-8BE5-1ACC5E55EF8E}" type="slidenum">
              <a:rPr lang="it-IT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62376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041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it-IT" smtClean="0"/>
          </a:p>
        </p:txBody>
      </p:sp>
    </p:spTree>
    <p:extLst>
      <p:ext uri="{BB962C8B-B14F-4D97-AF65-F5344CB8AC3E}">
        <p14:creationId xmlns:p14="http://schemas.microsoft.com/office/powerpoint/2010/main" val="232628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C18E062-BBD6-4F08-BFFA-3263573559BD}" type="slidenum">
              <a:rPr lang="it-IT" smtClean="0"/>
              <a:pPr/>
              <a:t>14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5873824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1260078" y="928028"/>
            <a:ext cx="7560469" cy="1974191"/>
          </a:xfrm>
        </p:spPr>
        <p:txBody>
          <a:bodyPr anchor="b"/>
          <a:lstStyle>
            <a:lvl1pPr algn="ctr">
              <a:defRPr sz="4961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260078" y="2978352"/>
            <a:ext cx="7560469" cy="1369070"/>
          </a:xfrm>
        </p:spPr>
        <p:txBody>
          <a:bodyPr/>
          <a:lstStyle>
            <a:lvl1pPr marL="0" indent="0" algn="ctr">
              <a:buNone/>
              <a:defRPr sz="1984"/>
            </a:lvl1pPr>
            <a:lvl2pPr marL="378013" indent="0" algn="ctr">
              <a:buNone/>
              <a:defRPr sz="1654"/>
            </a:lvl2pPr>
            <a:lvl3pPr marL="756026" indent="0" algn="ctr">
              <a:buNone/>
              <a:defRPr sz="1488"/>
            </a:lvl3pPr>
            <a:lvl4pPr marL="1134039" indent="0" algn="ctr">
              <a:buNone/>
              <a:defRPr sz="1323"/>
            </a:lvl4pPr>
            <a:lvl5pPr marL="1512052" indent="0" algn="ctr">
              <a:buNone/>
              <a:defRPr sz="1323"/>
            </a:lvl5pPr>
            <a:lvl6pPr marL="1890065" indent="0" algn="ctr">
              <a:buNone/>
              <a:defRPr sz="1323"/>
            </a:lvl6pPr>
            <a:lvl7pPr marL="2268078" indent="0" algn="ctr">
              <a:buNone/>
              <a:defRPr sz="1323"/>
            </a:lvl7pPr>
            <a:lvl8pPr marL="2646091" indent="0" algn="ctr">
              <a:buNone/>
              <a:defRPr sz="1323"/>
            </a:lvl8pPr>
            <a:lvl9pPr marL="3024104" indent="0" algn="ctr">
              <a:buNone/>
              <a:defRPr sz="1323"/>
            </a:lvl9pPr>
          </a:lstStyle>
          <a:p>
            <a:r>
              <a:rPr lang="it-IT" smtClean="0"/>
              <a:t>Fare clic per modificare lo stile del sottotitolo dello schema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26978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2796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1_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7213947" y="301904"/>
            <a:ext cx="2173635" cy="4805529"/>
          </a:xfrm>
        </p:spPr>
        <p:txBody>
          <a:bodyPr vert="eaVert"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693043" y="301904"/>
            <a:ext cx="6394896" cy="4805529"/>
          </a:xfrm>
        </p:spPr>
        <p:txBody>
          <a:bodyPr vert="eaVert"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79632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6667" y="632297"/>
            <a:ext cx="9049755" cy="416780"/>
          </a:xfrm>
          <a:prstGeom prst="rect">
            <a:avLst/>
          </a:prstGeom>
        </p:spPr>
        <p:txBody>
          <a:bodyPr/>
          <a:lstStyle>
            <a:lvl1pPr algn="l">
              <a:defRPr sz="198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14" name="Segnaposto contenuto 2"/>
          <p:cNvSpPr>
            <a:spLocks noGrp="1"/>
          </p:cNvSpPr>
          <p:nvPr>
            <p:ph idx="1"/>
          </p:nvPr>
        </p:nvSpPr>
        <p:spPr>
          <a:xfrm>
            <a:off x="356667" y="1170475"/>
            <a:ext cx="9049755" cy="3869667"/>
          </a:xfrm>
          <a:prstGeom prst="rect">
            <a:avLst/>
          </a:prstGeom>
        </p:spPr>
        <p:txBody>
          <a:bodyPr/>
          <a:lstStyle>
            <a:lvl1pPr>
              <a:buNone/>
              <a:defRPr sz="1158">
                <a:solidFill>
                  <a:schemeClr val="tx1"/>
                </a:solidFill>
                <a:latin typeface="Arial"/>
                <a:cs typeface="Arial"/>
              </a:defRPr>
            </a:lvl1pPr>
            <a:lvl2pPr>
              <a:defRPr sz="1158">
                <a:solidFill>
                  <a:schemeClr val="tx1"/>
                </a:solidFill>
                <a:latin typeface="Arial"/>
                <a:cs typeface="Arial"/>
              </a:defRPr>
            </a:lvl2pPr>
            <a:lvl3pPr>
              <a:buNone/>
              <a:defRPr sz="1158">
                <a:solidFill>
                  <a:schemeClr val="tx1"/>
                </a:solidFill>
                <a:latin typeface="Arial"/>
                <a:cs typeface="Arial"/>
              </a:defRPr>
            </a:lvl3pPr>
            <a:lvl4pPr>
              <a:defRPr sz="1158">
                <a:solidFill>
                  <a:schemeClr val="tx1"/>
                </a:solidFill>
                <a:latin typeface="Arial"/>
                <a:cs typeface="Arial"/>
              </a:defRPr>
            </a:lvl4pPr>
            <a:lvl5pPr>
              <a:defRPr sz="1158">
                <a:solidFill>
                  <a:schemeClr val="tx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3849555" y="5213786"/>
            <a:ext cx="5556867" cy="292992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744" b="0">
                <a:solidFill>
                  <a:schemeClr val="tx1"/>
                </a:solidFill>
                <a:latin typeface="Arial"/>
                <a:cs typeface="Arial"/>
              </a:defRPr>
            </a:lvl1pPr>
            <a:lvl2pPr marL="378059" indent="0">
              <a:buNone/>
              <a:defRPr sz="1654" b="1"/>
            </a:lvl2pPr>
            <a:lvl3pPr marL="756117" indent="0">
              <a:buNone/>
              <a:defRPr sz="1488" b="1"/>
            </a:lvl3pPr>
            <a:lvl4pPr marL="1134176" indent="0">
              <a:buNone/>
              <a:defRPr sz="1323" b="1"/>
            </a:lvl4pPr>
            <a:lvl5pPr marL="1512235" indent="0">
              <a:buNone/>
              <a:defRPr sz="1323" b="1"/>
            </a:lvl5pPr>
            <a:lvl6pPr marL="1890293" indent="0">
              <a:buNone/>
              <a:defRPr sz="1323" b="1"/>
            </a:lvl6pPr>
            <a:lvl7pPr marL="2268352" indent="0">
              <a:buNone/>
              <a:defRPr sz="1323" b="1"/>
            </a:lvl7pPr>
            <a:lvl8pPr marL="2646411" indent="0">
              <a:buNone/>
              <a:defRPr sz="1323" b="1"/>
            </a:lvl8pPr>
            <a:lvl9pPr marL="3024469" indent="0">
              <a:buNone/>
              <a:defRPr sz="1323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774140541"/>
      </p:ext>
    </p:extLst>
  </p:cSld>
  <p:clrMapOvr>
    <a:masterClrMapping/>
  </p:clrMapOvr>
  <p:transition spd="slow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56667" y="1049077"/>
            <a:ext cx="9049757" cy="542332"/>
          </a:xfrm>
          <a:prstGeom prst="rect">
            <a:avLst/>
          </a:prstGeom>
        </p:spPr>
        <p:txBody>
          <a:bodyPr/>
          <a:lstStyle>
            <a:lvl1pPr algn="l">
              <a:defRPr sz="2150" b="1" i="0">
                <a:solidFill>
                  <a:srgbClr val="444C4E"/>
                </a:solidFill>
                <a:latin typeface="Arial"/>
                <a:cs typeface="Arial"/>
              </a:defRPr>
            </a:lvl1pPr>
          </a:lstStyle>
          <a:p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</a:t>
            </a:r>
            <a:r>
              <a:rPr lang="it-IT" dirty="0" err="1"/>
              <a:t>title</a:t>
            </a:r>
            <a:r>
              <a:rPr lang="it-IT" dirty="0"/>
              <a:t> style</a:t>
            </a:r>
            <a:endParaRPr lang="en-US" dirty="0"/>
          </a:p>
        </p:txBody>
      </p:sp>
      <p:sp>
        <p:nvSpPr>
          <p:cNvPr id="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370189" y="1644476"/>
            <a:ext cx="4484688" cy="3393778"/>
          </a:xfrm>
          <a:prstGeom prst="rect">
            <a:avLst/>
          </a:prstGeom>
        </p:spPr>
        <p:txBody>
          <a:bodyPr/>
          <a:lstStyle>
            <a:lvl1pPr>
              <a:buNone/>
              <a:defRPr sz="992"/>
            </a:lvl1pPr>
          </a:lstStyle>
          <a:p>
            <a:pPr lvl="0"/>
            <a:endParaRPr lang="it-IT" noProof="0" dirty="0"/>
          </a:p>
        </p:txBody>
      </p:sp>
      <p:sp>
        <p:nvSpPr>
          <p:cNvPr id="7" name="Segnaposto contenuto 2"/>
          <p:cNvSpPr>
            <a:spLocks noGrp="1"/>
          </p:cNvSpPr>
          <p:nvPr>
            <p:ph idx="1"/>
          </p:nvPr>
        </p:nvSpPr>
        <p:spPr>
          <a:xfrm>
            <a:off x="4964034" y="1644477"/>
            <a:ext cx="4432670" cy="3393777"/>
          </a:xfrm>
          <a:prstGeom prst="rect">
            <a:avLst/>
          </a:prstGeom>
        </p:spPr>
        <p:txBody>
          <a:bodyPr/>
          <a:lstStyle>
            <a:lvl1pPr>
              <a:buNone/>
              <a:defRPr sz="1158">
                <a:solidFill>
                  <a:srgbClr val="141313"/>
                </a:solidFill>
                <a:latin typeface="Arial"/>
                <a:cs typeface="Arial"/>
              </a:defRPr>
            </a:lvl1pPr>
            <a:lvl2pPr>
              <a:defRPr sz="1158">
                <a:solidFill>
                  <a:srgbClr val="141313"/>
                </a:solidFill>
                <a:latin typeface="Arial"/>
                <a:cs typeface="Arial"/>
              </a:defRPr>
            </a:lvl2pPr>
            <a:lvl3pPr>
              <a:buNone/>
              <a:defRPr sz="1158">
                <a:solidFill>
                  <a:srgbClr val="141313"/>
                </a:solidFill>
                <a:latin typeface="Arial"/>
                <a:cs typeface="Arial"/>
              </a:defRPr>
            </a:lvl3pPr>
            <a:lvl4pPr>
              <a:defRPr sz="1158">
                <a:solidFill>
                  <a:srgbClr val="141313"/>
                </a:solidFill>
                <a:latin typeface="Arial"/>
                <a:cs typeface="Arial"/>
              </a:defRPr>
            </a:lvl4pPr>
            <a:lvl5pPr>
              <a:defRPr sz="1158">
                <a:solidFill>
                  <a:srgbClr val="14131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it-IT" dirty="0"/>
              <a:t>Fare clic per modificare gli stili del testo dello schema</a:t>
            </a:r>
          </a:p>
          <a:p>
            <a:pPr lvl="1"/>
            <a:r>
              <a:rPr lang="it-IT" dirty="0"/>
              <a:t>Secondo livello</a:t>
            </a:r>
          </a:p>
          <a:p>
            <a:pPr lvl="2"/>
            <a:r>
              <a:rPr lang="it-IT" dirty="0"/>
              <a:t>Terzo livello</a:t>
            </a:r>
          </a:p>
          <a:p>
            <a:pPr lvl="3"/>
            <a:r>
              <a:rPr lang="it-IT" dirty="0"/>
              <a:t>Quarto livello</a:t>
            </a:r>
          </a:p>
          <a:p>
            <a:pPr lvl="4"/>
            <a:r>
              <a:rPr lang="it-IT" dirty="0"/>
              <a:t>Quinto livello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0"/>
          </p:nvPr>
        </p:nvSpPr>
        <p:spPr>
          <a:xfrm>
            <a:off x="356667" y="5216874"/>
            <a:ext cx="4454027" cy="292992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744" b="0">
                <a:solidFill>
                  <a:srgbClr val="545458"/>
                </a:solidFill>
                <a:latin typeface="Arial"/>
                <a:cs typeface="Arial"/>
              </a:defRPr>
            </a:lvl1pPr>
            <a:lvl2pPr marL="378059" indent="0">
              <a:buNone/>
              <a:defRPr sz="1654" b="1"/>
            </a:lvl2pPr>
            <a:lvl3pPr marL="756117" indent="0">
              <a:buNone/>
              <a:defRPr sz="1488" b="1"/>
            </a:lvl3pPr>
            <a:lvl4pPr marL="1134176" indent="0">
              <a:buNone/>
              <a:defRPr sz="1323" b="1"/>
            </a:lvl4pPr>
            <a:lvl5pPr marL="1512235" indent="0">
              <a:buNone/>
              <a:defRPr sz="1323" b="1"/>
            </a:lvl5pPr>
            <a:lvl6pPr marL="1890293" indent="0">
              <a:buNone/>
              <a:defRPr sz="1323" b="1"/>
            </a:lvl6pPr>
            <a:lvl7pPr marL="2268352" indent="0">
              <a:buNone/>
              <a:defRPr sz="1323" b="1"/>
            </a:lvl7pPr>
            <a:lvl8pPr marL="2646411" indent="0">
              <a:buNone/>
              <a:defRPr sz="1323" b="1"/>
            </a:lvl8pPr>
            <a:lvl9pPr marL="3024469" indent="0">
              <a:buNone/>
              <a:defRPr sz="1323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4017050" y="5213786"/>
            <a:ext cx="5389373" cy="292992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744" b="0">
                <a:solidFill>
                  <a:srgbClr val="545458"/>
                </a:solidFill>
                <a:latin typeface="Arial"/>
                <a:cs typeface="Arial"/>
              </a:defRPr>
            </a:lvl1pPr>
            <a:lvl2pPr marL="378059" indent="0">
              <a:buNone/>
              <a:defRPr sz="1654" b="1"/>
            </a:lvl2pPr>
            <a:lvl3pPr marL="756117" indent="0">
              <a:buNone/>
              <a:defRPr sz="1488" b="1"/>
            </a:lvl3pPr>
            <a:lvl4pPr marL="1134176" indent="0">
              <a:buNone/>
              <a:defRPr sz="1323" b="1"/>
            </a:lvl4pPr>
            <a:lvl5pPr marL="1512235" indent="0">
              <a:buNone/>
              <a:defRPr sz="1323" b="1"/>
            </a:lvl5pPr>
            <a:lvl6pPr marL="1890293" indent="0">
              <a:buNone/>
              <a:defRPr sz="1323" b="1"/>
            </a:lvl6pPr>
            <a:lvl7pPr marL="2268352" indent="0">
              <a:buNone/>
              <a:defRPr sz="1323" b="1"/>
            </a:lvl7pPr>
            <a:lvl8pPr marL="2646411" indent="0">
              <a:buNone/>
              <a:defRPr sz="1323" b="1"/>
            </a:lvl8pPr>
            <a:lvl9pPr marL="3024469" indent="0">
              <a:buNone/>
              <a:defRPr sz="1323" b="1"/>
            </a:lvl9pPr>
          </a:lstStyle>
          <a:p>
            <a:pPr lvl="0"/>
            <a:r>
              <a:rPr lang="it-IT" dirty="0"/>
              <a:t>Click to </a:t>
            </a:r>
            <a:r>
              <a:rPr lang="it-IT" dirty="0" err="1"/>
              <a:t>edit</a:t>
            </a:r>
            <a:r>
              <a:rPr lang="it-IT" dirty="0"/>
              <a:t> Master text </a:t>
            </a:r>
            <a:r>
              <a:rPr lang="it-IT" dirty="0" err="1"/>
              <a:t>styles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171955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rco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278324" y="158573"/>
            <a:ext cx="5926617" cy="318107"/>
          </a:xfrm>
          <a:prstGeom prst="rect">
            <a:avLst/>
          </a:prstGeom>
        </p:spPr>
        <p:txBody>
          <a:bodyPr wrap="none"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en-GB" noProof="0" dirty="0"/>
              <a:t>Fare </a:t>
            </a:r>
            <a:r>
              <a:rPr lang="en-GB" noProof="0" dirty="0" err="1"/>
              <a:t>clic</a:t>
            </a:r>
            <a:r>
              <a:rPr lang="en-GB" noProof="0" dirty="0"/>
              <a:t> per </a:t>
            </a:r>
            <a:r>
              <a:rPr lang="en-GB" noProof="0" dirty="0" err="1"/>
              <a:t>modificare</a:t>
            </a:r>
            <a:r>
              <a:rPr lang="en-GB" noProof="0" dirty="0"/>
              <a:t> lo stile del </a:t>
            </a:r>
            <a:r>
              <a:rPr lang="en-GB" noProof="0" dirty="0" err="1"/>
              <a:t>titolo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11832609"/>
      </p:ext>
    </p:extLst>
  </p:cSld>
  <p:clrMapOvr>
    <a:masterClrMapping/>
  </p:clrMapOvr>
  <p:transition spd="slow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356668" y="1049077"/>
            <a:ext cx="9049755" cy="542332"/>
          </a:xfrm>
          <a:prstGeom prst="rect">
            <a:avLst/>
          </a:prstGeom>
        </p:spPr>
        <p:txBody>
          <a:bodyPr/>
          <a:lstStyle>
            <a:lvl1pPr algn="l">
              <a:defRPr sz="2150" b="1" i="0">
                <a:solidFill>
                  <a:srgbClr val="444C4E"/>
                </a:solidFill>
                <a:latin typeface="Arial"/>
                <a:cs typeface="Arial"/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en-US" dirty="0"/>
          </a:p>
        </p:txBody>
      </p:sp>
      <p:sp>
        <p:nvSpPr>
          <p:cNvPr id="14" name="Segnaposto contenuto 2"/>
          <p:cNvSpPr>
            <a:spLocks noGrp="1"/>
          </p:cNvSpPr>
          <p:nvPr>
            <p:ph idx="1"/>
          </p:nvPr>
        </p:nvSpPr>
        <p:spPr>
          <a:xfrm>
            <a:off x="356668" y="1644476"/>
            <a:ext cx="9049755" cy="3393777"/>
          </a:xfrm>
          <a:prstGeom prst="rect">
            <a:avLst/>
          </a:prstGeom>
        </p:spPr>
        <p:txBody>
          <a:bodyPr/>
          <a:lstStyle>
            <a:lvl1pPr>
              <a:buNone/>
              <a:defRPr sz="1158">
                <a:solidFill>
                  <a:srgbClr val="141313"/>
                </a:solidFill>
                <a:latin typeface="Arial"/>
                <a:cs typeface="Arial"/>
              </a:defRPr>
            </a:lvl1pPr>
            <a:lvl2pPr>
              <a:defRPr sz="1158">
                <a:solidFill>
                  <a:srgbClr val="141313"/>
                </a:solidFill>
                <a:latin typeface="Arial"/>
                <a:cs typeface="Arial"/>
              </a:defRPr>
            </a:lvl2pPr>
            <a:lvl3pPr>
              <a:buNone/>
              <a:defRPr sz="1158">
                <a:solidFill>
                  <a:srgbClr val="141313"/>
                </a:solidFill>
                <a:latin typeface="Arial"/>
                <a:cs typeface="Arial"/>
              </a:defRPr>
            </a:lvl3pPr>
            <a:lvl4pPr>
              <a:defRPr sz="1158">
                <a:solidFill>
                  <a:srgbClr val="141313"/>
                </a:solidFill>
                <a:latin typeface="Arial"/>
                <a:cs typeface="Arial"/>
              </a:defRPr>
            </a:lvl4pPr>
            <a:lvl5pPr>
              <a:defRPr sz="1158">
                <a:solidFill>
                  <a:srgbClr val="141313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it-IT" dirty="0" smtClean="0"/>
              <a:t>Fare clic per modificare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it-IT" dirty="0"/>
          </a:p>
        </p:txBody>
      </p:sp>
      <p:sp>
        <p:nvSpPr>
          <p:cNvPr id="12" name="Text Placeholder 2"/>
          <p:cNvSpPr>
            <a:spLocks noGrp="1"/>
          </p:cNvSpPr>
          <p:nvPr>
            <p:ph type="body" idx="10"/>
          </p:nvPr>
        </p:nvSpPr>
        <p:spPr>
          <a:xfrm>
            <a:off x="356668" y="5216874"/>
            <a:ext cx="4454026" cy="292992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l">
              <a:spcBef>
                <a:spcPts val="0"/>
              </a:spcBef>
              <a:buNone/>
              <a:defRPr sz="744" b="0">
                <a:solidFill>
                  <a:srgbClr val="545458"/>
                </a:solidFill>
                <a:latin typeface="Arial"/>
                <a:cs typeface="Arial"/>
              </a:defRPr>
            </a:lvl1pPr>
            <a:lvl2pPr marL="378013" indent="0">
              <a:buNone/>
              <a:defRPr sz="1654" b="1"/>
            </a:lvl2pPr>
            <a:lvl3pPr marL="756026" indent="0">
              <a:buNone/>
              <a:defRPr sz="1488" b="1"/>
            </a:lvl3pPr>
            <a:lvl4pPr marL="1134039" indent="0">
              <a:buNone/>
              <a:defRPr sz="1323" b="1"/>
            </a:lvl4pPr>
            <a:lvl5pPr marL="1512052" indent="0">
              <a:buNone/>
              <a:defRPr sz="1323" b="1"/>
            </a:lvl5pPr>
            <a:lvl6pPr marL="1890065" indent="0">
              <a:buNone/>
              <a:defRPr sz="1323" b="1"/>
            </a:lvl6pPr>
            <a:lvl7pPr marL="2268078" indent="0">
              <a:buNone/>
              <a:defRPr sz="1323" b="1"/>
            </a:lvl7pPr>
            <a:lvl8pPr marL="2646091" indent="0">
              <a:buNone/>
              <a:defRPr sz="1323" b="1"/>
            </a:lvl8pPr>
            <a:lvl9pPr marL="3024104" indent="0">
              <a:buNone/>
              <a:defRPr sz="1323" b="1"/>
            </a:lvl9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</p:txBody>
      </p:sp>
      <p:sp>
        <p:nvSpPr>
          <p:cNvPr id="5" name="Text Placeholder 2"/>
          <p:cNvSpPr>
            <a:spLocks noGrp="1"/>
          </p:cNvSpPr>
          <p:nvPr>
            <p:ph type="body" idx="11"/>
          </p:nvPr>
        </p:nvSpPr>
        <p:spPr>
          <a:xfrm>
            <a:off x="4017050" y="5213787"/>
            <a:ext cx="5389373" cy="292992"/>
          </a:xfrm>
          <a:prstGeom prst="rect">
            <a:avLst/>
          </a:prstGeom>
        </p:spPr>
        <p:txBody>
          <a:bodyPr lIns="0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744" b="0">
                <a:solidFill>
                  <a:srgbClr val="545458"/>
                </a:solidFill>
                <a:latin typeface="Arial"/>
                <a:cs typeface="Arial"/>
              </a:defRPr>
            </a:lvl1pPr>
            <a:lvl2pPr marL="378013" indent="0">
              <a:buNone/>
              <a:defRPr sz="1654" b="1"/>
            </a:lvl2pPr>
            <a:lvl3pPr marL="756026" indent="0">
              <a:buNone/>
              <a:defRPr sz="1488" b="1"/>
            </a:lvl3pPr>
            <a:lvl4pPr marL="1134039" indent="0">
              <a:buNone/>
              <a:defRPr sz="1323" b="1"/>
            </a:lvl4pPr>
            <a:lvl5pPr marL="1512052" indent="0">
              <a:buNone/>
              <a:defRPr sz="1323" b="1"/>
            </a:lvl5pPr>
            <a:lvl6pPr marL="1890065" indent="0">
              <a:buNone/>
              <a:defRPr sz="1323" b="1"/>
            </a:lvl6pPr>
            <a:lvl7pPr marL="2268078" indent="0">
              <a:buNone/>
              <a:defRPr sz="1323" b="1"/>
            </a:lvl7pPr>
            <a:lvl8pPr marL="2646091" indent="0">
              <a:buNone/>
              <a:defRPr sz="1323" b="1"/>
            </a:lvl8pPr>
            <a:lvl9pPr marL="3024104" indent="0">
              <a:buNone/>
              <a:defRPr sz="1323" b="1"/>
            </a:lvl9pPr>
          </a:lstStyle>
          <a:p>
            <a:pPr lvl="0"/>
            <a:endParaRPr lang="it-IT" dirty="0" smtClean="0"/>
          </a:p>
        </p:txBody>
      </p:sp>
    </p:spTree>
    <p:extLst>
      <p:ext uri="{BB962C8B-B14F-4D97-AF65-F5344CB8AC3E}">
        <p14:creationId xmlns:p14="http://schemas.microsoft.com/office/powerpoint/2010/main" val="5889933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356668" y="632065"/>
            <a:ext cx="9049753" cy="417012"/>
          </a:xfrm>
          <a:prstGeom prst="rect">
            <a:avLst/>
          </a:prstGeom>
        </p:spPr>
        <p:txBody>
          <a:bodyPr/>
          <a:lstStyle>
            <a:lvl1pPr algn="l">
              <a:defRPr sz="198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986501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immagine 2"/>
          <p:cNvSpPr>
            <a:spLocks noGrp="1"/>
          </p:cNvSpPr>
          <p:nvPr>
            <p:ph type="pic" idx="1"/>
          </p:nvPr>
        </p:nvSpPr>
        <p:spPr>
          <a:xfrm>
            <a:off x="356669" y="1763556"/>
            <a:ext cx="4454026" cy="3274699"/>
          </a:xfrm>
          <a:prstGeom prst="rect">
            <a:avLst/>
          </a:prstGeom>
        </p:spPr>
        <p:txBody>
          <a:bodyPr lIns="91407" tIns="45705" rIns="91407" bIns="45705" rtlCol="0">
            <a:normAutofit/>
          </a:bodyPr>
          <a:lstStyle>
            <a:lvl1pPr marL="0" indent="0">
              <a:buNone/>
              <a:defRPr sz="992">
                <a:solidFill>
                  <a:schemeClr val="tx1"/>
                </a:solidFill>
              </a:defRPr>
            </a:lvl1pPr>
            <a:lvl2pPr marL="377525" indent="0">
              <a:buNone/>
              <a:defRPr sz="2315"/>
            </a:lvl2pPr>
            <a:lvl3pPr marL="755045" indent="0">
              <a:buNone/>
              <a:defRPr sz="1985"/>
            </a:lvl3pPr>
            <a:lvl4pPr marL="1132566" indent="0">
              <a:buNone/>
              <a:defRPr sz="1654"/>
            </a:lvl4pPr>
            <a:lvl5pPr marL="1510089" indent="0">
              <a:buNone/>
              <a:defRPr sz="1654"/>
            </a:lvl5pPr>
            <a:lvl6pPr marL="1887612" indent="0">
              <a:buNone/>
              <a:defRPr sz="1654"/>
            </a:lvl6pPr>
            <a:lvl7pPr marL="2265133" indent="0">
              <a:buNone/>
              <a:defRPr sz="1654"/>
            </a:lvl7pPr>
            <a:lvl8pPr marL="2642656" indent="0">
              <a:buNone/>
              <a:defRPr sz="1654"/>
            </a:lvl8pPr>
            <a:lvl9pPr marL="3020179" indent="0">
              <a:buNone/>
              <a:defRPr sz="1654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it-IT" noProof="0" dirty="0"/>
          </a:p>
        </p:txBody>
      </p:sp>
      <p:sp>
        <p:nvSpPr>
          <p:cNvPr id="5" name="Segnaposto testo 3"/>
          <p:cNvSpPr>
            <a:spLocks noGrp="1"/>
          </p:cNvSpPr>
          <p:nvPr>
            <p:ph type="body" sz="half" idx="2"/>
          </p:nvPr>
        </p:nvSpPr>
        <p:spPr>
          <a:xfrm>
            <a:off x="356667" y="1335023"/>
            <a:ext cx="9049755" cy="267900"/>
          </a:xfrm>
          <a:prstGeom prst="rect">
            <a:avLst/>
          </a:prstGeom>
        </p:spPr>
        <p:txBody>
          <a:bodyPr lIns="91407" tIns="45705" rIns="91407" bIns="45705"/>
          <a:lstStyle>
            <a:lvl1pPr marL="0" indent="0">
              <a:buNone/>
              <a:defRPr sz="1158">
                <a:solidFill>
                  <a:schemeClr val="tx1"/>
                </a:solidFill>
                <a:latin typeface="Arial"/>
                <a:cs typeface="Arial"/>
              </a:defRPr>
            </a:lvl1pPr>
            <a:lvl2pPr marL="377525" indent="0">
              <a:buNone/>
              <a:defRPr sz="992"/>
            </a:lvl2pPr>
            <a:lvl3pPr marL="755045" indent="0">
              <a:buNone/>
              <a:defRPr sz="827"/>
            </a:lvl3pPr>
            <a:lvl4pPr marL="1132566" indent="0">
              <a:buNone/>
              <a:defRPr sz="744"/>
            </a:lvl4pPr>
            <a:lvl5pPr marL="1510089" indent="0">
              <a:buNone/>
              <a:defRPr sz="744"/>
            </a:lvl5pPr>
            <a:lvl6pPr marL="1887612" indent="0">
              <a:buNone/>
              <a:defRPr sz="744"/>
            </a:lvl6pPr>
            <a:lvl7pPr marL="2265133" indent="0">
              <a:buNone/>
              <a:defRPr sz="744"/>
            </a:lvl7pPr>
            <a:lvl8pPr marL="2642656" indent="0">
              <a:buNone/>
              <a:defRPr sz="744"/>
            </a:lvl8pPr>
            <a:lvl9pPr marL="3020179" indent="0">
              <a:buNone/>
              <a:defRPr sz="744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356670" y="1058077"/>
            <a:ext cx="9049754" cy="279909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07" tIns="45705" rIns="91407" bIns="45705">
            <a:spAutoFit/>
          </a:bodyPr>
          <a:lstStyle>
            <a:lvl1pPr marL="0" indent="0">
              <a:buNone/>
              <a:defRPr lang="en-US" sz="1323" b="1" smtClean="0">
                <a:solidFill>
                  <a:srgbClr val="FF0000"/>
                </a:solidFill>
                <a:latin typeface="Arial"/>
                <a:cs typeface="Arial"/>
              </a:defRPr>
            </a:lvl1pPr>
            <a:lvl2pPr>
              <a:defRPr lang="en-US" sz="3638" smtClean="0">
                <a:latin typeface="Calibri" pitchFamily="34" charset="0"/>
              </a:defRPr>
            </a:lvl2pPr>
            <a:lvl3pPr>
              <a:defRPr lang="en-US" sz="3638" smtClean="0">
                <a:latin typeface="Calibri" pitchFamily="34" charset="0"/>
              </a:defRPr>
            </a:lvl3pPr>
            <a:lvl4pPr>
              <a:defRPr lang="en-US" sz="3638" smtClean="0">
                <a:latin typeface="Calibri" pitchFamily="34" charset="0"/>
              </a:defRPr>
            </a:lvl4pPr>
            <a:lvl5pPr>
              <a:defRPr lang="it-IT" sz="3638">
                <a:latin typeface="Calibri" pitchFamily="34" charset="0"/>
              </a:defRPr>
            </a:lvl5pPr>
          </a:lstStyle>
          <a:p>
            <a:pPr lvl="0"/>
            <a:r>
              <a:rPr lang="it-IT" dirty="0" smtClean="0"/>
              <a:t>Click </a:t>
            </a:r>
            <a:r>
              <a:rPr lang="it-IT" dirty="0" err="1" smtClean="0"/>
              <a:t>to</a:t>
            </a:r>
            <a:r>
              <a:rPr lang="it-IT" dirty="0" smtClean="0"/>
              <a:t>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</p:txBody>
      </p:sp>
      <p:sp>
        <p:nvSpPr>
          <p:cNvPr id="9" name="Text Placeholder 2"/>
          <p:cNvSpPr>
            <a:spLocks noGrp="1"/>
          </p:cNvSpPr>
          <p:nvPr>
            <p:ph type="body" idx="12"/>
          </p:nvPr>
        </p:nvSpPr>
        <p:spPr>
          <a:xfrm>
            <a:off x="2420647" y="5213788"/>
            <a:ext cx="6985776" cy="292992"/>
          </a:xfrm>
          <a:prstGeom prst="rect">
            <a:avLst/>
          </a:prstGeom>
        </p:spPr>
        <p:txBody>
          <a:bodyPr lIns="0" tIns="45705" rIns="91407" bIns="0" anchor="b">
            <a:normAutofit/>
          </a:bodyPr>
          <a:lstStyle>
            <a:lvl1pPr marL="0" indent="0" algn="r">
              <a:spcBef>
                <a:spcPts val="0"/>
              </a:spcBef>
              <a:buNone/>
              <a:defRPr sz="744" b="0">
                <a:solidFill>
                  <a:schemeClr val="tx1"/>
                </a:solidFill>
                <a:latin typeface="Arial"/>
                <a:cs typeface="Arial"/>
              </a:defRPr>
            </a:lvl1pPr>
            <a:lvl2pPr marL="377922" indent="0">
              <a:buNone/>
              <a:defRPr sz="1654" b="1"/>
            </a:lvl2pPr>
            <a:lvl3pPr marL="755844" indent="0">
              <a:buNone/>
              <a:defRPr sz="1488" b="1"/>
            </a:lvl3pPr>
            <a:lvl4pPr marL="1133767" indent="0">
              <a:buNone/>
              <a:defRPr sz="1323" b="1"/>
            </a:lvl4pPr>
            <a:lvl5pPr marL="1511690" indent="0">
              <a:buNone/>
              <a:defRPr sz="1323" b="1"/>
            </a:lvl5pPr>
            <a:lvl6pPr marL="1889612" indent="0">
              <a:buNone/>
              <a:defRPr sz="1323" b="1"/>
            </a:lvl6pPr>
            <a:lvl7pPr marL="2267536" indent="0">
              <a:buNone/>
              <a:defRPr sz="1323" b="1"/>
            </a:lvl7pPr>
            <a:lvl8pPr marL="2645458" indent="0">
              <a:buNone/>
              <a:defRPr sz="1323" b="1"/>
            </a:lvl8pPr>
            <a:lvl9pPr marL="3023380" indent="0">
              <a:buNone/>
              <a:defRPr sz="1323" b="1"/>
            </a:lvl9pPr>
          </a:lstStyle>
          <a:p>
            <a:pPr lvl="0"/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text </a:t>
            </a:r>
            <a:r>
              <a:rPr lang="it-IT" dirty="0" err="1" smtClean="0"/>
              <a:t>styles</a:t>
            </a:r>
            <a:endParaRPr lang="it-IT" dirty="0" smtClean="0"/>
          </a:p>
        </p:txBody>
      </p:sp>
      <p:sp>
        <p:nvSpPr>
          <p:cNvPr id="10" name="Segnaposto immagine 2"/>
          <p:cNvSpPr>
            <a:spLocks noGrp="1"/>
          </p:cNvSpPr>
          <p:nvPr>
            <p:ph type="pic" idx="15"/>
          </p:nvPr>
        </p:nvSpPr>
        <p:spPr>
          <a:xfrm>
            <a:off x="4960929" y="1763556"/>
            <a:ext cx="4445494" cy="3274699"/>
          </a:xfrm>
          <a:prstGeom prst="rect">
            <a:avLst/>
          </a:prstGeom>
        </p:spPr>
        <p:txBody>
          <a:bodyPr lIns="91407" tIns="45705" rIns="91407" bIns="45705" rtlCol="0">
            <a:normAutofit/>
          </a:bodyPr>
          <a:lstStyle>
            <a:lvl1pPr marL="0" indent="0">
              <a:buNone/>
              <a:defRPr sz="992">
                <a:solidFill>
                  <a:schemeClr val="tx1"/>
                </a:solidFill>
              </a:defRPr>
            </a:lvl1pPr>
            <a:lvl2pPr marL="377525" indent="0">
              <a:buNone/>
              <a:defRPr sz="2315"/>
            </a:lvl2pPr>
            <a:lvl3pPr marL="755045" indent="0">
              <a:buNone/>
              <a:defRPr sz="1985"/>
            </a:lvl3pPr>
            <a:lvl4pPr marL="1132566" indent="0">
              <a:buNone/>
              <a:defRPr sz="1654"/>
            </a:lvl4pPr>
            <a:lvl5pPr marL="1510089" indent="0">
              <a:buNone/>
              <a:defRPr sz="1654"/>
            </a:lvl5pPr>
            <a:lvl6pPr marL="1887612" indent="0">
              <a:buNone/>
              <a:defRPr sz="1654"/>
            </a:lvl6pPr>
            <a:lvl7pPr marL="2265133" indent="0">
              <a:buNone/>
              <a:defRPr sz="1654"/>
            </a:lvl7pPr>
            <a:lvl8pPr marL="2642656" indent="0">
              <a:buNone/>
              <a:defRPr sz="1654"/>
            </a:lvl8pPr>
            <a:lvl9pPr marL="3020179" indent="0">
              <a:buNone/>
              <a:defRPr sz="1654"/>
            </a:lvl9pPr>
          </a:lstStyle>
          <a:p>
            <a:pPr lvl="0"/>
            <a:r>
              <a:rPr lang="en-US" noProof="0" dirty="0" smtClean="0"/>
              <a:t>Click icon to add picture</a:t>
            </a:r>
            <a:endParaRPr lang="it-IT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356669" y="632297"/>
            <a:ext cx="9049754" cy="416733"/>
          </a:xfrm>
          <a:prstGeom prst="rect">
            <a:avLst/>
          </a:prstGeom>
        </p:spPr>
        <p:txBody>
          <a:bodyPr lIns="91407" tIns="45705" rIns="91407" bIns="45705"/>
          <a:lstStyle>
            <a:lvl1pPr algn="l">
              <a:defRPr sz="1985" b="1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r>
              <a:rPr lang="it-IT" dirty="0" smtClean="0"/>
              <a:t>Click to </a:t>
            </a:r>
            <a:r>
              <a:rPr lang="it-IT" dirty="0" err="1" smtClean="0"/>
              <a:t>edit</a:t>
            </a:r>
            <a:r>
              <a:rPr lang="it-IT" dirty="0" smtClean="0"/>
              <a:t> Master </a:t>
            </a:r>
            <a:r>
              <a:rPr lang="it-IT" dirty="0" err="1" smtClean="0"/>
              <a:t>title</a:t>
            </a:r>
            <a:r>
              <a:rPr lang="it-IT" dirty="0" smtClean="0"/>
              <a:t>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9822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1869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87793" y="1413700"/>
            <a:ext cx="8694539" cy="2358791"/>
          </a:xfrm>
        </p:spPr>
        <p:txBody>
          <a:bodyPr anchor="b"/>
          <a:lstStyle>
            <a:lvl1pPr>
              <a:defRPr sz="4961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87793" y="3794807"/>
            <a:ext cx="8694539" cy="1240432"/>
          </a:xfrm>
        </p:spPr>
        <p:txBody>
          <a:bodyPr/>
          <a:lstStyle>
            <a:lvl1pPr marL="0" indent="0">
              <a:buNone/>
              <a:defRPr sz="1984">
                <a:solidFill>
                  <a:schemeClr val="tx1">
                    <a:tint val="75000"/>
                  </a:schemeClr>
                </a:solidFill>
              </a:defRPr>
            </a:lvl1pPr>
            <a:lvl2pPr marL="378013" indent="0">
              <a:buNone/>
              <a:defRPr sz="1654">
                <a:solidFill>
                  <a:schemeClr val="tx1">
                    <a:tint val="75000"/>
                  </a:schemeClr>
                </a:solidFill>
              </a:defRPr>
            </a:lvl2pPr>
            <a:lvl3pPr marL="756026" indent="0">
              <a:buNone/>
              <a:defRPr sz="1488">
                <a:solidFill>
                  <a:schemeClr val="tx1">
                    <a:tint val="75000"/>
                  </a:schemeClr>
                </a:solidFill>
              </a:defRPr>
            </a:lvl3pPr>
            <a:lvl4pPr marL="1134039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4pPr>
            <a:lvl5pPr marL="1512052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5pPr>
            <a:lvl6pPr marL="1890065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6pPr>
            <a:lvl7pPr marL="2268078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7pPr>
            <a:lvl8pPr marL="2646091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8pPr>
            <a:lvl9pPr marL="3024104" indent="0">
              <a:buNone/>
              <a:defRPr sz="132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048712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e contenu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693043" y="1509521"/>
            <a:ext cx="4284266" cy="3597912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5103316" y="1509521"/>
            <a:ext cx="4284266" cy="3597912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513269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94356" y="301905"/>
            <a:ext cx="8694539" cy="1096044"/>
          </a:xfrm>
        </p:spPr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694357" y="1390073"/>
            <a:ext cx="4264576" cy="681253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8013" indent="0">
              <a:buNone/>
              <a:defRPr sz="1654" b="1"/>
            </a:lvl2pPr>
            <a:lvl3pPr marL="756026" indent="0">
              <a:buNone/>
              <a:defRPr sz="1488" b="1"/>
            </a:lvl3pPr>
            <a:lvl4pPr marL="1134039" indent="0">
              <a:buNone/>
              <a:defRPr sz="1323" b="1"/>
            </a:lvl4pPr>
            <a:lvl5pPr marL="1512052" indent="0">
              <a:buNone/>
              <a:defRPr sz="1323" b="1"/>
            </a:lvl5pPr>
            <a:lvl6pPr marL="1890065" indent="0">
              <a:buNone/>
              <a:defRPr sz="1323" b="1"/>
            </a:lvl6pPr>
            <a:lvl7pPr marL="2268078" indent="0">
              <a:buNone/>
              <a:defRPr sz="1323" b="1"/>
            </a:lvl7pPr>
            <a:lvl8pPr marL="2646091" indent="0">
              <a:buNone/>
              <a:defRPr sz="1323" b="1"/>
            </a:lvl8pPr>
            <a:lvl9pPr marL="3024104" indent="0">
              <a:buNone/>
              <a:defRPr sz="1323" b="1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694357" y="2071326"/>
            <a:ext cx="4264576" cy="304660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5103316" y="1390073"/>
            <a:ext cx="4285579" cy="681253"/>
          </a:xfrm>
        </p:spPr>
        <p:txBody>
          <a:bodyPr anchor="b"/>
          <a:lstStyle>
            <a:lvl1pPr marL="0" indent="0">
              <a:buNone/>
              <a:defRPr sz="1984" b="1"/>
            </a:lvl1pPr>
            <a:lvl2pPr marL="378013" indent="0">
              <a:buNone/>
              <a:defRPr sz="1654" b="1"/>
            </a:lvl2pPr>
            <a:lvl3pPr marL="756026" indent="0">
              <a:buNone/>
              <a:defRPr sz="1488" b="1"/>
            </a:lvl3pPr>
            <a:lvl4pPr marL="1134039" indent="0">
              <a:buNone/>
              <a:defRPr sz="1323" b="1"/>
            </a:lvl4pPr>
            <a:lvl5pPr marL="1512052" indent="0">
              <a:buNone/>
              <a:defRPr sz="1323" b="1"/>
            </a:lvl5pPr>
            <a:lvl6pPr marL="1890065" indent="0">
              <a:buNone/>
              <a:defRPr sz="1323" b="1"/>
            </a:lvl6pPr>
            <a:lvl7pPr marL="2268078" indent="0">
              <a:buNone/>
              <a:defRPr sz="1323" b="1"/>
            </a:lvl7pPr>
            <a:lvl8pPr marL="2646091" indent="0">
              <a:buNone/>
              <a:defRPr sz="1323" b="1"/>
            </a:lvl8pPr>
            <a:lvl9pPr marL="3024104" indent="0">
              <a:buNone/>
              <a:defRPr sz="1323" b="1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5103316" y="2071326"/>
            <a:ext cx="4285579" cy="3046608"/>
          </a:xfrm>
        </p:spPr>
        <p:txBody>
          <a:bodyPr/>
          <a:lstStyle/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7" name="Segnaposto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8" name="Segnaposto piè di pa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egnaposto numero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22648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61333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53328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94356" y="378037"/>
            <a:ext cx="3251264" cy="1323128"/>
          </a:xfrm>
        </p:spPr>
        <p:txBody>
          <a:bodyPr anchor="b"/>
          <a:lstStyle>
            <a:lvl1pPr>
              <a:defRPr sz="2646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285579" y="816455"/>
            <a:ext cx="5103316" cy="4029766"/>
          </a:xfrm>
        </p:spPr>
        <p:txBody>
          <a:bodyPr/>
          <a:lstStyle>
            <a:lvl1pPr>
              <a:defRPr sz="2646"/>
            </a:lvl1pPr>
            <a:lvl2pPr>
              <a:defRPr sz="2315"/>
            </a:lvl2pPr>
            <a:lvl3pPr>
              <a:defRPr sz="1984"/>
            </a:lvl3pPr>
            <a:lvl4pPr>
              <a:defRPr sz="1654"/>
            </a:lvl4pPr>
            <a:lvl5pPr>
              <a:defRPr sz="1654"/>
            </a:lvl5pPr>
            <a:lvl6pPr>
              <a:defRPr sz="1654"/>
            </a:lvl6pPr>
            <a:lvl7pPr>
              <a:defRPr sz="1654"/>
            </a:lvl7pPr>
            <a:lvl8pPr>
              <a:defRPr sz="1654"/>
            </a:lvl8pPr>
            <a:lvl9pPr>
              <a:defRPr sz="1654"/>
            </a:lvl9pPr>
          </a:lstStyle>
          <a:p>
            <a:pPr lvl="0"/>
            <a:r>
              <a:rPr lang="it-IT" smtClean="0"/>
              <a:t>Modifica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94356" y="1701165"/>
            <a:ext cx="3251264" cy="3151619"/>
          </a:xfrm>
        </p:spPr>
        <p:txBody>
          <a:bodyPr/>
          <a:lstStyle>
            <a:lvl1pPr marL="0" indent="0">
              <a:buNone/>
              <a:defRPr sz="1323"/>
            </a:lvl1pPr>
            <a:lvl2pPr marL="378013" indent="0">
              <a:buNone/>
              <a:defRPr sz="1158"/>
            </a:lvl2pPr>
            <a:lvl3pPr marL="756026" indent="0">
              <a:buNone/>
              <a:defRPr sz="992"/>
            </a:lvl3pPr>
            <a:lvl4pPr marL="1134039" indent="0">
              <a:buNone/>
              <a:defRPr sz="827"/>
            </a:lvl4pPr>
            <a:lvl5pPr marL="1512052" indent="0">
              <a:buNone/>
              <a:defRPr sz="827"/>
            </a:lvl5pPr>
            <a:lvl6pPr marL="1890065" indent="0">
              <a:buNone/>
              <a:defRPr sz="827"/>
            </a:lvl6pPr>
            <a:lvl7pPr marL="2268078" indent="0">
              <a:buNone/>
              <a:defRPr sz="827"/>
            </a:lvl7pPr>
            <a:lvl8pPr marL="2646091" indent="0">
              <a:buNone/>
              <a:defRPr sz="827"/>
            </a:lvl8pPr>
            <a:lvl9pPr marL="3024104" indent="0">
              <a:buNone/>
              <a:defRPr sz="827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07613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694356" y="378037"/>
            <a:ext cx="3251264" cy="1323128"/>
          </a:xfrm>
        </p:spPr>
        <p:txBody>
          <a:bodyPr anchor="b"/>
          <a:lstStyle>
            <a:lvl1pPr>
              <a:defRPr sz="2646"/>
            </a:lvl1pPr>
          </a:lstStyle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4285579" y="816455"/>
            <a:ext cx="5103316" cy="4029766"/>
          </a:xfrm>
        </p:spPr>
        <p:txBody>
          <a:bodyPr/>
          <a:lstStyle>
            <a:lvl1pPr marL="0" indent="0">
              <a:buNone/>
              <a:defRPr sz="2646"/>
            </a:lvl1pPr>
            <a:lvl2pPr marL="378013" indent="0">
              <a:buNone/>
              <a:defRPr sz="2315"/>
            </a:lvl2pPr>
            <a:lvl3pPr marL="756026" indent="0">
              <a:buNone/>
              <a:defRPr sz="1984"/>
            </a:lvl3pPr>
            <a:lvl4pPr marL="1134039" indent="0">
              <a:buNone/>
              <a:defRPr sz="1654"/>
            </a:lvl4pPr>
            <a:lvl5pPr marL="1512052" indent="0">
              <a:buNone/>
              <a:defRPr sz="1654"/>
            </a:lvl5pPr>
            <a:lvl6pPr marL="1890065" indent="0">
              <a:buNone/>
              <a:defRPr sz="1654"/>
            </a:lvl6pPr>
            <a:lvl7pPr marL="2268078" indent="0">
              <a:buNone/>
              <a:defRPr sz="1654"/>
            </a:lvl7pPr>
            <a:lvl8pPr marL="2646091" indent="0">
              <a:buNone/>
              <a:defRPr sz="1654"/>
            </a:lvl8pPr>
            <a:lvl9pPr marL="3024104" indent="0">
              <a:buNone/>
              <a:defRPr sz="1654"/>
            </a:lvl9pPr>
          </a:lstStyle>
          <a:p>
            <a:endParaRPr lang="en-GB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694356" y="1701165"/>
            <a:ext cx="3251264" cy="3151619"/>
          </a:xfrm>
        </p:spPr>
        <p:txBody>
          <a:bodyPr/>
          <a:lstStyle>
            <a:lvl1pPr marL="0" indent="0">
              <a:buNone/>
              <a:defRPr sz="1323"/>
            </a:lvl1pPr>
            <a:lvl2pPr marL="378013" indent="0">
              <a:buNone/>
              <a:defRPr sz="1158"/>
            </a:lvl2pPr>
            <a:lvl3pPr marL="756026" indent="0">
              <a:buNone/>
              <a:defRPr sz="992"/>
            </a:lvl3pPr>
            <a:lvl4pPr marL="1134039" indent="0">
              <a:buNone/>
              <a:defRPr sz="827"/>
            </a:lvl4pPr>
            <a:lvl5pPr marL="1512052" indent="0">
              <a:buNone/>
              <a:defRPr sz="827"/>
            </a:lvl5pPr>
            <a:lvl6pPr marL="1890065" indent="0">
              <a:buNone/>
              <a:defRPr sz="827"/>
            </a:lvl6pPr>
            <a:lvl7pPr marL="2268078" indent="0">
              <a:buNone/>
              <a:defRPr sz="827"/>
            </a:lvl7pPr>
            <a:lvl8pPr marL="2646091" indent="0">
              <a:buNone/>
              <a:defRPr sz="827"/>
            </a:lvl8pPr>
            <a:lvl9pPr marL="3024104" indent="0">
              <a:buNone/>
              <a:defRPr sz="827"/>
            </a:lvl9pPr>
          </a:lstStyle>
          <a:p>
            <a:pPr lvl="0"/>
            <a:r>
              <a:rPr lang="it-IT" smtClean="0"/>
              <a:t>Modifica gli stili del testo dello schema</a:t>
            </a:r>
          </a:p>
        </p:txBody>
      </p:sp>
      <p:sp>
        <p:nvSpPr>
          <p:cNvPr id="5" name="Segnaposto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DFF08F-DC6B-4601-B491-B0F83F6DD2DA}" type="datetimeFigureOut">
              <a:rPr lang="en-US" smtClean="0"/>
              <a:t>4/27/2022</a:t>
            </a:fld>
            <a:endParaRPr lang="en-US" dirty="0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9415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titolo 1"/>
          <p:cNvSpPr>
            <a:spLocks noGrp="1"/>
          </p:cNvSpPr>
          <p:nvPr>
            <p:ph type="title"/>
          </p:nvPr>
        </p:nvSpPr>
        <p:spPr>
          <a:xfrm>
            <a:off x="550370" y="626926"/>
            <a:ext cx="8979886" cy="585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it-IT" smtClean="0"/>
              <a:t>Fare clic per modificare lo stile del titolo</a:t>
            </a:r>
            <a:endParaRPr lang="en-GB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550370" y="1292773"/>
            <a:ext cx="8979886" cy="346053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 dirty="0" smtClean="0"/>
              <a:t>Modifica gli stili del testo dello schema</a:t>
            </a:r>
          </a:p>
          <a:p>
            <a:pPr lvl="1"/>
            <a:r>
              <a:rPr lang="it-IT" dirty="0" smtClean="0"/>
              <a:t>Secondo livello</a:t>
            </a:r>
          </a:p>
          <a:p>
            <a:pPr lvl="2"/>
            <a:r>
              <a:rPr lang="it-IT" dirty="0" smtClean="0"/>
              <a:t>Terzo livello</a:t>
            </a:r>
          </a:p>
          <a:p>
            <a:pPr lvl="3"/>
            <a:r>
              <a:rPr lang="it-IT" dirty="0" smtClean="0"/>
              <a:t>Quarto livello</a:t>
            </a:r>
          </a:p>
          <a:p>
            <a:pPr lvl="4"/>
            <a:r>
              <a:rPr lang="it-IT" dirty="0" smtClean="0"/>
              <a:t>Quinto livello</a:t>
            </a:r>
            <a:endParaRPr lang="en-GB" dirty="0"/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2"/>
          </p:nvPr>
        </p:nvSpPr>
        <p:spPr>
          <a:xfrm>
            <a:off x="693043" y="4822209"/>
            <a:ext cx="2268141" cy="301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DFF08F-DC6B-4601-B491-B0F83F6DD2DA}" type="datetimeFigureOut">
              <a:rPr lang="en-US" smtClean="0"/>
              <a:pPr/>
              <a:t>4/27/2022</a:t>
            </a:fld>
            <a:endParaRPr lang="en-US" dirty="0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3"/>
          </p:nvPr>
        </p:nvSpPr>
        <p:spPr>
          <a:xfrm>
            <a:off x="3339207" y="4822209"/>
            <a:ext cx="3402211" cy="301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7119441" y="4822209"/>
            <a:ext cx="2268141" cy="30190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9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0" name="Immagine 9"/>
          <p:cNvPicPr/>
          <p:nvPr userDrawn="1"/>
        </p:nvPicPr>
        <p:blipFill>
          <a:blip r:embed="rId19"/>
          <a:stretch/>
        </p:blipFill>
        <p:spPr>
          <a:xfrm>
            <a:off x="8422" y="-18000"/>
            <a:ext cx="10079280" cy="492480"/>
          </a:xfrm>
          <a:prstGeom prst="rect">
            <a:avLst/>
          </a:prstGeom>
          <a:ln w="0">
            <a:noFill/>
          </a:ln>
        </p:spPr>
      </p:pic>
      <p:pic>
        <p:nvPicPr>
          <p:cNvPr id="11" name="Immagine 10"/>
          <p:cNvPicPr/>
          <p:nvPr userDrawn="1"/>
        </p:nvPicPr>
        <p:blipFill>
          <a:blip r:embed="rId20"/>
          <a:stretch/>
        </p:blipFill>
        <p:spPr>
          <a:xfrm>
            <a:off x="318382" y="5097960"/>
            <a:ext cx="9384480" cy="517680"/>
          </a:xfrm>
          <a:prstGeom prst="rect">
            <a:avLst/>
          </a:prstGeom>
          <a:ln w="0">
            <a:noFill/>
          </a:ln>
        </p:spPr>
      </p:pic>
      <p:sp>
        <p:nvSpPr>
          <p:cNvPr id="12" name="MSIPCMContentMarking" descr="{&quot;HashCode&quot;:-1217922534,&quot;Placement&quot;:&quot;Footer&quot;,&quot;Top&quot;:425.843,&quot;Left&quot;:340.0922,&quot;SlideWidth&quot;:793,&quot;SlideHeight&quot;:446}"/>
          <p:cNvSpPr txBox="1"/>
          <p:nvPr userDrawn="1"/>
        </p:nvSpPr>
        <p:spPr>
          <a:xfrm>
            <a:off x="4319171" y="5408206"/>
            <a:ext cx="1442283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1000" smtClean="0">
                <a:solidFill>
                  <a:srgbClr val="000000"/>
                </a:solidFill>
                <a:latin typeface="Calibri" panose="020F0502020204030204" pitchFamily="34" charset="0"/>
              </a:rPr>
              <a:t>Company General Use</a:t>
            </a:r>
            <a:endParaRPr lang="en-GB" sz="100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3723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</p:sldLayoutIdLst>
  <p:txStyles>
    <p:titleStyle>
      <a:lvl1pPr algn="l" defTabSz="756026" rtl="0" eaLnBrk="1" latinLnBrk="0" hangingPunct="1">
        <a:lnSpc>
          <a:spcPct val="90000"/>
        </a:lnSpc>
        <a:spcBef>
          <a:spcPct val="0"/>
        </a:spcBef>
        <a:buNone/>
        <a:defRPr sz="363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9006" indent="-189006" algn="l" defTabSz="756026" rtl="0" eaLnBrk="1" latinLnBrk="0" hangingPunct="1">
        <a:lnSpc>
          <a:spcPct val="90000"/>
        </a:lnSpc>
        <a:spcBef>
          <a:spcPts val="827"/>
        </a:spcBef>
        <a:buFont typeface="Arial" panose="020B0604020202020204" pitchFamily="34" charset="0"/>
        <a:buChar char="•"/>
        <a:defRPr sz="2315" kern="1200">
          <a:solidFill>
            <a:schemeClr val="tx1"/>
          </a:solidFill>
          <a:latin typeface="+mn-lt"/>
          <a:ea typeface="+mn-ea"/>
          <a:cs typeface="+mn-cs"/>
        </a:defRPr>
      </a:lvl1pPr>
      <a:lvl2pPr marL="567019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945032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654" kern="1200">
          <a:solidFill>
            <a:schemeClr val="tx1"/>
          </a:solidFill>
          <a:latin typeface="+mn-lt"/>
          <a:ea typeface="+mn-ea"/>
          <a:cs typeface="+mn-cs"/>
        </a:defRPr>
      </a:lvl3pPr>
      <a:lvl4pPr marL="1323045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701058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2079071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457084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835097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213110" indent="-189006" algn="l" defTabSz="756026" rtl="0" eaLnBrk="1" latinLnBrk="0" hangingPunct="1">
        <a:lnSpc>
          <a:spcPct val="90000"/>
        </a:lnSpc>
        <a:spcBef>
          <a:spcPts val="413"/>
        </a:spcBef>
        <a:buFont typeface="Arial" panose="020B0604020202020204" pitchFamily="34" charset="0"/>
        <a:buChar char="•"/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1pPr>
      <a:lvl2pPr marL="378013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2pPr>
      <a:lvl3pPr marL="756026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3pPr>
      <a:lvl4pPr marL="1134039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4pPr>
      <a:lvl5pPr marL="1512052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5pPr>
      <a:lvl6pPr marL="1890065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6pPr>
      <a:lvl7pPr marL="2268078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7pPr>
      <a:lvl8pPr marL="2646091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8pPr>
      <a:lvl9pPr marL="3024104" algn="l" defTabSz="756026" rtl="0" eaLnBrk="1" latinLnBrk="0" hangingPunct="1">
        <a:defRPr sz="148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emf"/><Relationship Id="rId2" Type="http://schemas.openxmlformats.org/officeDocument/2006/relationships/image" Target="../media/image5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6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7.wmf"/><Relationship Id="rId4" Type="http://schemas.openxmlformats.org/officeDocument/2006/relationships/oleObject" Target="???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57.wmf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3.vml"/><Relationship Id="rId6" Type="http://schemas.openxmlformats.org/officeDocument/2006/relationships/oleObject" Target="???" TargetMode="External"/><Relationship Id="rId5" Type="http://schemas.openxmlformats.org/officeDocument/2006/relationships/image" Target="../media/image60.jpeg"/><Relationship Id="rId4" Type="http://schemas.openxmlformats.org/officeDocument/2006/relationships/image" Target="../media/image5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7" Type="http://schemas.openxmlformats.org/officeDocument/2006/relationships/image" Target="../media/image66.png"/><Relationship Id="rId2" Type="http://schemas.openxmlformats.org/officeDocument/2006/relationships/image" Target="../media/image61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65.png"/><Relationship Id="rId5" Type="http://schemas.openxmlformats.org/officeDocument/2006/relationships/image" Target="../media/image64.png"/><Relationship Id="rId4" Type="http://schemas.openxmlformats.org/officeDocument/2006/relationships/image" Target="../media/image63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8.jpe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13" Type="http://schemas.microsoft.com/office/2007/relationships/hdphoto" Target="../media/hdphoto5.wdp"/><Relationship Id="rId3" Type="http://schemas.openxmlformats.org/officeDocument/2006/relationships/image" Target="../media/image3.png"/><Relationship Id="rId7" Type="http://schemas.microsoft.com/office/2007/relationships/hdphoto" Target="../media/hdphoto2.wdp"/><Relationship Id="rId12" Type="http://schemas.openxmlformats.org/officeDocument/2006/relationships/image" Target="../media/image8.png"/><Relationship Id="rId1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png"/><Relationship Id="rId11" Type="http://schemas.microsoft.com/office/2007/relationships/hdphoto" Target="../media/hdphoto4.wdp"/><Relationship Id="rId5" Type="http://schemas.microsoft.com/office/2007/relationships/hdphoto" Target="../media/hdphoto1.wdp"/><Relationship Id="rId15" Type="http://schemas.openxmlformats.org/officeDocument/2006/relationships/image" Target="../media/image10.png"/><Relationship Id="rId10" Type="http://schemas.openxmlformats.org/officeDocument/2006/relationships/image" Target="../media/image7.png"/><Relationship Id="rId4" Type="http://schemas.openxmlformats.org/officeDocument/2006/relationships/image" Target="../media/image4.png"/><Relationship Id="rId9" Type="http://schemas.microsoft.com/office/2007/relationships/hdphoto" Target="../media/hdphoto3.wdp"/><Relationship Id="rId1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diagramLayout" Target="../diagrams/layout2.xml"/><Relationship Id="rId7" Type="http://schemas.openxmlformats.org/officeDocument/2006/relationships/image" Target="../media/image69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1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Relationship Id="rId9" Type="http://schemas.openxmlformats.org/officeDocument/2006/relationships/image" Target="../media/image71.pn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7.wdp"/><Relationship Id="rId3" Type="http://schemas.openxmlformats.org/officeDocument/2006/relationships/image" Target="../media/image73.png"/><Relationship Id="rId7" Type="http://schemas.openxmlformats.org/officeDocument/2006/relationships/image" Target="../media/image76.png"/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Relationship Id="rId6" Type="http://schemas.microsoft.com/office/2007/relationships/hdphoto" Target="../media/hdphoto6.wdp"/><Relationship Id="rId5" Type="http://schemas.openxmlformats.org/officeDocument/2006/relationships/image" Target="../media/image75.png"/><Relationship Id="rId10" Type="http://schemas.microsoft.com/office/2007/relationships/hdphoto" Target="../media/hdphoto8.wdp"/><Relationship Id="rId4" Type="http://schemas.openxmlformats.org/officeDocument/2006/relationships/image" Target="../media/image74.png"/><Relationship Id="rId9" Type="http://schemas.openxmlformats.org/officeDocument/2006/relationships/image" Target="../media/image7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openxmlformats.org/officeDocument/2006/relationships/image" Target="../media/image73.png"/><Relationship Id="rId7" Type="http://schemas.microsoft.com/office/2007/relationships/hdphoto" Target="../media/hdphoto7.wdp"/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6.png"/><Relationship Id="rId5" Type="http://schemas.microsoft.com/office/2007/relationships/hdphoto" Target="../media/hdphoto6.wdp"/><Relationship Id="rId10" Type="http://schemas.openxmlformats.org/officeDocument/2006/relationships/image" Target="../media/image79.png"/><Relationship Id="rId4" Type="http://schemas.openxmlformats.org/officeDocument/2006/relationships/image" Target="../media/image75.png"/><Relationship Id="rId9" Type="http://schemas.microsoft.com/office/2007/relationships/hdphoto" Target="../media/hdphoto8.wdp"/></Relationships>
</file>

<file path=ppt/slides/_rels/slide29.xml.rels><?xml version="1.0" encoding="UTF-8" standalone="yes"?>
<Relationships xmlns="http://schemas.openxmlformats.org/package/2006/relationships"><Relationship Id="rId8" Type="http://schemas.microsoft.com/office/2007/relationships/hdphoto" Target="../media/hdphoto8.wdp"/><Relationship Id="rId3" Type="http://schemas.openxmlformats.org/officeDocument/2006/relationships/image" Target="../media/image75.png"/><Relationship Id="rId7" Type="http://schemas.openxmlformats.org/officeDocument/2006/relationships/image" Target="../media/image77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2.xml"/><Relationship Id="rId6" Type="http://schemas.microsoft.com/office/2007/relationships/hdphoto" Target="../media/hdphoto7.wdp"/><Relationship Id="rId11" Type="http://schemas.openxmlformats.org/officeDocument/2006/relationships/image" Target="../media/image81.png"/><Relationship Id="rId5" Type="http://schemas.openxmlformats.org/officeDocument/2006/relationships/image" Target="../media/image76.png"/><Relationship Id="rId10" Type="http://schemas.openxmlformats.org/officeDocument/2006/relationships/image" Target="../media/image80.png"/><Relationship Id="rId4" Type="http://schemas.microsoft.com/office/2007/relationships/hdphoto" Target="../media/hdphoto6.wdp"/><Relationship Id="rId9" Type="http://schemas.openxmlformats.org/officeDocument/2006/relationships/image" Target="../media/image7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9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png"/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2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tiff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5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1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7.emf"/><Relationship Id="rId11" Type="http://schemas.openxmlformats.org/officeDocument/2006/relationships/image" Target="../media/image22.jpe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21.emf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6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25.jpeg"/><Relationship Id="rId11" Type="http://schemas.openxmlformats.org/officeDocument/2006/relationships/image" Target="../media/image30.jpeg"/><Relationship Id="rId5" Type="http://schemas.openxmlformats.org/officeDocument/2006/relationships/image" Target="../media/image24.jpeg"/><Relationship Id="rId10" Type="http://schemas.openxmlformats.org/officeDocument/2006/relationships/image" Target="../media/image29.png"/><Relationship Id="rId4" Type="http://schemas.openxmlformats.org/officeDocument/2006/relationships/image" Target="../media/image23.jpeg"/><Relationship Id="rId9" Type="http://schemas.openxmlformats.org/officeDocument/2006/relationships/image" Target="../media/image28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png"/><Relationship Id="rId18" Type="http://schemas.openxmlformats.org/officeDocument/2006/relationships/image" Target="../media/image47.png"/><Relationship Id="rId3" Type="http://schemas.openxmlformats.org/officeDocument/2006/relationships/image" Target="../media/image32.jpeg"/><Relationship Id="rId7" Type="http://schemas.openxmlformats.org/officeDocument/2006/relationships/image" Target="../media/image36.jpeg"/><Relationship Id="rId12" Type="http://schemas.openxmlformats.org/officeDocument/2006/relationships/image" Target="../media/image41.jpeg"/><Relationship Id="rId17" Type="http://schemas.openxmlformats.org/officeDocument/2006/relationships/image" Target="../media/image46.jpeg"/><Relationship Id="rId2" Type="http://schemas.openxmlformats.org/officeDocument/2006/relationships/image" Target="../media/image31.jpeg"/><Relationship Id="rId16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11" Type="http://schemas.openxmlformats.org/officeDocument/2006/relationships/image" Target="../media/image40.jpeg"/><Relationship Id="rId5" Type="http://schemas.openxmlformats.org/officeDocument/2006/relationships/image" Target="../media/image34.jpeg"/><Relationship Id="rId15" Type="http://schemas.openxmlformats.org/officeDocument/2006/relationships/image" Target="../media/image44.jpeg"/><Relationship Id="rId10" Type="http://schemas.openxmlformats.org/officeDocument/2006/relationships/image" Target="../media/image39.jpeg"/><Relationship Id="rId19" Type="http://schemas.openxmlformats.org/officeDocument/2006/relationships/image" Target="../media/image48.png"/><Relationship Id="rId4" Type="http://schemas.openxmlformats.org/officeDocument/2006/relationships/image" Target="../media/image33.jpeg"/><Relationship Id="rId9" Type="http://schemas.openxmlformats.org/officeDocument/2006/relationships/image" Target="../media/image38.jpeg"/><Relationship Id="rId14" Type="http://schemas.openxmlformats.org/officeDocument/2006/relationships/image" Target="../media/image4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magine 36"/>
          <p:cNvPicPr/>
          <p:nvPr/>
        </p:nvPicPr>
        <p:blipFill>
          <a:blip r:embed="rId2"/>
          <a:stretch/>
        </p:blipFill>
        <p:spPr>
          <a:xfrm>
            <a:off x="8422" y="-18000"/>
            <a:ext cx="10079280" cy="492480"/>
          </a:xfrm>
          <a:prstGeom prst="rect">
            <a:avLst/>
          </a:prstGeom>
          <a:ln w="0">
            <a:noFill/>
          </a:ln>
        </p:spPr>
      </p:pic>
      <p:pic>
        <p:nvPicPr>
          <p:cNvPr id="38" name="Immagine 37"/>
          <p:cNvPicPr/>
          <p:nvPr/>
        </p:nvPicPr>
        <p:blipFill>
          <a:blip r:embed="rId3"/>
          <a:stretch/>
        </p:blipFill>
        <p:spPr>
          <a:xfrm>
            <a:off x="318382" y="5097960"/>
            <a:ext cx="9384480" cy="517680"/>
          </a:xfrm>
          <a:prstGeom prst="rect">
            <a:avLst/>
          </a:prstGeom>
          <a:ln w="0">
            <a:noFill/>
          </a:ln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Progetto ISAF</a:t>
            </a:r>
            <a:endParaRPr lang="en-GB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Contesto Industriale e Obiettivi di progetto</a:t>
            </a:r>
            <a:endParaRPr lang="en-GB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93298" y="2062477"/>
            <a:ext cx="3748864" cy="1917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387" name="Picture 3"/>
          <p:cNvPicPr>
            <a:picLocks noChangeAspect="1" noChangeArrowheads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9154" y="1609621"/>
            <a:ext cx="3202811" cy="22419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66346" name="Text Box 10"/>
          <p:cNvSpPr txBox="1">
            <a:spLocks noChangeArrowheads="1"/>
          </p:cNvSpPr>
          <p:nvPr/>
        </p:nvSpPr>
        <p:spPr bwMode="auto">
          <a:xfrm>
            <a:off x="1943825" y="4051108"/>
            <a:ext cx="1614532" cy="2704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258" tIns="33129" rIns="66258" bIns="33129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Calibri" pitchFamily="34" charset="0"/>
                <a:ea typeface="ＭＳ Ｐゴシック"/>
                <a:cs typeface="ＭＳ Ｐゴシック"/>
              </a:defRPr>
            </a:lvl9pPr>
          </a:lstStyle>
          <a:p>
            <a:pPr algn="ctr" defTabSz="756117">
              <a:spcBef>
                <a:spcPct val="50000"/>
              </a:spcBef>
              <a:defRPr/>
            </a:pPr>
            <a:r>
              <a:rPr lang="it-IT" sz="1323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pitchFamily="34" charset="0"/>
              </a:rPr>
              <a:t>Vertical Fin</a:t>
            </a:r>
          </a:p>
        </p:txBody>
      </p:sp>
      <p:sp>
        <p:nvSpPr>
          <p:cNvPr id="1166347" name="Text Box 11"/>
          <p:cNvSpPr txBox="1">
            <a:spLocks noChangeArrowheads="1"/>
          </p:cNvSpPr>
          <p:nvPr/>
        </p:nvSpPr>
        <p:spPr bwMode="auto">
          <a:xfrm>
            <a:off x="6350191" y="3577249"/>
            <a:ext cx="1615844" cy="4740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66258" tIns="33129" rIns="66258" bIns="33129">
            <a:spAutoFit/>
          </a:bodyPr>
          <a:lstStyle/>
          <a:p>
            <a:pPr algn="ctr" defTabSz="756117" eaLnBrk="0" hangingPunct="0">
              <a:spcBef>
                <a:spcPct val="50000"/>
              </a:spcBef>
              <a:defRPr/>
            </a:pPr>
            <a:r>
              <a:rPr lang="it-IT" sz="1323" dirty="0" err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Horizontal</a:t>
            </a:r>
            <a:r>
              <a:rPr lang="it-IT" sz="1323" dirty="0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 </a:t>
            </a:r>
            <a:r>
              <a:rPr lang="it-IT" sz="1323" dirty="0" err="1">
                <a:solidFill>
                  <a:srgbClr val="CC0000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Arial" charset="0"/>
              </a:rPr>
              <a:t>Stabilizer</a:t>
            </a:r>
            <a:endParaRPr lang="it-IT" sz="1323" dirty="0">
              <a:solidFill>
                <a:srgbClr val="CC0000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Arial" charset="0"/>
            </a:endParaRPr>
          </a:p>
        </p:txBody>
      </p:sp>
      <p:sp>
        <p:nvSpPr>
          <p:cNvPr id="16394" name="Rectangle 9"/>
          <p:cNvSpPr>
            <a:spLocks noChangeArrowheads="1"/>
          </p:cNvSpPr>
          <p:nvPr/>
        </p:nvSpPr>
        <p:spPr bwMode="auto">
          <a:xfrm>
            <a:off x="660666" y="1084792"/>
            <a:ext cx="8759294" cy="524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6235" tIns="33118" rIns="66235" bIns="33118">
            <a:spAutoFit/>
          </a:bodyPr>
          <a:lstStyle>
            <a:lvl1pPr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algn="just" defTabSz="756117">
              <a:spcBef>
                <a:spcPct val="100000"/>
              </a:spcBef>
              <a:buClr>
                <a:srgbClr val="6699FF"/>
              </a:buClr>
              <a:buFont typeface="Wingdings" pitchFamily="2" charset="2"/>
              <a:buChar char="Ø"/>
            </a:pP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On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December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2008</a:t>
            </a:r>
            <a:r>
              <a:rPr lang="it-IT" altLang="it-IT" sz="1488" dirty="0">
                <a:solidFill>
                  <a:prstClr val="black"/>
                </a:solidFill>
                <a:latin typeface="+mn-lt"/>
              </a:rPr>
              <a:t> 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Leonardo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subscribed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with Bombardier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Aerospace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a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contract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for the design, production and support of the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Horizontal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&amp; Vertical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Stabilizers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for the </a:t>
            </a:r>
            <a:r>
              <a:rPr lang="it-IT" altLang="it-IT" sz="1488" dirty="0" err="1">
                <a:solidFill>
                  <a:srgbClr val="292929"/>
                </a:solidFill>
                <a:latin typeface="+mn-lt"/>
              </a:rPr>
              <a:t>CSeries</a:t>
            </a:r>
            <a:r>
              <a:rPr lang="it-IT" altLang="it-IT" sz="1488" dirty="0">
                <a:solidFill>
                  <a:srgbClr val="292929"/>
                </a:solidFill>
                <a:latin typeface="+mn-lt"/>
              </a:rPr>
              <a:t> models CS100 e CS300.</a:t>
            </a:r>
          </a:p>
        </p:txBody>
      </p:sp>
      <p:pic>
        <p:nvPicPr>
          <p:cNvPr id="12290" name="Picture 2" descr="C:\Users\uaa1a1l\Desktop\imagesSLE4DWZ0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2075" y="3703980"/>
            <a:ext cx="2237998" cy="12532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e 1"/>
          <p:cNvSpPr/>
          <p:nvPr/>
        </p:nvSpPr>
        <p:spPr>
          <a:xfrm>
            <a:off x="5234212" y="3865195"/>
            <a:ext cx="756073" cy="756073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88"/>
          </a:p>
        </p:txBody>
      </p:sp>
      <p:sp>
        <p:nvSpPr>
          <p:cNvPr id="12" name="Titolo 2"/>
          <p:cNvSpPr txBox="1">
            <a:spLocks/>
          </p:cNvSpPr>
          <p:nvPr/>
        </p:nvSpPr>
        <p:spPr>
          <a:xfrm>
            <a:off x="550370" y="535552"/>
            <a:ext cx="8979886" cy="5855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756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38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mtClean="0"/>
              <a:t>A220 Progr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54346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90" name="Picture 15" descr="1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444987" y="909148"/>
            <a:ext cx="5079868" cy="3990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592" name="AutoShape 67"/>
          <p:cNvSpPr>
            <a:spLocks/>
          </p:cNvSpPr>
          <p:nvPr/>
        </p:nvSpPr>
        <p:spPr bwMode="auto">
          <a:xfrm>
            <a:off x="6161035" y="4404358"/>
            <a:ext cx="756073" cy="178190"/>
          </a:xfrm>
          <a:prstGeom prst="callout2">
            <a:avLst>
              <a:gd name="adj1" fmla="val 50704"/>
              <a:gd name="adj2" fmla="val -8333"/>
              <a:gd name="adj3" fmla="val 50704"/>
              <a:gd name="adj4" fmla="val -22745"/>
              <a:gd name="adj5" fmla="val -315807"/>
              <a:gd name="adj6" fmla="val -113549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defTabSz="1075105"/>
            <a:r>
              <a:rPr lang="en-US" sz="1158">
                <a:latin typeface="Arial Narrow" pitchFamily="34" charset="0"/>
              </a:rPr>
              <a:t>Elevator</a:t>
            </a:r>
          </a:p>
        </p:txBody>
      </p:sp>
      <p:sp>
        <p:nvSpPr>
          <p:cNvPr id="24593" name="AutoShape 68"/>
          <p:cNvSpPr>
            <a:spLocks/>
          </p:cNvSpPr>
          <p:nvPr/>
        </p:nvSpPr>
        <p:spPr bwMode="auto">
          <a:xfrm>
            <a:off x="7916979" y="3308007"/>
            <a:ext cx="756073" cy="178190"/>
          </a:xfrm>
          <a:prstGeom prst="callout2">
            <a:avLst>
              <a:gd name="adj1" fmla="val 50704"/>
              <a:gd name="adj2" fmla="val -8333"/>
              <a:gd name="adj3" fmla="val 50704"/>
              <a:gd name="adj4" fmla="val -22745"/>
              <a:gd name="adj5" fmla="val -526325"/>
              <a:gd name="adj6" fmla="val -159929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defTabSz="1075105"/>
            <a:r>
              <a:rPr lang="en-US" sz="1158">
                <a:latin typeface="Arial Narrow" pitchFamily="34" charset="0"/>
              </a:rPr>
              <a:t>Center Box</a:t>
            </a:r>
          </a:p>
        </p:txBody>
      </p:sp>
      <p:sp>
        <p:nvSpPr>
          <p:cNvPr id="24594" name="AutoShape 69"/>
          <p:cNvSpPr>
            <a:spLocks/>
          </p:cNvSpPr>
          <p:nvPr/>
        </p:nvSpPr>
        <p:spPr bwMode="auto">
          <a:xfrm>
            <a:off x="5836816" y="4765647"/>
            <a:ext cx="1080292" cy="178190"/>
          </a:xfrm>
          <a:prstGeom prst="callout2">
            <a:avLst>
              <a:gd name="adj1" fmla="val 26088"/>
              <a:gd name="adj2" fmla="val -5833"/>
              <a:gd name="adj3" fmla="val 26088"/>
              <a:gd name="adj4" fmla="val -24546"/>
              <a:gd name="adj5" fmla="val -688912"/>
              <a:gd name="adj6" fmla="val -148968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defTabSz="1075105"/>
            <a:r>
              <a:rPr lang="en-US" sz="1158">
                <a:latin typeface="Arial Narrow" pitchFamily="34" charset="0"/>
              </a:rPr>
              <a:t>Trailing Edge</a:t>
            </a:r>
          </a:p>
        </p:txBody>
      </p:sp>
      <p:sp>
        <p:nvSpPr>
          <p:cNvPr id="24595" name="AutoShape 70"/>
          <p:cNvSpPr>
            <a:spLocks/>
          </p:cNvSpPr>
          <p:nvPr/>
        </p:nvSpPr>
        <p:spPr bwMode="auto">
          <a:xfrm>
            <a:off x="3315259" y="1662596"/>
            <a:ext cx="980533" cy="178190"/>
          </a:xfrm>
          <a:prstGeom prst="callout2">
            <a:avLst>
              <a:gd name="adj1" fmla="val 26088"/>
              <a:gd name="adj2" fmla="val 106426"/>
              <a:gd name="adj3" fmla="val 26088"/>
              <a:gd name="adj4" fmla="val 119278"/>
              <a:gd name="adj5" fmla="val 318898"/>
              <a:gd name="adj6" fmla="val 173269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algn="r" defTabSz="1075105"/>
            <a:r>
              <a:rPr lang="en-US" sz="1158">
                <a:latin typeface="Arial Narrow" pitchFamily="34" charset="0"/>
              </a:rPr>
              <a:t>Leading Edge</a:t>
            </a:r>
          </a:p>
        </p:txBody>
      </p:sp>
      <p:sp>
        <p:nvSpPr>
          <p:cNvPr id="24596" name="AutoShape 71"/>
          <p:cNvSpPr>
            <a:spLocks/>
          </p:cNvSpPr>
          <p:nvPr/>
        </p:nvSpPr>
        <p:spPr bwMode="auto">
          <a:xfrm flipH="1">
            <a:off x="1910215" y="3308007"/>
            <a:ext cx="227249" cy="178190"/>
          </a:xfrm>
          <a:prstGeom prst="callout2">
            <a:avLst>
              <a:gd name="adj1" fmla="val 50704"/>
              <a:gd name="adj2" fmla="val -3449"/>
              <a:gd name="adj3" fmla="val 50704"/>
              <a:gd name="adj4" fmla="val -44829"/>
              <a:gd name="adj5" fmla="val 273798"/>
              <a:gd name="adj6" fmla="val -215809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wrap="square" lIns="0" tIns="0" rIns="0" bIns="0">
            <a:spAutoFit/>
          </a:bodyPr>
          <a:lstStyle/>
          <a:p>
            <a:pPr defTabSz="1075105"/>
            <a:r>
              <a:rPr lang="en-US" sz="1158" dirty="0">
                <a:latin typeface="Arial Narrow" pitchFamily="34" charset="0"/>
              </a:rPr>
              <a:t>Tip</a:t>
            </a:r>
          </a:p>
        </p:txBody>
      </p:sp>
      <p:sp>
        <p:nvSpPr>
          <p:cNvPr id="24597" name="AutoShape 74"/>
          <p:cNvSpPr>
            <a:spLocks/>
          </p:cNvSpPr>
          <p:nvPr/>
        </p:nvSpPr>
        <p:spPr bwMode="auto">
          <a:xfrm>
            <a:off x="4181593" y="1204490"/>
            <a:ext cx="980533" cy="178190"/>
          </a:xfrm>
          <a:prstGeom prst="callout2">
            <a:avLst>
              <a:gd name="adj1" fmla="val 26088"/>
              <a:gd name="adj2" fmla="val 106426"/>
              <a:gd name="adj3" fmla="val 26088"/>
              <a:gd name="adj4" fmla="val 119278"/>
              <a:gd name="adj5" fmla="val 464245"/>
              <a:gd name="adj6" fmla="val 198208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algn="r" defTabSz="1075105"/>
            <a:r>
              <a:rPr lang="en-US" sz="1158">
                <a:latin typeface="Arial Narrow" pitchFamily="34" charset="0"/>
              </a:rPr>
              <a:t>Visor Fairing</a:t>
            </a:r>
          </a:p>
        </p:txBody>
      </p:sp>
      <p:sp>
        <p:nvSpPr>
          <p:cNvPr id="24598" name="AutoShape 75"/>
          <p:cNvSpPr>
            <a:spLocks/>
          </p:cNvSpPr>
          <p:nvPr/>
        </p:nvSpPr>
        <p:spPr bwMode="auto">
          <a:xfrm>
            <a:off x="2853214" y="2160082"/>
            <a:ext cx="1103920" cy="178190"/>
          </a:xfrm>
          <a:prstGeom prst="callout2">
            <a:avLst>
              <a:gd name="adj1" fmla="val 53706"/>
              <a:gd name="adj2" fmla="val 102996"/>
              <a:gd name="adj3" fmla="val 53706"/>
              <a:gd name="adj4" fmla="val 121867"/>
              <a:gd name="adj5" fmla="val 347221"/>
              <a:gd name="adj6" fmla="val 171861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algn="r" defTabSz="1075105"/>
            <a:r>
              <a:rPr lang="en-US" sz="1158">
                <a:latin typeface="Arial Narrow" pitchFamily="34" charset="0"/>
              </a:rPr>
              <a:t>Multi-spar Box</a:t>
            </a:r>
          </a:p>
        </p:txBody>
      </p:sp>
      <p:graphicFrame>
        <p:nvGraphicFramePr>
          <p:cNvPr id="14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59079449"/>
              </p:ext>
            </p:extLst>
          </p:nvPr>
        </p:nvGraphicFramePr>
        <p:xfrm>
          <a:off x="1565069" y="629976"/>
          <a:ext cx="1890183" cy="1157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Prodotto" r:id="rId4" imgW="4010040" imgH="2456640" progId="CATIA.Product">
                  <p:link updateAutomatic="1"/>
                </p:oleObj>
              </mc:Choice>
              <mc:Fallback>
                <p:oleObj name="Prodotto" r:id="rId4" imgW="4010040" imgH="2456640" progId="CATIA.Product">
                  <p:link updateAutomatic="1"/>
                  <p:pic>
                    <p:nvPicPr>
                      <p:cNvPr id="14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65069" y="629976"/>
                        <a:ext cx="1890183" cy="11577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Freeform 77"/>
          <p:cNvSpPr>
            <a:spLocks/>
          </p:cNvSpPr>
          <p:nvPr/>
        </p:nvSpPr>
        <p:spPr bwMode="auto">
          <a:xfrm rot="4302003" flipH="1" flipV="1">
            <a:off x="2217019" y="1512655"/>
            <a:ext cx="476263" cy="342386"/>
          </a:xfrm>
          <a:custGeom>
            <a:avLst/>
            <a:gdLst>
              <a:gd name="T0" fmla="*/ 0 w 834"/>
              <a:gd name="T1" fmla="*/ 2147483647 h 516"/>
              <a:gd name="T2" fmla="*/ 2147483647 w 834"/>
              <a:gd name="T3" fmla="*/ 2147483647 h 516"/>
              <a:gd name="T4" fmla="*/ 2147483647 w 834"/>
              <a:gd name="T5" fmla="*/ 2147483647 h 516"/>
              <a:gd name="T6" fmla="*/ 2147483647 w 834"/>
              <a:gd name="T7" fmla="*/ 2147483647 h 516"/>
              <a:gd name="T8" fmla="*/ 2147483647 w 834"/>
              <a:gd name="T9" fmla="*/ 2147483647 h 516"/>
              <a:gd name="T10" fmla="*/ 2147483647 w 834"/>
              <a:gd name="T11" fmla="*/ 2147483647 h 516"/>
              <a:gd name="T12" fmla="*/ 0 w 834"/>
              <a:gd name="T13" fmla="*/ 2147483647 h 5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4"/>
              <a:gd name="T22" fmla="*/ 0 h 516"/>
              <a:gd name="T23" fmla="*/ 834 w 834"/>
              <a:gd name="T24" fmla="*/ 516 h 516"/>
              <a:gd name="connsiteX0" fmla="*/ 0 w 10000"/>
              <a:gd name="connsiteY0" fmla="*/ 7977 h 7977"/>
              <a:gd name="connsiteX1" fmla="*/ 3509 w 10000"/>
              <a:gd name="connsiteY1" fmla="*/ 4914 h 7977"/>
              <a:gd name="connsiteX2" fmla="*/ 1978 w 10000"/>
              <a:gd name="connsiteY2" fmla="*/ 4469 h 7977"/>
              <a:gd name="connsiteX3" fmla="*/ 10000 w 10000"/>
              <a:gd name="connsiteY3" fmla="*/ 671 h 7977"/>
              <a:gd name="connsiteX4" fmla="*/ 1319 w 10000"/>
              <a:gd name="connsiteY4" fmla="*/ 3772 h 7977"/>
              <a:gd name="connsiteX5" fmla="*/ 683 w 10000"/>
              <a:gd name="connsiteY5" fmla="*/ 2357 h 7977"/>
              <a:gd name="connsiteX6" fmla="*/ 0 w 10000"/>
              <a:gd name="connsiteY6" fmla="*/ 7977 h 7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7977">
                <a:moveTo>
                  <a:pt x="0" y="7977"/>
                </a:moveTo>
                <a:lnTo>
                  <a:pt x="3509" y="4914"/>
                </a:lnTo>
                <a:cubicBezTo>
                  <a:pt x="3173" y="4765"/>
                  <a:pt x="2314" y="4618"/>
                  <a:pt x="1978" y="4469"/>
                </a:cubicBezTo>
                <a:cubicBezTo>
                  <a:pt x="4412" y="-860"/>
                  <a:pt x="10000" y="671"/>
                  <a:pt x="10000" y="671"/>
                </a:cubicBezTo>
                <a:cubicBezTo>
                  <a:pt x="9892" y="555"/>
                  <a:pt x="4101" y="-2023"/>
                  <a:pt x="1319" y="3772"/>
                </a:cubicBezTo>
                <a:lnTo>
                  <a:pt x="683" y="2357"/>
                </a:lnTo>
                <a:cubicBezTo>
                  <a:pt x="455" y="4230"/>
                  <a:pt x="228" y="6104"/>
                  <a:pt x="0" y="7977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it-IT" sz="1488"/>
          </a:p>
        </p:txBody>
      </p:sp>
      <p:sp>
        <p:nvSpPr>
          <p:cNvPr id="2" name="Figura a mano libera 1"/>
          <p:cNvSpPr/>
          <p:nvPr/>
        </p:nvSpPr>
        <p:spPr>
          <a:xfrm>
            <a:off x="1706182" y="1403492"/>
            <a:ext cx="538983" cy="351836"/>
          </a:xfrm>
          <a:custGeom>
            <a:avLst/>
            <a:gdLst>
              <a:gd name="connsiteX0" fmla="*/ 0 w 651850"/>
              <a:gd name="connsiteY0" fmla="*/ 45267 h 425513"/>
              <a:gd name="connsiteX1" fmla="*/ 362139 w 651850"/>
              <a:gd name="connsiteY1" fmla="*/ 181069 h 425513"/>
              <a:gd name="connsiteX2" fmla="*/ 461727 w 651850"/>
              <a:gd name="connsiteY2" fmla="*/ 253497 h 425513"/>
              <a:gd name="connsiteX3" fmla="*/ 588475 w 651850"/>
              <a:gd name="connsiteY3" fmla="*/ 425513 h 425513"/>
              <a:gd name="connsiteX4" fmla="*/ 651850 w 651850"/>
              <a:gd name="connsiteY4" fmla="*/ 380245 h 425513"/>
              <a:gd name="connsiteX5" fmla="*/ 561315 w 651850"/>
              <a:gd name="connsiteY5" fmla="*/ 108641 h 425513"/>
              <a:gd name="connsiteX6" fmla="*/ 63374 w 651850"/>
              <a:gd name="connsiteY6" fmla="*/ 0 h 425513"/>
              <a:gd name="connsiteX7" fmla="*/ 0 w 651850"/>
              <a:gd name="connsiteY7" fmla="*/ 45267 h 4255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51850" h="425513">
                <a:moveTo>
                  <a:pt x="0" y="45267"/>
                </a:moveTo>
                <a:lnTo>
                  <a:pt x="362139" y="181069"/>
                </a:lnTo>
                <a:lnTo>
                  <a:pt x="461727" y="253497"/>
                </a:lnTo>
                <a:lnTo>
                  <a:pt x="588475" y="425513"/>
                </a:lnTo>
                <a:lnTo>
                  <a:pt x="651850" y="380245"/>
                </a:lnTo>
                <a:lnTo>
                  <a:pt x="561315" y="108641"/>
                </a:lnTo>
                <a:lnTo>
                  <a:pt x="63374" y="0"/>
                </a:lnTo>
                <a:lnTo>
                  <a:pt x="0" y="45267"/>
                </a:lnTo>
                <a:close/>
              </a:path>
            </a:pathLst>
          </a:custGeom>
          <a:solidFill>
            <a:srgbClr val="FF00FF">
              <a:alpha val="5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/>
          </a:p>
        </p:txBody>
      </p:sp>
      <p:cxnSp>
        <p:nvCxnSpPr>
          <p:cNvPr id="4" name="Connettore 1 3"/>
          <p:cNvCxnSpPr/>
          <p:nvPr/>
        </p:nvCxnSpPr>
        <p:spPr>
          <a:xfrm>
            <a:off x="2532735" y="5091257"/>
            <a:ext cx="4384373" cy="0"/>
          </a:xfrm>
          <a:prstGeom prst="line">
            <a:avLst/>
          </a:prstGeom>
          <a:ln w="190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" name="Connettore 1 5"/>
          <p:cNvCxnSpPr/>
          <p:nvPr/>
        </p:nvCxnSpPr>
        <p:spPr>
          <a:xfrm>
            <a:off x="6917108" y="442529"/>
            <a:ext cx="0" cy="4723587"/>
          </a:xfrm>
          <a:prstGeom prst="line">
            <a:avLst/>
          </a:prstGeom>
          <a:ln w="12700">
            <a:solidFill>
              <a:schemeClr val="tx1"/>
            </a:solidFill>
            <a:prstDash val="lgDashDot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1 22"/>
          <p:cNvCxnSpPr/>
          <p:nvPr/>
        </p:nvCxnSpPr>
        <p:spPr>
          <a:xfrm>
            <a:off x="8189897" y="824309"/>
            <a:ext cx="0" cy="2449922"/>
          </a:xfrm>
          <a:prstGeom prst="line">
            <a:avLst/>
          </a:prstGeom>
          <a:ln w="190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Connettore 1 25"/>
          <p:cNvCxnSpPr/>
          <p:nvPr/>
        </p:nvCxnSpPr>
        <p:spPr>
          <a:xfrm>
            <a:off x="2510279" y="4791481"/>
            <a:ext cx="0" cy="47956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Rettangolo 10"/>
          <p:cNvSpPr/>
          <p:nvPr/>
        </p:nvSpPr>
        <p:spPr>
          <a:xfrm>
            <a:off x="4394751" y="4820706"/>
            <a:ext cx="615874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323" b="1" dirty="0">
                <a:latin typeface="Arial Narrow" panose="020B0606020202030204" pitchFamily="34" charset="0"/>
                <a:ea typeface="新細明體" pitchFamily="18" charset="-120"/>
              </a:rPr>
              <a:t>6,13 m</a:t>
            </a:r>
            <a:endParaRPr lang="en-US" sz="1323" dirty="0">
              <a:latin typeface="Arial Narrow" panose="020B0606020202030204" pitchFamily="34" charset="0"/>
            </a:endParaRPr>
          </a:p>
        </p:txBody>
      </p:sp>
      <p:cxnSp>
        <p:nvCxnSpPr>
          <p:cNvPr id="28" name="Connettore 1 27"/>
          <p:cNvCxnSpPr/>
          <p:nvPr/>
        </p:nvCxnSpPr>
        <p:spPr>
          <a:xfrm flipH="1">
            <a:off x="1819780" y="4765647"/>
            <a:ext cx="63537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29"/>
          <p:cNvCxnSpPr/>
          <p:nvPr/>
        </p:nvCxnSpPr>
        <p:spPr>
          <a:xfrm flipH="1">
            <a:off x="1786533" y="3807455"/>
            <a:ext cx="635370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1 30"/>
          <p:cNvCxnSpPr/>
          <p:nvPr/>
        </p:nvCxnSpPr>
        <p:spPr>
          <a:xfrm flipH="1">
            <a:off x="6889485" y="3274231"/>
            <a:ext cx="1386192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Connettore 1 32"/>
          <p:cNvCxnSpPr/>
          <p:nvPr/>
        </p:nvCxnSpPr>
        <p:spPr>
          <a:xfrm rot="60000" flipH="1">
            <a:off x="5868361" y="719568"/>
            <a:ext cx="1147304" cy="839946"/>
          </a:xfrm>
          <a:prstGeom prst="line">
            <a:avLst/>
          </a:prstGeom>
          <a:ln w="6350">
            <a:solidFill>
              <a:schemeClr val="tx1"/>
            </a:solidFill>
            <a:prstDash val="lgDashDot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/>
        </p:nvCxnSpPr>
        <p:spPr>
          <a:xfrm flipH="1">
            <a:off x="6264619" y="3218612"/>
            <a:ext cx="758288" cy="267536"/>
          </a:xfrm>
          <a:prstGeom prst="line">
            <a:avLst/>
          </a:prstGeom>
          <a:ln w="6350">
            <a:solidFill>
              <a:schemeClr val="tx1"/>
            </a:solidFill>
            <a:prstDash val="lgDashDot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Connettore 1 39"/>
          <p:cNvCxnSpPr/>
          <p:nvPr/>
        </p:nvCxnSpPr>
        <p:spPr>
          <a:xfrm flipH="1">
            <a:off x="6908824" y="811378"/>
            <a:ext cx="1386192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1" name="Connettore 1 40"/>
          <p:cNvCxnSpPr/>
          <p:nvPr/>
        </p:nvCxnSpPr>
        <p:spPr>
          <a:xfrm>
            <a:off x="1901763" y="3807455"/>
            <a:ext cx="0" cy="983133"/>
          </a:xfrm>
          <a:prstGeom prst="line">
            <a:avLst/>
          </a:prstGeom>
          <a:ln w="190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ttangolo 42"/>
          <p:cNvSpPr/>
          <p:nvPr/>
        </p:nvSpPr>
        <p:spPr>
          <a:xfrm rot="16200000">
            <a:off x="7741994" y="2004427"/>
            <a:ext cx="615874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323" b="1" dirty="0">
                <a:latin typeface="Arial Narrow" panose="020B0606020202030204" pitchFamily="34" charset="0"/>
                <a:ea typeface="新細明體" pitchFamily="18" charset="-120"/>
              </a:rPr>
              <a:t>3,45 m</a:t>
            </a:r>
            <a:endParaRPr lang="en-US" sz="1323" dirty="0">
              <a:latin typeface="Arial Narrow" panose="020B0606020202030204" pitchFamily="34" charset="0"/>
            </a:endParaRPr>
          </a:p>
        </p:txBody>
      </p:sp>
      <p:sp>
        <p:nvSpPr>
          <p:cNvPr id="44" name="Rettangolo 43"/>
          <p:cNvSpPr/>
          <p:nvPr/>
        </p:nvSpPr>
        <p:spPr>
          <a:xfrm rot="16200000">
            <a:off x="1453858" y="4151064"/>
            <a:ext cx="615874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323" b="1" dirty="0">
                <a:latin typeface="Arial Narrow" panose="020B0606020202030204" pitchFamily="34" charset="0"/>
                <a:ea typeface="新細明體" pitchFamily="18" charset="-120"/>
              </a:rPr>
              <a:t>1,30 m</a:t>
            </a:r>
            <a:endParaRPr lang="en-US" sz="1323" dirty="0">
              <a:latin typeface="Arial Narrow" panose="020B0606020202030204" pitchFamily="34" charset="0"/>
            </a:endParaRPr>
          </a:p>
        </p:txBody>
      </p:sp>
      <p:sp>
        <p:nvSpPr>
          <p:cNvPr id="47" name="Text Box 21"/>
          <p:cNvSpPr txBox="1">
            <a:spLocks noChangeArrowheads="1"/>
          </p:cNvSpPr>
          <p:nvPr/>
        </p:nvSpPr>
        <p:spPr bwMode="auto">
          <a:xfrm>
            <a:off x="1374420" y="446454"/>
            <a:ext cx="4616598" cy="346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zh-TW" sz="1654" b="1" i="1" dirty="0">
                <a:ea typeface="新細明體" pitchFamily="18" charset="-120"/>
              </a:rPr>
              <a:t>Horizontal Stabilizer</a:t>
            </a:r>
            <a:endParaRPr lang="en-US" altLang="it-IT" sz="1654" b="1" i="1" dirty="0"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02778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9393" name="Group 21"/>
          <p:cNvGrpSpPr>
            <a:grpSpLocks/>
          </p:cNvGrpSpPr>
          <p:nvPr/>
        </p:nvGrpSpPr>
        <p:grpSpPr bwMode="auto">
          <a:xfrm>
            <a:off x="2069109" y="853390"/>
            <a:ext cx="5409214" cy="3936691"/>
            <a:chOff x="135" y="772"/>
            <a:chExt cx="4533" cy="3299"/>
          </a:xfrm>
        </p:grpSpPr>
        <p:pic>
          <p:nvPicPr>
            <p:cNvPr id="59407" name="Picture 4" descr="VTP.jpg"/>
            <p:cNvPicPr>
              <a:picLocks noChangeAspect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135" y="772"/>
              <a:ext cx="4533" cy="3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408" name="Picture 4" descr="VTP.jp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285" y="2312"/>
              <a:ext cx="137" cy="1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59409" name="Picture 4" descr="VTP.jpg"/>
            <p:cNvPicPr>
              <a:picLocks noChangeAspect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140" y="2585"/>
              <a:ext cx="137" cy="1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graphicFrame>
        <p:nvGraphicFramePr>
          <p:cNvPr id="19" name="Object 1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98791213"/>
              </p:ext>
            </p:extLst>
          </p:nvPr>
        </p:nvGraphicFramePr>
        <p:xfrm>
          <a:off x="1671855" y="624156"/>
          <a:ext cx="1890183" cy="1157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Prodotto" r:id="rId6" imgW="4010040" imgH="2456640" progId="CATIA.Product">
                  <p:link updateAutomatic="1"/>
                </p:oleObj>
              </mc:Choice>
              <mc:Fallback>
                <p:oleObj name="Prodotto" r:id="rId6" imgW="4010040" imgH="2456640" progId="CATIA.Product">
                  <p:link updateAutomatic="1"/>
                  <p:pic>
                    <p:nvPicPr>
                      <p:cNvPr id="19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1855" y="624156"/>
                        <a:ext cx="1890183" cy="115773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Freeform 77"/>
          <p:cNvSpPr>
            <a:spLocks/>
          </p:cNvSpPr>
          <p:nvPr/>
        </p:nvSpPr>
        <p:spPr bwMode="auto">
          <a:xfrm rot="4302003" flipH="1" flipV="1">
            <a:off x="2323805" y="1506835"/>
            <a:ext cx="476263" cy="342386"/>
          </a:xfrm>
          <a:custGeom>
            <a:avLst/>
            <a:gdLst>
              <a:gd name="T0" fmla="*/ 0 w 834"/>
              <a:gd name="T1" fmla="*/ 2147483647 h 516"/>
              <a:gd name="T2" fmla="*/ 2147483647 w 834"/>
              <a:gd name="T3" fmla="*/ 2147483647 h 516"/>
              <a:gd name="T4" fmla="*/ 2147483647 w 834"/>
              <a:gd name="T5" fmla="*/ 2147483647 h 516"/>
              <a:gd name="T6" fmla="*/ 2147483647 w 834"/>
              <a:gd name="T7" fmla="*/ 2147483647 h 516"/>
              <a:gd name="T8" fmla="*/ 2147483647 w 834"/>
              <a:gd name="T9" fmla="*/ 2147483647 h 516"/>
              <a:gd name="T10" fmla="*/ 2147483647 w 834"/>
              <a:gd name="T11" fmla="*/ 2147483647 h 516"/>
              <a:gd name="T12" fmla="*/ 0 w 834"/>
              <a:gd name="T13" fmla="*/ 2147483647 h 5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834"/>
              <a:gd name="T22" fmla="*/ 0 h 516"/>
              <a:gd name="T23" fmla="*/ 834 w 834"/>
              <a:gd name="T24" fmla="*/ 516 h 516"/>
              <a:gd name="connsiteX0" fmla="*/ 0 w 10000"/>
              <a:gd name="connsiteY0" fmla="*/ 7977 h 7977"/>
              <a:gd name="connsiteX1" fmla="*/ 3509 w 10000"/>
              <a:gd name="connsiteY1" fmla="*/ 4914 h 7977"/>
              <a:gd name="connsiteX2" fmla="*/ 1978 w 10000"/>
              <a:gd name="connsiteY2" fmla="*/ 4469 h 7977"/>
              <a:gd name="connsiteX3" fmla="*/ 10000 w 10000"/>
              <a:gd name="connsiteY3" fmla="*/ 671 h 7977"/>
              <a:gd name="connsiteX4" fmla="*/ 1319 w 10000"/>
              <a:gd name="connsiteY4" fmla="*/ 3772 h 7977"/>
              <a:gd name="connsiteX5" fmla="*/ 683 w 10000"/>
              <a:gd name="connsiteY5" fmla="*/ 2357 h 7977"/>
              <a:gd name="connsiteX6" fmla="*/ 0 w 10000"/>
              <a:gd name="connsiteY6" fmla="*/ 7977 h 79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7977">
                <a:moveTo>
                  <a:pt x="0" y="7977"/>
                </a:moveTo>
                <a:lnTo>
                  <a:pt x="3509" y="4914"/>
                </a:lnTo>
                <a:cubicBezTo>
                  <a:pt x="3173" y="4765"/>
                  <a:pt x="2314" y="4618"/>
                  <a:pt x="1978" y="4469"/>
                </a:cubicBezTo>
                <a:cubicBezTo>
                  <a:pt x="4412" y="-860"/>
                  <a:pt x="10000" y="671"/>
                  <a:pt x="10000" y="671"/>
                </a:cubicBezTo>
                <a:cubicBezTo>
                  <a:pt x="9892" y="555"/>
                  <a:pt x="4101" y="-2023"/>
                  <a:pt x="1319" y="3772"/>
                </a:cubicBezTo>
                <a:lnTo>
                  <a:pt x="683" y="2357"/>
                </a:lnTo>
                <a:cubicBezTo>
                  <a:pt x="455" y="4230"/>
                  <a:pt x="228" y="6104"/>
                  <a:pt x="0" y="7977"/>
                </a:cubicBezTo>
                <a:close/>
              </a:path>
            </a:pathLst>
          </a:cu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it-IT" sz="1488"/>
          </a:p>
        </p:txBody>
      </p:sp>
      <p:sp>
        <p:nvSpPr>
          <p:cNvPr id="21" name="Figura a mano libera 20"/>
          <p:cNvSpPr/>
          <p:nvPr/>
        </p:nvSpPr>
        <p:spPr>
          <a:xfrm>
            <a:off x="2074975" y="1242989"/>
            <a:ext cx="355631" cy="282618"/>
          </a:xfrm>
          <a:custGeom>
            <a:avLst/>
            <a:gdLst>
              <a:gd name="connsiteX0" fmla="*/ 0 w 651850"/>
              <a:gd name="connsiteY0" fmla="*/ 45267 h 425513"/>
              <a:gd name="connsiteX1" fmla="*/ 362139 w 651850"/>
              <a:gd name="connsiteY1" fmla="*/ 181069 h 425513"/>
              <a:gd name="connsiteX2" fmla="*/ 461727 w 651850"/>
              <a:gd name="connsiteY2" fmla="*/ 253497 h 425513"/>
              <a:gd name="connsiteX3" fmla="*/ 588475 w 651850"/>
              <a:gd name="connsiteY3" fmla="*/ 425513 h 425513"/>
              <a:gd name="connsiteX4" fmla="*/ 651850 w 651850"/>
              <a:gd name="connsiteY4" fmla="*/ 380245 h 425513"/>
              <a:gd name="connsiteX5" fmla="*/ 561315 w 651850"/>
              <a:gd name="connsiteY5" fmla="*/ 108641 h 425513"/>
              <a:gd name="connsiteX6" fmla="*/ 63374 w 651850"/>
              <a:gd name="connsiteY6" fmla="*/ 0 h 425513"/>
              <a:gd name="connsiteX7" fmla="*/ 0 w 651850"/>
              <a:gd name="connsiteY7" fmla="*/ 45267 h 425513"/>
              <a:gd name="connsiteX0" fmla="*/ 0 w 651850"/>
              <a:gd name="connsiteY0" fmla="*/ 45267 h 380245"/>
              <a:gd name="connsiteX1" fmla="*/ 362139 w 651850"/>
              <a:gd name="connsiteY1" fmla="*/ 181069 h 380245"/>
              <a:gd name="connsiteX2" fmla="*/ 461727 w 651850"/>
              <a:gd name="connsiteY2" fmla="*/ 253497 h 380245"/>
              <a:gd name="connsiteX3" fmla="*/ 651850 w 651850"/>
              <a:gd name="connsiteY3" fmla="*/ 380245 h 380245"/>
              <a:gd name="connsiteX4" fmla="*/ 561315 w 651850"/>
              <a:gd name="connsiteY4" fmla="*/ 108641 h 380245"/>
              <a:gd name="connsiteX5" fmla="*/ 63374 w 651850"/>
              <a:gd name="connsiteY5" fmla="*/ 0 h 380245"/>
              <a:gd name="connsiteX6" fmla="*/ 0 w 651850"/>
              <a:gd name="connsiteY6" fmla="*/ 45267 h 380245"/>
              <a:gd name="connsiteX0" fmla="*/ 0 w 561315"/>
              <a:gd name="connsiteY0" fmla="*/ 45267 h 253497"/>
              <a:gd name="connsiteX1" fmla="*/ 362139 w 561315"/>
              <a:gd name="connsiteY1" fmla="*/ 181069 h 253497"/>
              <a:gd name="connsiteX2" fmla="*/ 461727 w 561315"/>
              <a:gd name="connsiteY2" fmla="*/ 253497 h 253497"/>
              <a:gd name="connsiteX3" fmla="*/ 561315 w 561315"/>
              <a:gd name="connsiteY3" fmla="*/ 108641 h 253497"/>
              <a:gd name="connsiteX4" fmla="*/ 63374 w 561315"/>
              <a:gd name="connsiteY4" fmla="*/ 0 h 253497"/>
              <a:gd name="connsiteX5" fmla="*/ 0 w 561315"/>
              <a:gd name="connsiteY5" fmla="*/ 45267 h 253497"/>
              <a:gd name="connsiteX0" fmla="*/ 0 w 561315"/>
              <a:gd name="connsiteY0" fmla="*/ 45267 h 181069"/>
              <a:gd name="connsiteX1" fmla="*/ 362139 w 561315"/>
              <a:gd name="connsiteY1" fmla="*/ 181069 h 181069"/>
              <a:gd name="connsiteX2" fmla="*/ 561315 w 561315"/>
              <a:gd name="connsiteY2" fmla="*/ 108641 h 181069"/>
              <a:gd name="connsiteX3" fmla="*/ 63374 w 561315"/>
              <a:gd name="connsiteY3" fmla="*/ 0 h 181069"/>
              <a:gd name="connsiteX4" fmla="*/ 0 w 561315"/>
              <a:gd name="connsiteY4" fmla="*/ 45267 h 181069"/>
              <a:gd name="connsiteX0" fmla="*/ 0 w 561315"/>
              <a:gd name="connsiteY0" fmla="*/ 217283 h 353085"/>
              <a:gd name="connsiteX1" fmla="*/ 362139 w 561315"/>
              <a:gd name="connsiteY1" fmla="*/ 353085 h 353085"/>
              <a:gd name="connsiteX2" fmla="*/ 561315 w 561315"/>
              <a:gd name="connsiteY2" fmla="*/ 280657 h 353085"/>
              <a:gd name="connsiteX3" fmla="*/ 389299 w 561315"/>
              <a:gd name="connsiteY3" fmla="*/ 0 h 353085"/>
              <a:gd name="connsiteX4" fmla="*/ 0 w 561315"/>
              <a:gd name="connsiteY4" fmla="*/ 217283 h 353085"/>
              <a:gd name="connsiteX0" fmla="*/ 0 w 697117"/>
              <a:gd name="connsiteY0" fmla="*/ 217283 h 353085"/>
              <a:gd name="connsiteX1" fmla="*/ 362139 w 697117"/>
              <a:gd name="connsiteY1" fmla="*/ 353085 h 353085"/>
              <a:gd name="connsiteX2" fmla="*/ 697117 w 697117"/>
              <a:gd name="connsiteY2" fmla="*/ 153908 h 353085"/>
              <a:gd name="connsiteX3" fmla="*/ 389299 w 697117"/>
              <a:gd name="connsiteY3" fmla="*/ 0 h 353085"/>
              <a:gd name="connsiteX4" fmla="*/ 0 w 697117"/>
              <a:gd name="connsiteY4" fmla="*/ 217283 h 353085"/>
              <a:gd name="connsiteX0" fmla="*/ 0 w 697117"/>
              <a:gd name="connsiteY0" fmla="*/ 217283 h 325925"/>
              <a:gd name="connsiteX1" fmla="*/ 371192 w 697117"/>
              <a:gd name="connsiteY1" fmla="*/ 325925 h 325925"/>
              <a:gd name="connsiteX2" fmla="*/ 697117 w 697117"/>
              <a:gd name="connsiteY2" fmla="*/ 153908 h 325925"/>
              <a:gd name="connsiteX3" fmla="*/ 389299 w 697117"/>
              <a:gd name="connsiteY3" fmla="*/ 0 h 325925"/>
              <a:gd name="connsiteX4" fmla="*/ 0 w 697117"/>
              <a:gd name="connsiteY4" fmla="*/ 217283 h 325925"/>
              <a:gd name="connsiteX0" fmla="*/ 0 w 398353"/>
              <a:gd name="connsiteY0" fmla="*/ 63374 h 325925"/>
              <a:gd name="connsiteX1" fmla="*/ 72428 w 398353"/>
              <a:gd name="connsiteY1" fmla="*/ 325925 h 325925"/>
              <a:gd name="connsiteX2" fmla="*/ 398353 w 398353"/>
              <a:gd name="connsiteY2" fmla="*/ 153908 h 325925"/>
              <a:gd name="connsiteX3" fmla="*/ 90535 w 398353"/>
              <a:gd name="connsiteY3" fmla="*/ 0 h 325925"/>
              <a:gd name="connsiteX4" fmla="*/ 0 w 398353"/>
              <a:gd name="connsiteY4" fmla="*/ 63374 h 325925"/>
              <a:gd name="connsiteX0" fmla="*/ 0 w 398353"/>
              <a:gd name="connsiteY0" fmla="*/ 63374 h 341800"/>
              <a:gd name="connsiteX1" fmla="*/ 94653 w 398353"/>
              <a:gd name="connsiteY1" fmla="*/ 341800 h 341800"/>
              <a:gd name="connsiteX2" fmla="*/ 398353 w 398353"/>
              <a:gd name="connsiteY2" fmla="*/ 153908 h 341800"/>
              <a:gd name="connsiteX3" fmla="*/ 90535 w 398353"/>
              <a:gd name="connsiteY3" fmla="*/ 0 h 341800"/>
              <a:gd name="connsiteX4" fmla="*/ 0 w 398353"/>
              <a:gd name="connsiteY4" fmla="*/ 63374 h 341800"/>
              <a:gd name="connsiteX0" fmla="*/ 0 w 395178"/>
              <a:gd name="connsiteY0" fmla="*/ 47499 h 341800"/>
              <a:gd name="connsiteX1" fmla="*/ 91478 w 395178"/>
              <a:gd name="connsiteY1" fmla="*/ 341800 h 341800"/>
              <a:gd name="connsiteX2" fmla="*/ 395178 w 395178"/>
              <a:gd name="connsiteY2" fmla="*/ 153908 h 341800"/>
              <a:gd name="connsiteX3" fmla="*/ 87360 w 395178"/>
              <a:gd name="connsiteY3" fmla="*/ 0 h 341800"/>
              <a:gd name="connsiteX4" fmla="*/ 0 w 395178"/>
              <a:gd name="connsiteY4" fmla="*/ 47499 h 341800"/>
              <a:gd name="connsiteX0" fmla="*/ 0 w 430103"/>
              <a:gd name="connsiteY0" fmla="*/ 47499 h 341800"/>
              <a:gd name="connsiteX1" fmla="*/ 91478 w 430103"/>
              <a:gd name="connsiteY1" fmla="*/ 341800 h 341800"/>
              <a:gd name="connsiteX2" fmla="*/ 430103 w 430103"/>
              <a:gd name="connsiteY2" fmla="*/ 144383 h 341800"/>
              <a:gd name="connsiteX3" fmla="*/ 87360 w 430103"/>
              <a:gd name="connsiteY3" fmla="*/ 0 h 341800"/>
              <a:gd name="connsiteX4" fmla="*/ 0 w 430103"/>
              <a:gd name="connsiteY4" fmla="*/ 47499 h 341800"/>
              <a:gd name="connsiteX0" fmla="*/ 0 w 430103"/>
              <a:gd name="connsiteY0" fmla="*/ 47499 h 341800"/>
              <a:gd name="connsiteX1" fmla="*/ 91478 w 430103"/>
              <a:gd name="connsiteY1" fmla="*/ 341800 h 341800"/>
              <a:gd name="connsiteX2" fmla="*/ 430103 w 430103"/>
              <a:gd name="connsiteY2" fmla="*/ 144383 h 341800"/>
              <a:gd name="connsiteX3" fmla="*/ 87360 w 430103"/>
              <a:gd name="connsiteY3" fmla="*/ 0 h 341800"/>
              <a:gd name="connsiteX4" fmla="*/ 0 w 430103"/>
              <a:gd name="connsiteY4" fmla="*/ 47499 h 341800"/>
              <a:gd name="connsiteX0" fmla="*/ 0 w 430103"/>
              <a:gd name="connsiteY0" fmla="*/ 47499 h 341800"/>
              <a:gd name="connsiteX1" fmla="*/ 91478 w 430103"/>
              <a:gd name="connsiteY1" fmla="*/ 341800 h 341800"/>
              <a:gd name="connsiteX2" fmla="*/ 430103 w 430103"/>
              <a:gd name="connsiteY2" fmla="*/ 144383 h 341800"/>
              <a:gd name="connsiteX3" fmla="*/ 87360 w 430103"/>
              <a:gd name="connsiteY3" fmla="*/ 0 h 341800"/>
              <a:gd name="connsiteX4" fmla="*/ 0 w 430103"/>
              <a:gd name="connsiteY4" fmla="*/ 47499 h 34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30103" h="341800">
                <a:moveTo>
                  <a:pt x="0" y="47499"/>
                </a:moveTo>
                <a:lnTo>
                  <a:pt x="91478" y="341800"/>
                </a:lnTo>
                <a:cubicBezTo>
                  <a:pt x="204353" y="275994"/>
                  <a:pt x="317228" y="226064"/>
                  <a:pt x="430103" y="144383"/>
                </a:cubicBezTo>
                <a:cubicBezTo>
                  <a:pt x="306330" y="191505"/>
                  <a:pt x="201608" y="48128"/>
                  <a:pt x="87360" y="0"/>
                </a:cubicBezTo>
                <a:lnTo>
                  <a:pt x="0" y="47499"/>
                </a:lnTo>
                <a:close/>
              </a:path>
            </a:pathLst>
          </a:custGeom>
          <a:solidFill>
            <a:srgbClr val="FF00FF">
              <a:alpha val="50000"/>
            </a:srgb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/>
          </a:p>
        </p:txBody>
      </p:sp>
      <p:cxnSp>
        <p:nvCxnSpPr>
          <p:cNvPr id="22" name="Connettore 1 21"/>
          <p:cNvCxnSpPr/>
          <p:nvPr/>
        </p:nvCxnSpPr>
        <p:spPr>
          <a:xfrm>
            <a:off x="3051246" y="5085437"/>
            <a:ext cx="3174011" cy="0"/>
          </a:xfrm>
          <a:prstGeom prst="line">
            <a:avLst/>
          </a:prstGeom>
          <a:ln w="190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Connettore 1 22"/>
          <p:cNvCxnSpPr/>
          <p:nvPr/>
        </p:nvCxnSpPr>
        <p:spPr>
          <a:xfrm>
            <a:off x="8296683" y="932583"/>
            <a:ext cx="0" cy="3882303"/>
          </a:xfrm>
          <a:prstGeom prst="line">
            <a:avLst/>
          </a:prstGeom>
          <a:ln w="190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4" name="Connettore 1 23"/>
          <p:cNvCxnSpPr/>
          <p:nvPr/>
        </p:nvCxnSpPr>
        <p:spPr>
          <a:xfrm>
            <a:off x="3051245" y="4715071"/>
            <a:ext cx="0" cy="47956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Rettangolo 24"/>
          <p:cNvSpPr/>
          <p:nvPr/>
        </p:nvSpPr>
        <p:spPr>
          <a:xfrm>
            <a:off x="4501537" y="4814886"/>
            <a:ext cx="615874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323" b="1" dirty="0">
                <a:latin typeface="Arial Narrow" panose="020B0606020202030204" pitchFamily="34" charset="0"/>
                <a:ea typeface="新細明體" pitchFamily="18" charset="-120"/>
              </a:rPr>
              <a:t>5,15 m</a:t>
            </a:r>
            <a:endParaRPr lang="en-US" sz="1323" dirty="0">
              <a:latin typeface="Arial Narrow" panose="020B0606020202030204" pitchFamily="34" charset="0"/>
            </a:endParaRPr>
          </a:p>
        </p:txBody>
      </p:sp>
      <p:cxnSp>
        <p:nvCxnSpPr>
          <p:cNvPr id="28" name="Connettore 1 27"/>
          <p:cNvCxnSpPr/>
          <p:nvPr/>
        </p:nvCxnSpPr>
        <p:spPr>
          <a:xfrm flipH="1">
            <a:off x="6338996" y="4781312"/>
            <a:ext cx="2142266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Connettore 1 28"/>
          <p:cNvCxnSpPr/>
          <p:nvPr/>
        </p:nvCxnSpPr>
        <p:spPr>
          <a:xfrm flipH="1">
            <a:off x="7478326" y="930465"/>
            <a:ext cx="930543" cy="0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Connettore 1 29"/>
          <p:cNvCxnSpPr/>
          <p:nvPr/>
        </p:nvCxnSpPr>
        <p:spPr>
          <a:xfrm flipH="1">
            <a:off x="6225256" y="496596"/>
            <a:ext cx="1184873" cy="0"/>
          </a:xfrm>
          <a:prstGeom prst="line">
            <a:avLst/>
          </a:prstGeom>
          <a:ln w="19050">
            <a:solidFill>
              <a:schemeClr val="tx1"/>
            </a:solidFill>
            <a:headEnd type="arrow" w="lg" len="lg"/>
            <a:tailEnd type="arrow" w="lg" len="lg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Rettangolo 30"/>
          <p:cNvSpPr/>
          <p:nvPr/>
        </p:nvSpPr>
        <p:spPr>
          <a:xfrm>
            <a:off x="6525961" y="218615"/>
            <a:ext cx="615874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323" b="1" dirty="0">
                <a:latin typeface="Arial Narrow" panose="020B0606020202030204" pitchFamily="34" charset="0"/>
                <a:ea typeface="新細明體" pitchFamily="18" charset="-120"/>
              </a:rPr>
              <a:t>1,80 m</a:t>
            </a:r>
            <a:endParaRPr lang="en-US" sz="1323" dirty="0">
              <a:latin typeface="Arial Narrow" panose="020B0606020202030204" pitchFamily="34" charset="0"/>
            </a:endParaRPr>
          </a:p>
        </p:txBody>
      </p:sp>
      <p:cxnSp>
        <p:nvCxnSpPr>
          <p:cNvPr id="34" name="Connettore 1 33"/>
          <p:cNvCxnSpPr/>
          <p:nvPr/>
        </p:nvCxnSpPr>
        <p:spPr>
          <a:xfrm flipH="1">
            <a:off x="2752927" y="4147987"/>
            <a:ext cx="728961" cy="925131"/>
          </a:xfrm>
          <a:prstGeom prst="line">
            <a:avLst/>
          </a:prstGeom>
          <a:ln w="6350">
            <a:solidFill>
              <a:schemeClr val="tx1"/>
            </a:solidFill>
            <a:prstDash val="lgDashDot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1 35"/>
          <p:cNvCxnSpPr/>
          <p:nvPr/>
        </p:nvCxnSpPr>
        <p:spPr>
          <a:xfrm>
            <a:off x="6225256" y="4715071"/>
            <a:ext cx="0" cy="47956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7" name="Connettore 1 36"/>
          <p:cNvCxnSpPr/>
          <p:nvPr/>
        </p:nvCxnSpPr>
        <p:spPr>
          <a:xfrm>
            <a:off x="6225256" y="450901"/>
            <a:ext cx="0" cy="47956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Connettore 1 37"/>
          <p:cNvCxnSpPr/>
          <p:nvPr/>
        </p:nvCxnSpPr>
        <p:spPr>
          <a:xfrm>
            <a:off x="7410129" y="453019"/>
            <a:ext cx="0" cy="479564"/>
          </a:xfrm>
          <a:prstGeom prst="line">
            <a:avLst/>
          </a:prstGeom>
          <a:ln w="12700">
            <a:solidFill>
              <a:schemeClr val="tx1"/>
            </a:solidFill>
            <a:prstDash val="solid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ttangolo 46"/>
          <p:cNvSpPr/>
          <p:nvPr/>
        </p:nvSpPr>
        <p:spPr>
          <a:xfrm rot="16200000">
            <a:off x="7848780" y="2954203"/>
            <a:ext cx="615874" cy="29591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zh-TW" sz="1323" b="1" dirty="0">
                <a:latin typeface="Arial Narrow" panose="020B0606020202030204" pitchFamily="34" charset="0"/>
                <a:ea typeface="新細明體" pitchFamily="18" charset="-120"/>
              </a:rPr>
              <a:t>5,97 m</a:t>
            </a:r>
            <a:endParaRPr lang="en-US" sz="1323" dirty="0">
              <a:latin typeface="Arial Narrow" panose="020B0606020202030204" pitchFamily="34" charset="0"/>
            </a:endParaRPr>
          </a:p>
        </p:txBody>
      </p:sp>
      <p:sp>
        <p:nvSpPr>
          <p:cNvPr id="49" name="AutoShape 67"/>
          <p:cNvSpPr>
            <a:spLocks/>
          </p:cNvSpPr>
          <p:nvPr/>
        </p:nvSpPr>
        <p:spPr bwMode="auto">
          <a:xfrm>
            <a:off x="7478323" y="3393890"/>
            <a:ext cx="756073" cy="178190"/>
          </a:xfrm>
          <a:prstGeom prst="callout2">
            <a:avLst>
              <a:gd name="adj1" fmla="val 50704"/>
              <a:gd name="adj2" fmla="val -8333"/>
              <a:gd name="adj3" fmla="val 50704"/>
              <a:gd name="adj4" fmla="val -22745"/>
              <a:gd name="adj5" fmla="val -332616"/>
              <a:gd name="adj6" fmla="val -111569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defTabSz="1075105"/>
            <a:r>
              <a:rPr lang="en-US" sz="1158" dirty="0">
                <a:latin typeface="Arial Narrow" pitchFamily="34" charset="0"/>
              </a:rPr>
              <a:t>Rudder</a:t>
            </a:r>
          </a:p>
        </p:txBody>
      </p:sp>
      <p:sp>
        <p:nvSpPr>
          <p:cNvPr id="51" name="AutoShape 69"/>
          <p:cNvSpPr>
            <a:spLocks/>
          </p:cNvSpPr>
          <p:nvPr/>
        </p:nvSpPr>
        <p:spPr bwMode="auto">
          <a:xfrm>
            <a:off x="7400970" y="4275180"/>
            <a:ext cx="1080292" cy="178190"/>
          </a:xfrm>
          <a:prstGeom prst="callout2">
            <a:avLst>
              <a:gd name="adj1" fmla="val 26088"/>
              <a:gd name="adj2" fmla="val -5833"/>
              <a:gd name="adj3" fmla="val 26088"/>
              <a:gd name="adj4" fmla="val -24546"/>
              <a:gd name="adj5" fmla="val -688912"/>
              <a:gd name="adj6" fmla="val -148968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defTabSz="1075105"/>
            <a:r>
              <a:rPr lang="en-US" sz="1158">
                <a:latin typeface="Arial Narrow" pitchFamily="34" charset="0"/>
              </a:rPr>
              <a:t>Trailing Edge</a:t>
            </a:r>
          </a:p>
        </p:txBody>
      </p:sp>
      <p:sp>
        <p:nvSpPr>
          <p:cNvPr id="52" name="AutoShape 70"/>
          <p:cNvSpPr>
            <a:spLocks/>
          </p:cNvSpPr>
          <p:nvPr/>
        </p:nvSpPr>
        <p:spPr bwMode="auto">
          <a:xfrm>
            <a:off x="3657718" y="1432410"/>
            <a:ext cx="980533" cy="178190"/>
          </a:xfrm>
          <a:prstGeom prst="callout2">
            <a:avLst>
              <a:gd name="adj1" fmla="val 26088"/>
              <a:gd name="adj2" fmla="val 106426"/>
              <a:gd name="adj3" fmla="val 26088"/>
              <a:gd name="adj4" fmla="val 119278"/>
              <a:gd name="adj5" fmla="val 330947"/>
              <a:gd name="adj6" fmla="val 177086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algn="r" defTabSz="1075105"/>
            <a:r>
              <a:rPr lang="en-US" sz="1158">
                <a:latin typeface="Arial Narrow" pitchFamily="34" charset="0"/>
              </a:rPr>
              <a:t>Leading Edge</a:t>
            </a:r>
          </a:p>
        </p:txBody>
      </p:sp>
      <p:sp>
        <p:nvSpPr>
          <p:cNvPr id="53" name="AutoShape 71"/>
          <p:cNvSpPr>
            <a:spLocks/>
          </p:cNvSpPr>
          <p:nvPr/>
        </p:nvSpPr>
        <p:spPr bwMode="auto">
          <a:xfrm flipH="1">
            <a:off x="5682485" y="409478"/>
            <a:ext cx="227249" cy="178190"/>
          </a:xfrm>
          <a:prstGeom prst="callout2">
            <a:avLst>
              <a:gd name="adj1" fmla="val 50704"/>
              <a:gd name="adj2" fmla="val -3449"/>
              <a:gd name="adj3" fmla="val 50704"/>
              <a:gd name="adj4" fmla="val -44829"/>
              <a:gd name="adj5" fmla="val 336832"/>
              <a:gd name="adj6" fmla="val -252044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wrap="square" lIns="0" tIns="0" rIns="0" bIns="0">
            <a:spAutoFit/>
          </a:bodyPr>
          <a:lstStyle/>
          <a:p>
            <a:pPr defTabSz="1075105"/>
            <a:r>
              <a:rPr lang="en-US" sz="1158">
                <a:latin typeface="Arial Narrow" pitchFamily="34" charset="0"/>
              </a:rPr>
              <a:t>Tip</a:t>
            </a:r>
          </a:p>
        </p:txBody>
      </p:sp>
      <p:sp>
        <p:nvSpPr>
          <p:cNvPr id="54" name="AutoShape 74"/>
          <p:cNvSpPr>
            <a:spLocks/>
          </p:cNvSpPr>
          <p:nvPr/>
        </p:nvSpPr>
        <p:spPr bwMode="auto">
          <a:xfrm>
            <a:off x="1703787" y="3882736"/>
            <a:ext cx="855587" cy="178190"/>
          </a:xfrm>
          <a:prstGeom prst="callout2">
            <a:avLst>
              <a:gd name="adj1" fmla="val 26088"/>
              <a:gd name="adj2" fmla="val 106426"/>
              <a:gd name="adj3" fmla="val 26088"/>
              <a:gd name="adj4" fmla="val 119278"/>
              <a:gd name="adj5" fmla="val 263249"/>
              <a:gd name="adj6" fmla="val 169436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wrap="square" lIns="0" tIns="0" rIns="0" bIns="0">
            <a:spAutoFit/>
          </a:bodyPr>
          <a:lstStyle/>
          <a:p>
            <a:pPr algn="r" defTabSz="1075105"/>
            <a:r>
              <a:rPr lang="en-US" sz="1158" dirty="0">
                <a:latin typeface="Arial Narrow" pitchFamily="34" charset="0"/>
              </a:rPr>
              <a:t>Dorsal Fairing</a:t>
            </a:r>
          </a:p>
        </p:txBody>
      </p:sp>
      <p:sp>
        <p:nvSpPr>
          <p:cNvPr id="55" name="AutoShape 75"/>
          <p:cNvSpPr>
            <a:spLocks/>
          </p:cNvSpPr>
          <p:nvPr/>
        </p:nvSpPr>
        <p:spPr bwMode="auto">
          <a:xfrm>
            <a:off x="2960000" y="2154262"/>
            <a:ext cx="1103920" cy="178190"/>
          </a:xfrm>
          <a:prstGeom prst="callout2">
            <a:avLst>
              <a:gd name="adj1" fmla="val 53706"/>
              <a:gd name="adj2" fmla="val 102996"/>
              <a:gd name="adj3" fmla="val 53706"/>
              <a:gd name="adj4" fmla="val 121867"/>
              <a:gd name="adj5" fmla="val 502145"/>
              <a:gd name="adj6" fmla="val 190170"/>
            </a:avLst>
          </a:prstGeom>
          <a:noFill/>
          <a:ln w="12700">
            <a:solidFill>
              <a:schemeClr val="tx1"/>
            </a:solidFill>
            <a:miter lim="800000"/>
            <a:headEnd/>
            <a:tailEnd type="triangle" w="med" len="lg"/>
          </a:ln>
        </p:spPr>
        <p:txBody>
          <a:bodyPr lIns="0" tIns="0" rIns="0" bIns="0">
            <a:spAutoFit/>
          </a:bodyPr>
          <a:lstStyle/>
          <a:p>
            <a:pPr algn="r" defTabSz="1075105"/>
            <a:r>
              <a:rPr lang="en-US" sz="1158" dirty="0">
                <a:latin typeface="Arial Narrow" pitchFamily="34" charset="0"/>
              </a:rPr>
              <a:t>Torque Box</a:t>
            </a:r>
          </a:p>
        </p:txBody>
      </p:sp>
      <p:sp>
        <p:nvSpPr>
          <p:cNvPr id="62" name="Text Box 21"/>
          <p:cNvSpPr txBox="1">
            <a:spLocks noChangeArrowheads="1"/>
          </p:cNvSpPr>
          <p:nvPr/>
        </p:nvSpPr>
        <p:spPr bwMode="auto">
          <a:xfrm>
            <a:off x="1374420" y="446454"/>
            <a:ext cx="4616598" cy="3468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zh-TW" sz="1654" b="1" i="1" dirty="0">
                <a:ea typeface="新細明體" pitchFamily="18" charset="-120"/>
              </a:rPr>
              <a:t>Vertical Stabilizer</a:t>
            </a:r>
            <a:endParaRPr lang="en-US" altLang="it-IT" sz="1654" b="1" i="1" dirty="0">
              <a:ea typeface="新細明體" pitchFamily="18" charset="-120"/>
            </a:endParaRPr>
          </a:p>
        </p:txBody>
      </p:sp>
    </p:spTree>
    <p:extLst>
      <p:ext uri="{BB962C8B-B14F-4D97-AF65-F5344CB8AC3E}">
        <p14:creationId xmlns:p14="http://schemas.microsoft.com/office/powerpoint/2010/main" val="389832552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32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0874" y="2568144"/>
            <a:ext cx="2239978" cy="195027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CasellaDiTesto 16"/>
          <p:cNvSpPr txBox="1">
            <a:spLocks noChangeArrowheads="1"/>
          </p:cNvSpPr>
          <p:nvPr/>
        </p:nvSpPr>
        <p:spPr bwMode="auto">
          <a:xfrm>
            <a:off x="698640" y="4264332"/>
            <a:ext cx="2345355" cy="295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en-US" sz="661" dirty="0" err="1">
                <a:latin typeface="+mn-lt"/>
              </a:rPr>
              <a:t>Block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fully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erformed</a:t>
            </a:r>
            <a:r>
              <a:rPr lang="it-IT" altLang="en-US" sz="661" dirty="0">
                <a:latin typeface="+mn-lt"/>
              </a:rPr>
              <a:t> by Leonardo</a:t>
            </a:r>
          </a:p>
          <a:p>
            <a:pPr eaLnBrk="1" hangingPunct="1"/>
            <a:r>
              <a:rPr lang="it-IT" altLang="en-US" sz="661" dirty="0" err="1">
                <a:latin typeface="+mn-lt"/>
              </a:rPr>
              <a:t>Block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artially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erformed</a:t>
            </a:r>
            <a:r>
              <a:rPr lang="it-IT" altLang="en-US" sz="661" dirty="0">
                <a:latin typeface="+mn-lt"/>
              </a:rPr>
              <a:t> by Leonardo</a:t>
            </a: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1" y="4627268"/>
            <a:ext cx="3408013" cy="601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85750" indent="-28575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72190" indent="-72190" eaLnBrk="1" hangingPunct="1">
              <a:buFont typeface="Arial" charset="0"/>
              <a:buChar char="•"/>
              <a:tabLst>
                <a:tab pos="72190" algn="l"/>
              </a:tabLst>
            </a:pPr>
            <a:r>
              <a:rPr lang="en-US" altLang="en-US" sz="827" dirty="0">
                <a:latin typeface="Calibri" pitchFamily="34" charset="0"/>
                <a:ea typeface="MS PGothic" pitchFamily="34" charset="-128"/>
              </a:rPr>
              <a:t>Cytec Material </a:t>
            </a:r>
            <a:r>
              <a:rPr lang="en-US" altLang="en-US" sz="827" dirty="0" err="1">
                <a:latin typeface="Calibri" pitchFamily="34" charset="0"/>
                <a:ea typeface="MS PGothic" pitchFamily="34" charset="-128"/>
              </a:rPr>
              <a:t>Quali</a:t>
            </a:r>
            <a:r>
              <a:rPr lang="en-US" altLang="en-US" sz="827" dirty="0">
                <a:latin typeface="Calibri" pitchFamily="34" charset="0"/>
                <a:ea typeface="MS PGothic" pitchFamily="34" charset="-128"/>
              </a:rPr>
              <a:t> to LDO Specification NTA </a:t>
            </a:r>
          </a:p>
          <a:p>
            <a:pPr marL="72190" indent="-72190" eaLnBrk="1" hangingPunct="1">
              <a:buFont typeface="Arial" charset="0"/>
              <a:buChar char="•"/>
              <a:tabLst>
                <a:tab pos="72190" algn="l"/>
              </a:tabLst>
            </a:pPr>
            <a:r>
              <a:rPr lang="en-US" altLang="en-US" sz="827" dirty="0">
                <a:latin typeface="Calibri" pitchFamily="34" charset="0"/>
                <a:ea typeface="MS PGothic" pitchFamily="34" charset="-128"/>
              </a:rPr>
              <a:t>Leonardo Process Specification </a:t>
            </a:r>
          </a:p>
          <a:p>
            <a:pPr marL="72190" indent="-72190" eaLnBrk="1" hangingPunct="1">
              <a:buFont typeface="Arial" charset="0"/>
              <a:buChar char="•"/>
              <a:tabLst>
                <a:tab pos="72190" algn="l"/>
              </a:tabLst>
            </a:pPr>
            <a:r>
              <a:rPr lang="en-US" altLang="en-US" sz="827" dirty="0">
                <a:latin typeface="Calibri" pitchFamily="34" charset="0"/>
                <a:ea typeface="MS PGothic" pitchFamily="34" charset="-128"/>
              </a:rPr>
              <a:t>Basic </a:t>
            </a:r>
            <a:r>
              <a:rPr lang="en-US" altLang="en-US" sz="827" dirty="0" err="1">
                <a:latin typeface="Calibri" pitchFamily="34" charset="0"/>
                <a:ea typeface="MS PGothic" pitchFamily="34" charset="-128"/>
              </a:rPr>
              <a:t>Allowables</a:t>
            </a:r>
            <a:endParaRPr lang="en-US" altLang="en-US" sz="827" dirty="0">
              <a:latin typeface="Calibri" pitchFamily="34" charset="0"/>
              <a:ea typeface="MS PGothic" pitchFamily="34" charset="-128"/>
            </a:endParaRPr>
          </a:p>
          <a:p>
            <a:pPr eaLnBrk="1" hangingPunct="1">
              <a:buFont typeface="Arial" charset="0"/>
              <a:buChar char="•"/>
            </a:pPr>
            <a:endParaRPr lang="en-US" altLang="en-US" sz="827" dirty="0">
              <a:solidFill>
                <a:schemeClr val="tx2"/>
              </a:solidFill>
              <a:latin typeface="Calibri" pitchFamily="34" charset="0"/>
              <a:ea typeface="MS PGothic" pitchFamily="34" charset="-128"/>
            </a:endParaRPr>
          </a:p>
        </p:txBody>
      </p:sp>
      <p:pic>
        <p:nvPicPr>
          <p:cNvPr id="13" name="Picture 31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85873" y="1186331"/>
            <a:ext cx="1836274" cy="12321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Rettangolo 14"/>
          <p:cNvSpPr>
            <a:spLocks noChangeArrowheads="1"/>
          </p:cNvSpPr>
          <p:nvPr/>
        </p:nvSpPr>
        <p:spPr bwMode="auto">
          <a:xfrm>
            <a:off x="-40252" y="352250"/>
            <a:ext cx="3448266" cy="49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en-US" sz="1323" b="1" dirty="0">
                <a:solidFill>
                  <a:srgbClr val="254E86"/>
                </a:solidFill>
                <a:latin typeface="Calibri" pitchFamily="34" charset="0"/>
              </a:rPr>
              <a:t>ATR 42/72</a:t>
            </a:r>
          </a:p>
          <a:p>
            <a:pPr algn="ctr" eaLnBrk="1" hangingPunct="1"/>
            <a:r>
              <a:rPr lang="en-US" altLang="en-US" sz="1323" b="1" dirty="0">
                <a:solidFill>
                  <a:srgbClr val="254E86"/>
                </a:solidFill>
                <a:latin typeface="Calibri" pitchFamily="34" charset="0"/>
              </a:rPr>
              <a:t>Empennages </a:t>
            </a:r>
          </a:p>
        </p:txBody>
      </p:sp>
      <p:sp>
        <p:nvSpPr>
          <p:cNvPr id="17" name="Text Box 11"/>
          <p:cNvSpPr txBox="1">
            <a:spLocks noChangeArrowheads="1"/>
          </p:cNvSpPr>
          <p:nvPr/>
        </p:nvSpPr>
        <p:spPr bwMode="auto">
          <a:xfrm>
            <a:off x="3417395" y="352884"/>
            <a:ext cx="3426170" cy="49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en-US" sz="1323" b="1" u="sng" dirty="0">
                <a:solidFill>
                  <a:srgbClr val="015293"/>
                </a:solidFill>
                <a:latin typeface="Calibri" pitchFamily="34" charset="0"/>
                <a:ea typeface="MS PGothic" pitchFamily="34" charset="-128"/>
              </a:rPr>
              <a:t>Boeing 787-8 </a:t>
            </a:r>
          </a:p>
          <a:p>
            <a:pPr algn="ctr" eaLnBrk="1" hangingPunct="1"/>
            <a:r>
              <a:rPr lang="en-US" altLang="en-US" sz="1323" b="1" u="sng" dirty="0">
                <a:solidFill>
                  <a:srgbClr val="015293"/>
                </a:solidFill>
                <a:latin typeface="Calibri" pitchFamily="34" charset="0"/>
                <a:ea typeface="MS PGothic" pitchFamily="34" charset="-128"/>
              </a:rPr>
              <a:t>Horizontal Stabilizer</a:t>
            </a:r>
          </a:p>
        </p:txBody>
      </p:sp>
      <p:pic>
        <p:nvPicPr>
          <p:cNvPr id="18" name="Picture 24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25673" y="1299306"/>
            <a:ext cx="3009615" cy="9405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9" name="Picture 17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21227" y="2521112"/>
            <a:ext cx="1740565" cy="17383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Ovale 19"/>
          <p:cNvSpPr/>
          <p:nvPr/>
        </p:nvSpPr>
        <p:spPr>
          <a:xfrm>
            <a:off x="4810406" y="3282462"/>
            <a:ext cx="105803" cy="81488"/>
          </a:xfrm>
          <a:prstGeom prst="ellipse">
            <a:avLst/>
          </a:prstGeom>
          <a:solidFill>
            <a:srgbClr val="00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488"/>
          </a:p>
        </p:txBody>
      </p:sp>
      <p:sp>
        <p:nvSpPr>
          <p:cNvPr id="21" name="Ovale 20"/>
          <p:cNvSpPr/>
          <p:nvPr/>
        </p:nvSpPr>
        <p:spPr>
          <a:xfrm>
            <a:off x="4603985" y="2962105"/>
            <a:ext cx="105803" cy="81488"/>
          </a:xfrm>
          <a:prstGeom prst="ellipse">
            <a:avLst/>
          </a:prstGeom>
          <a:solidFill>
            <a:srgbClr val="00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488"/>
          </a:p>
        </p:txBody>
      </p:sp>
      <p:sp>
        <p:nvSpPr>
          <p:cNvPr id="22" name="Ovale 21"/>
          <p:cNvSpPr/>
          <p:nvPr/>
        </p:nvSpPr>
        <p:spPr>
          <a:xfrm>
            <a:off x="4765801" y="3633976"/>
            <a:ext cx="105803" cy="81488"/>
          </a:xfrm>
          <a:prstGeom prst="ellipse">
            <a:avLst/>
          </a:prstGeom>
          <a:solidFill>
            <a:srgbClr val="00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488"/>
          </a:p>
        </p:txBody>
      </p:sp>
      <p:sp>
        <p:nvSpPr>
          <p:cNvPr id="23" name="Ovale 22"/>
          <p:cNvSpPr/>
          <p:nvPr/>
        </p:nvSpPr>
        <p:spPr>
          <a:xfrm>
            <a:off x="4659999" y="2632959"/>
            <a:ext cx="105803" cy="81488"/>
          </a:xfrm>
          <a:prstGeom prst="ellipse">
            <a:avLst/>
          </a:prstGeom>
          <a:solidFill>
            <a:srgbClr val="00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488"/>
          </a:p>
        </p:txBody>
      </p:sp>
      <p:sp>
        <p:nvSpPr>
          <p:cNvPr id="24" name="Ovale 23"/>
          <p:cNvSpPr/>
          <p:nvPr/>
        </p:nvSpPr>
        <p:spPr>
          <a:xfrm>
            <a:off x="5525095" y="2962105"/>
            <a:ext cx="105803" cy="81488"/>
          </a:xfrm>
          <a:prstGeom prst="ellipse">
            <a:avLst/>
          </a:prstGeom>
          <a:solidFill>
            <a:srgbClr val="FFC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it-IT" sz="1488"/>
          </a:p>
        </p:txBody>
      </p:sp>
      <p:sp>
        <p:nvSpPr>
          <p:cNvPr id="25" name="CasellaDiTesto 16"/>
          <p:cNvSpPr txBox="1">
            <a:spLocks noChangeArrowheads="1"/>
          </p:cNvSpPr>
          <p:nvPr/>
        </p:nvSpPr>
        <p:spPr bwMode="auto">
          <a:xfrm>
            <a:off x="4228310" y="4243125"/>
            <a:ext cx="2345355" cy="295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en-US" sz="661" dirty="0" err="1">
                <a:latin typeface="+mn-lt"/>
              </a:rPr>
              <a:t>Block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fully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erformed</a:t>
            </a:r>
            <a:r>
              <a:rPr lang="it-IT" altLang="en-US" sz="661" dirty="0">
                <a:latin typeface="+mn-lt"/>
              </a:rPr>
              <a:t> by Leonardo</a:t>
            </a:r>
          </a:p>
          <a:p>
            <a:pPr eaLnBrk="1" hangingPunct="1"/>
            <a:r>
              <a:rPr lang="it-IT" altLang="en-US" sz="661" dirty="0" err="1">
                <a:latin typeface="+mn-lt"/>
              </a:rPr>
              <a:t>Block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artially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erformed</a:t>
            </a:r>
            <a:r>
              <a:rPr lang="it-IT" altLang="en-US" sz="661" dirty="0">
                <a:latin typeface="+mn-lt"/>
              </a:rPr>
              <a:t> by Leonardo</a:t>
            </a:r>
          </a:p>
        </p:txBody>
      </p:sp>
      <p:grpSp>
        <p:nvGrpSpPr>
          <p:cNvPr id="26" name="Gruppo 25"/>
          <p:cNvGrpSpPr/>
          <p:nvPr/>
        </p:nvGrpSpPr>
        <p:grpSpPr>
          <a:xfrm>
            <a:off x="4141853" y="4297347"/>
            <a:ext cx="86457" cy="178607"/>
            <a:chOff x="6516218" y="4231606"/>
            <a:chExt cx="78424" cy="216016"/>
          </a:xfrm>
        </p:grpSpPr>
        <p:sp>
          <p:nvSpPr>
            <p:cNvPr id="27" name="Ovale 26"/>
            <p:cNvSpPr>
              <a:spLocks noChangeAspect="1"/>
            </p:cNvSpPr>
            <p:nvPr/>
          </p:nvSpPr>
          <p:spPr>
            <a:xfrm>
              <a:off x="6516218" y="4231606"/>
              <a:ext cx="72000" cy="72000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28" name="Ovale 27"/>
            <p:cNvSpPr>
              <a:spLocks noChangeAspect="1"/>
            </p:cNvSpPr>
            <p:nvPr/>
          </p:nvSpPr>
          <p:spPr>
            <a:xfrm>
              <a:off x="6522642" y="4375622"/>
              <a:ext cx="72000" cy="72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</p:grpSp>
      <p:sp>
        <p:nvSpPr>
          <p:cNvPr id="29" name="Text Box 10"/>
          <p:cNvSpPr txBox="1">
            <a:spLocks noChangeArrowheads="1"/>
          </p:cNvSpPr>
          <p:nvPr/>
        </p:nvSpPr>
        <p:spPr bwMode="auto">
          <a:xfrm>
            <a:off x="3417394" y="4629134"/>
            <a:ext cx="3426169" cy="47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it-IT"/>
            </a:defPPr>
            <a:lvl1pPr marL="87313" indent="-87313" eaLnBrk="1" hangingPunct="1">
              <a:buFont typeface="Arial" charset="0"/>
              <a:buChar char="•"/>
              <a:tabLst>
                <a:tab pos="87313" algn="l"/>
              </a:tabLst>
              <a:defRPr sz="1000"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latin typeface="Arial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latin typeface="Arial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latin typeface="Arial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9pPr>
          </a:lstStyle>
          <a:p>
            <a:r>
              <a:rPr lang="en-US" altLang="en-US" sz="827" dirty="0"/>
              <a:t>Point </a:t>
            </a:r>
            <a:r>
              <a:rPr lang="en-US" altLang="en-US" sz="827" dirty="0" err="1"/>
              <a:t>Allowables</a:t>
            </a:r>
            <a:endParaRPr lang="en-US" altLang="en-US" sz="827" dirty="0"/>
          </a:p>
          <a:p>
            <a:r>
              <a:rPr lang="en-US" altLang="en-US" sz="827" dirty="0"/>
              <a:t>Elements</a:t>
            </a:r>
          </a:p>
          <a:p>
            <a:r>
              <a:rPr lang="en-US" altLang="en-US" sz="827" dirty="0"/>
              <a:t>Process specification peculiarity</a:t>
            </a:r>
          </a:p>
        </p:txBody>
      </p:sp>
      <p:pic>
        <p:nvPicPr>
          <p:cNvPr id="30" name="Picture 2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7486" y="1255603"/>
            <a:ext cx="2728288" cy="6956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1" name="Text Box 11"/>
          <p:cNvSpPr txBox="1">
            <a:spLocks noChangeArrowheads="1"/>
          </p:cNvSpPr>
          <p:nvPr/>
        </p:nvSpPr>
        <p:spPr bwMode="auto">
          <a:xfrm>
            <a:off x="6843566" y="352740"/>
            <a:ext cx="3276128" cy="4994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en-US" sz="1323" b="1" u="sng" dirty="0">
                <a:solidFill>
                  <a:srgbClr val="015293"/>
                </a:solidFill>
                <a:latin typeface="Calibri" pitchFamily="34" charset="0"/>
                <a:ea typeface="MS PGothic" pitchFamily="34" charset="-128"/>
              </a:rPr>
              <a:t>Airbus A220</a:t>
            </a:r>
          </a:p>
          <a:p>
            <a:pPr algn="ctr" eaLnBrk="1" hangingPunct="1"/>
            <a:r>
              <a:rPr lang="en-US" altLang="en-US" sz="1323" b="1" u="sng" dirty="0">
                <a:solidFill>
                  <a:srgbClr val="015293"/>
                </a:solidFill>
                <a:latin typeface="Calibri" pitchFamily="34" charset="0"/>
                <a:ea typeface="MS PGothic" pitchFamily="34" charset="-128"/>
              </a:rPr>
              <a:t>Empennages</a:t>
            </a:r>
          </a:p>
        </p:txBody>
      </p:sp>
      <p:grpSp>
        <p:nvGrpSpPr>
          <p:cNvPr id="32" name="Gruppo 31"/>
          <p:cNvGrpSpPr>
            <a:grpSpLocks noChangeAspect="1"/>
          </p:cNvGrpSpPr>
          <p:nvPr/>
        </p:nvGrpSpPr>
        <p:grpSpPr>
          <a:xfrm>
            <a:off x="7580132" y="2560096"/>
            <a:ext cx="1778074" cy="1729094"/>
            <a:chOff x="6227763" y="2852738"/>
            <a:chExt cx="2665412" cy="3455987"/>
          </a:xfrm>
        </p:grpSpPr>
        <p:pic>
          <p:nvPicPr>
            <p:cNvPr id="33" name="Picture 17"/>
            <p:cNvPicPr>
              <a:picLocks noChangeAspect="1" noChangeArrowheads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7763" y="2852738"/>
              <a:ext cx="2665412" cy="34559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34" name="Ovale 33"/>
            <p:cNvSpPr/>
            <p:nvPr/>
          </p:nvSpPr>
          <p:spPr>
            <a:xfrm>
              <a:off x="7073900" y="5570538"/>
              <a:ext cx="161925" cy="161925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35" name="Ovale 34"/>
            <p:cNvSpPr/>
            <p:nvPr/>
          </p:nvSpPr>
          <p:spPr>
            <a:xfrm>
              <a:off x="7002463" y="5067300"/>
              <a:ext cx="161925" cy="161925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36" name="Ovale 35"/>
            <p:cNvSpPr/>
            <p:nvPr/>
          </p:nvSpPr>
          <p:spPr>
            <a:xfrm>
              <a:off x="7092950" y="4346575"/>
              <a:ext cx="161925" cy="161925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37" name="Ovale 36"/>
            <p:cNvSpPr/>
            <p:nvPr/>
          </p:nvSpPr>
          <p:spPr>
            <a:xfrm>
              <a:off x="6786563" y="3716338"/>
              <a:ext cx="161925" cy="161925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38" name="Ovale 37"/>
            <p:cNvSpPr/>
            <p:nvPr/>
          </p:nvSpPr>
          <p:spPr>
            <a:xfrm>
              <a:off x="6858000" y="3051175"/>
              <a:ext cx="161925" cy="161925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</p:grpSp>
      <p:sp>
        <p:nvSpPr>
          <p:cNvPr id="39" name="CasellaDiTesto 16"/>
          <p:cNvSpPr txBox="1">
            <a:spLocks noChangeArrowheads="1"/>
          </p:cNvSpPr>
          <p:nvPr/>
        </p:nvSpPr>
        <p:spPr bwMode="auto">
          <a:xfrm>
            <a:off x="7551708" y="4281949"/>
            <a:ext cx="2345355" cy="295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altLang="en-US" sz="661" dirty="0" err="1">
                <a:latin typeface="+mn-lt"/>
              </a:rPr>
              <a:t>Block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fully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erformed</a:t>
            </a:r>
            <a:r>
              <a:rPr lang="it-IT" altLang="en-US" sz="661" dirty="0">
                <a:latin typeface="+mn-lt"/>
              </a:rPr>
              <a:t> by Leonardo</a:t>
            </a:r>
          </a:p>
          <a:p>
            <a:pPr eaLnBrk="1" hangingPunct="1"/>
            <a:r>
              <a:rPr lang="it-IT" altLang="en-US" sz="661" dirty="0" err="1">
                <a:latin typeface="+mn-lt"/>
              </a:rPr>
              <a:t>Block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artially</a:t>
            </a:r>
            <a:r>
              <a:rPr lang="it-IT" altLang="en-US" sz="661" dirty="0">
                <a:latin typeface="+mn-lt"/>
              </a:rPr>
              <a:t> </a:t>
            </a:r>
            <a:r>
              <a:rPr lang="it-IT" altLang="en-US" sz="661" dirty="0" err="1">
                <a:latin typeface="+mn-lt"/>
              </a:rPr>
              <a:t>performed</a:t>
            </a:r>
            <a:r>
              <a:rPr lang="it-IT" altLang="en-US" sz="661" dirty="0">
                <a:latin typeface="+mn-lt"/>
              </a:rPr>
              <a:t> by Leonardo</a:t>
            </a:r>
          </a:p>
        </p:txBody>
      </p:sp>
      <p:grpSp>
        <p:nvGrpSpPr>
          <p:cNvPr id="41" name="Gruppo 40"/>
          <p:cNvGrpSpPr/>
          <p:nvPr/>
        </p:nvGrpSpPr>
        <p:grpSpPr>
          <a:xfrm>
            <a:off x="7512139" y="4340012"/>
            <a:ext cx="86457" cy="178607"/>
            <a:chOff x="6516218" y="4231606"/>
            <a:chExt cx="78424" cy="216016"/>
          </a:xfrm>
        </p:grpSpPr>
        <p:sp>
          <p:nvSpPr>
            <p:cNvPr id="44" name="Ovale 43"/>
            <p:cNvSpPr>
              <a:spLocks noChangeAspect="1"/>
            </p:cNvSpPr>
            <p:nvPr/>
          </p:nvSpPr>
          <p:spPr>
            <a:xfrm>
              <a:off x="6516218" y="4231606"/>
              <a:ext cx="72000" cy="72000"/>
            </a:xfrm>
            <a:prstGeom prst="ellipse">
              <a:avLst/>
            </a:prstGeom>
            <a:solidFill>
              <a:srgbClr val="00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45" name="Ovale 44"/>
            <p:cNvSpPr>
              <a:spLocks noChangeAspect="1"/>
            </p:cNvSpPr>
            <p:nvPr/>
          </p:nvSpPr>
          <p:spPr>
            <a:xfrm>
              <a:off x="6522642" y="4375622"/>
              <a:ext cx="72000" cy="7200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</p:grpSp>
      <p:sp>
        <p:nvSpPr>
          <p:cNvPr id="46" name="Text Box 10"/>
          <p:cNvSpPr txBox="1">
            <a:spLocks noChangeArrowheads="1"/>
          </p:cNvSpPr>
          <p:nvPr/>
        </p:nvSpPr>
        <p:spPr bwMode="auto">
          <a:xfrm>
            <a:off x="6829501" y="4623870"/>
            <a:ext cx="3251125" cy="474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it-IT"/>
            </a:defPPr>
            <a:lvl1pPr marL="87313" indent="-87313" eaLnBrk="1" hangingPunct="1">
              <a:buFont typeface="Arial" charset="0"/>
              <a:buChar char="•"/>
              <a:tabLst>
                <a:tab pos="87313" algn="l"/>
              </a:tabLst>
              <a:defRPr sz="1000">
                <a:latin typeface="Calibri" pitchFamily="34" charset="0"/>
                <a:ea typeface="MS PGothic" pitchFamily="34" charset="-128"/>
              </a:defRPr>
            </a:lvl1pPr>
            <a:lvl2pPr marL="742950" indent="-285750" eaLnBrk="0" hangingPunct="0">
              <a:tabLst>
                <a:tab pos="180975" algn="l"/>
              </a:tabLst>
              <a:defRPr>
                <a:latin typeface="Arial" charset="0"/>
              </a:defRPr>
            </a:lvl2pPr>
            <a:lvl3pPr marL="1143000" indent="-228600" eaLnBrk="0" hangingPunct="0">
              <a:tabLst>
                <a:tab pos="180975" algn="l"/>
              </a:tabLst>
              <a:defRPr>
                <a:latin typeface="Arial" charset="0"/>
              </a:defRPr>
            </a:lvl3pPr>
            <a:lvl4pPr marL="1600200" indent="-228600" eaLnBrk="0" hangingPunct="0">
              <a:tabLst>
                <a:tab pos="180975" algn="l"/>
              </a:tabLst>
              <a:defRPr>
                <a:latin typeface="Arial" charset="0"/>
              </a:defRPr>
            </a:lvl4pPr>
            <a:lvl5pPr marL="2057400" indent="-228600" eaLnBrk="0" hangingPunct="0">
              <a:tabLst>
                <a:tab pos="180975" algn="l"/>
              </a:tabLst>
              <a:defRPr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tabLst>
                <a:tab pos="180975" algn="l"/>
              </a:tabLst>
              <a:defRPr>
                <a:latin typeface="Arial" charset="0"/>
              </a:defRPr>
            </a:lvl9pPr>
          </a:lstStyle>
          <a:p>
            <a:r>
              <a:rPr lang="en-US" altLang="en-US" sz="827" dirty="0"/>
              <a:t>Cytec Material </a:t>
            </a:r>
            <a:r>
              <a:rPr lang="en-US" altLang="en-US" sz="827" dirty="0" err="1"/>
              <a:t>Qual</a:t>
            </a:r>
            <a:r>
              <a:rPr lang="en-US" altLang="en-US" sz="827" dirty="0"/>
              <a:t>  to LDO Specification NTA </a:t>
            </a:r>
          </a:p>
          <a:p>
            <a:r>
              <a:rPr lang="en-US" altLang="en-US" sz="827" dirty="0"/>
              <a:t>Basic </a:t>
            </a:r>
            <a:r>
              <a:rPr lang="en-US" altLang="en-US" sz="827" dirty="0" err="1"/>
              <a:t>Allowables</a:t>
            </a:r>
            <a:endParaRPr lang="en-US" altLang="en-US" sz="827" dirty="0"/>
          </a:p>
          <a:p>
            <a:r>
              <a:rPr lang="en-US" altLang="en-US" sz="827" dirty="0"/>
              <a:t>Process Specification NTA</a:t>
            </a:r>
          </a:p>
        </p:txBody>
      </p:sp>
      <p:cxnSp>
        <p:nvCxnSpPr>
          <p:cNvPr id="47" name="Connettore 1 46"/>
          <p:cNvCxnSpPr/>
          <p:nvPr/>
        </p:nvCxnSpPr>
        <p:spPr>
          <a:xfrm>
            <a:off x="3408014" y="334666"/>
            <a:ext cx="0" cy="5335787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Connettore 1 47"/>
          <p:cNvCxnSpPr/>
          <p:nvPr/>
        </p:nvCxnSpPr>
        <p:spPr>
          <a:xfrm>
            <a:off x="6843563" y="386415"/>
            <a:ext cx="0" cy="5335787"/>
          </a:xfrm>
          <a:prstGeom prst="line">
            <a:avLst/>
          </a:prstGeom>
          <a:ln>
            <a:solidFill>
              <a:schemeClr val="accent1">
                <a:alpha val="40000"/>
              </a:schemeClr>
            </a:solidFill>
          </a:ln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/>
        </p:nvSpPr>
        <p:spPr>
          <a:xfrm>
            <a:off x="2019101" y="5477227"/>
            <a:ext cx="6042422" cy="178254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sz="579" dirty="0"/>
              <a:t>© 2020 Leonardo </a:t>
            </a:r>
            <a:r>
              <a:rPr lang="en-US" sz="579" dirty="0" err="1"/>
              <a:t>S.p.a</a:t>
            </a:r>
            <a:r>
              <a:rPr lang="en-US" sz="579" dirty="0"/>
              <a:t>. All rights reserved. </a:t>
            </a:r>
            <a:endParaRPr lang="it-IT" sz="579" dirty="0"/>
          </a:p>
          <a:p>
            <a:pPr algn="ctr"/>
            <a:r>
              <a:rPr lang="en-US" sz="579" dirty="0"/>
              <a:t>This document contains information that is proprietary of Leonardo </a:t>
            </a:r>
            <a:r>
              <a:rPr lang="en-US" sz="579" dirty="0" err="1"/>
              <a:t>S.p.a</a:t>
            </a:r>
            <a:r>
              <a:rPr lang="en-US" sz="579" dirty="0"/>
              <a:t>.  The information may not be used, disclosed, or reproduced without the prior written authorization of Leonardo.</a:t>
            </a:r>
            <a:endParaRPr lang="it-IT" sz="579" dirty="0"/>
          </a:p>
        </p:txBody>
      </p:sp>
    </p:spTree>
    <p:extLst>
      <p:ext uri="{BB962C8B-B14F-4D97-AF65-F5344CB8AC3E}">
        <p14:creationId xmlns:p14="http://schemas.microsoft.com/office/powerpoint/2010/main" val="1035136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err="1" smtClean="0"/>
              <a:t>Assemblaggio</a:t>
            </a:r>
            <a:r>
              <a:rPr lang="en-US" dirty="0" smtClean="0"/>
              <a:t> </a:t>
            </a:r>
            <a:r>
              <a:rPr lang="en-US" dirty="0" err="1" smtClean="0"/>
              <a:t>ed</a:t>
            </a:r>
            <a:r>
              <a:rPr lang="en-US" dirty="0" smtClean="0"/>
              <a:t> </a:t>
            </a:r>
            <a:r>
              <a:rPr lang="en-US" dirty="0" err="1" smtClean="0"/>
              <a:t>installazione</a:t>
            </a:r>
            <a:r>
              <a:rPr lang="en-US" dirty="0" smtClean="0"/>
              <a:t> </a:t>
            </a:r>
            <a:r>
              <a:rPr lang="en-US" dirty="0" err="1" smtClean="0"/>
              <a:t>dello</a:t>
            </a:r>
            <a:r>
              <a:rPr lang="en-US" dirty="0" smtClean="0"/>
              <a:t> shim</a:t>
            </a:r>
            <a:endParaRPr lang="en-US" dirty="0"/>
          </a:p>
        </p:txBody>
      </p:sp>
      <p:pic>
        <p:nvPicPr>
          <p:cNvPr id="2051" name="Picture 3" descr="C:\Users\uaa16vx\Desktop\12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753642" y="1583285"/>
            <a:ext cx="3908900" cy="2645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1" name="Gruppo 10"/>
          <p:cNvGrpSpPr/>
          <p:nvPr/>
        </p:nvGrpSpPr>
        <p:grpSpPr>
          <a:xfrm>
            <a:off x="3146428" y="2188369"/>
            <a:ext cx="620604" cy="2367441"/>
            <a:chOff x="1768415" y="1190444"/>
            <a:chExt cx="1329667" cy="5072332"/>
          </a:xfrm>
        </p:grpSpPr>
        <p:cxnSp>
          <p:nvCxnSpPr>
            <p:cNvPr id="12" name="Connettore 1 11"/>
            <p:cNvCxnSpPr/>
            <p:nvPr/>
          </p:nvCxnSpPr>
          <p:spPr>
            <a:xfrm flipV="1">
              <a:off x="2080165" y="1207697"/>
              <a:ext cx="1017917" cy="5055079"/>
            </a:xfrm>
            <a:prstGeom prst="line">
              <a:avLst/>
            </a:prstGeom>
            <a:ln>
              <a:solidFill>
                <a:schemeClr val="tx1"/>
              </a:solidFill>
              <a:prstDash val="dash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Freccia a destra 12"/>
            <p:cNvSpPr/>
            <p:nvPr/>
          </p:nvSpPr>
          <p:spPr>
            <a:xfrm rot="858103">
              <a:off x="2682816" y="1190444"/>
              <a:ext cx="370936" cy="405442"/>
            </a:xfrm>
            <a:prstGeom prst="rightArrow">
              <a:avLst/>
            </a:prstGeom>
            <a:solidFill>
              <a:srgbClr val="FFFF00"/>
            </a:solidFill>
            <a:ln w="444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4" name="Freccia a destra 13"/>
            <p:cNvSpPr/>
            <p:nvPr/>
          </p:nvSpPr>
          <p:spPr>
            <a:xfrm rot="858103">
              <a:off x="1768415" y="5684807"/>
              <a:ext cx="370936" cy="405442"/>
            </a:xfrm>
            <a:prstGeom prst="rightArrow">
              <a:avLst/>
            </a:prstGeom>
            <a:solidFill>
              <a:srgbClr val="FFFF00"/>
            </a:solidFill>
            <a:ln w="444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</p:grpSp>
      <p:pic>
        <p:nvPicPr>
          <p:cNvPr id="16" name="Picture 5" descr="C:\Users\uaa16vx\Desktop\14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77139" y="2261963"/>
            <a:ext cx="1362636" cy="2205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Freccia curva 2"/>
          <p:cNvSpPr/>
          <p:nvPr/>
        </p:nvSpPr>
        <p:spPr>
          <a:xfrm flipV="1">
            <a:off x="6556308" y="3149434"/>
            <a:ext cx="585096" cy="415692"/>
          </a:xfrm>
          <a:custGeom>
            <a:avLst/>
            <a:gdLst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404499 h 2651760"/>
              <a:gd name="connsiteX6" fmla="*/ 4432678 w 4432678"/>
              <a:gd name="connsiteY6" fmla="*/ 808999 h 2651760"/>
              <a:gd name="connsiteX7" fmla="*/ 4432678 w 4432678"/>
              <a:gd name="connsiteY7" fmla="*/ 533720 h 2651760"/>
              <a:gd name="connsiteX8" fmla="*/ 575856 w 4432678"/>
              <a:gd name="connsiteY8" fmla="*/ 533720 h 2651760"/>
              <a:gd name="connsiteX9" fmla="*/ 258440 w 4432678"/>
              <a:gd name="connsiteY9" fmla="*/ 851136 h 2651760"/>
              <a:gd name="connsiteX10" fmla="*/ 258441 w 4432678"/>
              <a:gd name="connsiteY10" fmla="*/ 2651760 h 2651760"/>
              <a:gd name="connsiteX11" fmla="*/ 0 w 4432678"/>
              <a:gd name="connsiteY11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808999 h 2651760"/>
              <a:gd name="connsiteX6" fmla="*/ 4432678 w 4432678"/>
              <a:gd name="connsiteY6" fmla="*/ 533720 h 2651760"/>
              <a:gd name="connsiteX7" fmla="*/ 575856 w 4432678"/>
              <a:gd name="connsiteY7" fmla="*/ 533720 h 2651760"/>
              <a:gd name="connsiteX8" fmla="*/ 258440 w 4432678"/>
              <a:gd name="connsiteY8" fmla="*/ 851136 h 2651760"/>
              <a:gd name="connsiteX9" fmla="*/ 258441 w 4432678"/>
              <a:gd name="connsiteY9" fmla="*/ 2651760 h 2651760"/>
              <a:gd name="connsiteX10" fmla="*/ 0 w 4432678"/>
              <a:gd name="connsiteY10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533720 h 2651760"/>
              <a:gd name="connsiteX6" fmla="*/ 575856 w 4432678"/>
              <a:gd name="connsiteY6" fmla="*/ 533720 h 2651760"/>
              <a:gd name="connsiteX7" fmla="*/ 258440 w 4432678"/>
              <a:gd name="connsiteY7" fmla="*/ 851136 h 2651760"/>
              <a:gd name="connsiteX8" fmla="*/ 258441 w 4432678"/>
              <a:gd name="connsiteY8" fmla="*/ 2651760 h 2651760"/>
              <a:gd name="connsiteX9" fmla="*/ 0 w 4432678"/>
              <a:gd name="connsiteY9" fmla="*/ 2651760 h 2651760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4432678 w 4432678"/>
              <a:gd name="connsiteY3" fmla="*/ 0 h 2376481"/>
              <a:gd name="connsiteX4" fmla="*/ 4432678 w 4432678"/>
              <a:gd name="connsiteY4" fmla="*/ 258441 h 2376481"/>
              <a:gd name="connsiteX5" fmla="*/ 575856 w 4432678"/>
              <a:gd name="connsiteY5" fmla="*/ 258441 h 2376481"/>
              <a:gd name="connsiteX6" fmla="*/ 258440 w 4432678"/>
              <a:gd name="connsiteY6" fmla="*/ 575857 h 2376481"/>
              <a:gd name="connsiteX7" fmla="*/ 258441 w 4432678"/>
              <a:gd name="connsiteY7" fmla="*/ 2376481 h 2376481"/>
              <a:gd name="connsiteX8" fmla="*/ 0 w 4432678"/>
              <a:gd name="connsiteY8" fmla="*/ 2376481 h 2376481"/>
              <a:gd name="connsiteX0" fmla="*/ 0 w 5001323"/>
              <a:gd name="connsiteY0" fmla="*/ 2376481 h 2376481"/>
              <a:gd name="connsiteX1" fmla="*/ 0 w 5001323"/>
              <a:gd name="connsiteY1" fmla="*/ 575856 h 2376481"/>
              <a:gd name="connsiteX2" fmla="*/ 575856 w 5001323"/>
              <a:gd name="connsiteY2" fmla="*/ 0 h 2376481"/>
              <a:gd name="connsiteX3" fmla="*/ 4432678 w 5001323"/>
              <a:gd name="connsiteY3" fmla="*/ 0 h 2376481"/>
              <a:gd name="connsiteX4" fmla="*/ 5001323 w 5001323"/>
              <a:gd name="connsiteY4" fmla="*/ 988202 h 2376481"/>
              <a:gd name="connsiteX5" fmla="*/ 575856 w 5001323"/>
              <a:gd name="connsiteY5" fmla="*/ 258441 h 2376481"/>
              <a:gd name="connsiteX6" fmla="*/ 258440 w 5001323"/>
              <a:gd name="connsiteY6" fmla="*/ 575857 h 2376481"/>
              <a:gd name="connsiteX7" fmla="*/ 258441 w 5001323"/>
              <a:gd name="connsiteY7" fmla="*/ 2376481 h 2376481"/>
              <a:gd name="connsiteX8" fmla="*/ 0 w 5001323"/>
              <a:gd name="connsiteY8" fmla="*/ 2376481 h 2376481"/>
              <a:gd name="connsiteX0" fmla="*/ 0 w 5001323"/>
              <a:gd name="connsiteY0" fmla="*/ 2376481 h 2376481"/>
              <a:gd name="connsiteX1" fmla="*/ 0 w 5001323"/>
              <a:gd name="connsiteY1" fmla="*/ 575856 h 2376481"/>
              <a:gd name="connsiteX2" fmla="*/ 575856 w 5001323"/>
              <a:gd name="connsiteY2" fmla="*/ 0 h 2376481"/>
              <a:gd name="connsiteX3" fmla="*/ 4977628 w 5001323"/>
              <a:gd name="connsiteY3" fmla="*/ 807949 h 2376481"/>
              <a:gd name="connsiteX4" fmla="*/ 5001323 w 5001323"/>
              <a:gd name="connsiteY4" fmla="*/ 988202 h 2376481"/>
              <a:gd name="connsiteX5" fmla="*/ 575856 w 5001323"/>
              <a:gd name="connsiteY5" fmla="*/ 258441 h 2376481"/>
              <a:gd name="connsiteX6" fmla="*/ 258440 w 5001323"/>
              <a:gd name="connsiteY6" fmla="*/ 575857 h 2376481"/>
              <a:gd name="connsiteX7" fmla="*/ 258441 w 5001323"/>
              <a:gd name="connsiteY7" fmla="*/ 2376481 h 2376481"/>
              <a:gd name="connsiteX8" fmla="*/ 0 w 5001323"/>
              <a:gd name="connsiteY8" fmla="*/ 2376481 h 2376481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575856 w 5001323"/>
              <a:gd name="connsiteY5" fmla="*/ 610290 h 2728330"/>
              <a:gd name="connsiteX6" fmla="*/ 258440 w 5001323"/>
              <a:gd name="connsiteY6" fmla="*/ 927706 h 2728330"/>
              <a:gd name="connsiteX7" fmla="*/ 258441 w 5001323"/>
              <a:gd name="connsiteY7" fmla="*/ 2728330 h 2728330"/>
              <a:gd name="connsiteX8" fmla="*/ 0 w 5001323"/>
              <a:gd name="connsiteY8" fmla="*/ 2728330 h 2728330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2364715 w 5001323"/>
              <a:gd name="connsiteY5" fmla="*/ 232379 h 2728330"/>
              <a:gd name="connsiteX6" fmla="*/ 258440 w 5001323"/>
              <a:gd name="connsiteY6" fmla="*/ 927706 h 2728330"/>
              <a:gd name="connsiteX7" fmla="*/ 258441 w 5001323"/>
              <a:gd name="connsiteY7" fmla="*/ 2728330 h 2728330"/>
              <a:gd name="connsiteX8" fmla="*/ 0 w 5001323"/>
              <a:gd name="connsiteY8" fmla="*/ 2728330 h 2728330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2352869 w 5001323"/>
              <a:gd name="connsiteY5" fmla="*/ 180252 h 2728330"/>
              <a:gd name="connsiteX6" fmla="*/ 258440 w 5001323"/>
              <a:gd name="connsiteY6" fmla="*/ 927706 h 2728330"/>
              <a:gd name="connsiteX7" fmla="*/ 258441 w 5001323"/>
              <a:gd name="connsiteY7" fmla="*/ 2728330 h 2728330"/>
              <a:gd name="connsiteX8" fmla="*/ 0 w 5001323"/>
              <a:gd name="connsiteY8" fmla="*/ 2728330 h 2728330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2376564 w 5001323"/>
              <a:gd name="connsiteY5" fmla="*/ 219348 h 2728330"/>
              <a:gd name="connsiteX6" fmla="*/ 258440 w 5001323"/>
              <a:gd name="connsiteY6" fmla="*/ 927706 h 2728330"/>
              <a:gd name="connsiteX7" fmla="*/ 258441 w 5001323"/>
              <a:gd name="connsiteY7" fmla="*/ 2728330 h 2728330"/>
              <a:gd name="connsiteX8" fmla="*/ 0 w 5001323"/>
              <a:gd name="connsiteY8" fmla="*/ 2728330 h 2728330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2376564 w 5001323"/>
              <a:gd name="connsiteY5" fmla="*/ 219348 h 2728330"/>
              <a:gd name="connsiteX6" fmla="*/ 2165766 w 5001323"/>
              <a:gd name="connsiteY6" fmla="*/ 328259 h 2728330"/>
              <a:gd name="connsiteX7" fmla="*/ 258441 w 5001323"/>
              <a:gd name="connsiteY7" fmla="*/ 2728330 h 2728330"/>
              <a:gd name="connsiteX8" fmla="*/ 0 w 5001323"/>
              <a:gd name="connsiteY8" fmla="*/ 2728330 h 2728330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2376564 w 5001323"/>
              <a:gd name="connsiteY5" fmla="*/ 219348 h 2728330"/>
              <a:gd name="connsiteX6" fmla="*/ 2165766 w 5001323"/>
              <a:gd name="connsiteY6" fmla="*/ 328259 h 2728330"/>
              <a:gd name="connsiteX7" fmla="*/ 2473782 w 5001323"/>
              <a:gd name="connsiteY7" fmla="*/ 2089789 h 2728330"/>
              <a:gd name="connsiteX8" fmla="*/ 0 w 5001323"/>
              <a:gd name="connsiteY8" fmla="*/ 2728330 h 2728330"/>
              <a:gd name="connsiteX0" fmla="*/ 0 w 5001323"/>
              <a:gd name="connsiteY0" fmla="*/ 2728330 h 2728330"/>
              <a:gd name="connsiteX1" fmla="*/ 0 w 5001323"/>
              <a:gd name="connsiteY1" fmla="*/ 927705 h 2728330"/>
              <a:gd name="connsiteX2" fmla="*/ 2281789 w 5001323"/>
              <a:gd name="connsiteY2" fmla="*/ 0 h 2728330"/>
              <a:gd name="connsiteX3" fmla="*/ 4977628 w 5001323"/>
              <a:gd name="connsiteY3" fmla="*/ 1159798 h 2728330"/>
              <a:gd name="connsiteX4" fmla="*/ 5001323 w 5001323"/>
              <a:gd name="connsiteY4" fmla="*/ 1340051 h 2728330"/>
              <a:gd name="connsiteX5" fmla="*/ 2376564 w 5001323"/>
              <a:gd name="connsiteY5" fmla="*/ 219348 h 2728330"/>
              <a:gd name="connsiteX6" fmla="*/ 2165766 w 5001323"/>
              <a:gd name="connsiteY6" fmla="*/ 328259 h 2728330"/>
              <a:gd name="connsiteX7" fmla="*/ 2473782 w 5001323"/>
              <a:gd name="connsiteY7" fmla="*/ 2089789 h 2728330"/>
              <a:gd name="connsiteX8" fmla="*/ 0 w 5001323"/>
              <a:gd name="connsiteY8" fmla="*/ 2728330 h 2728330"/>
              <a:gd name="connsiteX0" fmla="*/ 2345656 w 5001323"/>
              <a:gd name="connsiteY0" fmla="*/ 2050696 h 2089789"/>
              <a:gd name="connsiteX1" fmla="*/ 0 w 5001323"/>
              <a:gd name="connsiteY1" fmla="*/ 927705 h 2089789"/>
              <a:gd name="connsiteX2" fmla="*/ 2281789 w 5001323"/>
              <a:gd name="connsiteY2" fmla="*/ 0 h 2089789"/>
              <a:gd name="connsiteX3" fmla="*/ 4977628 w 5001323"/>
              <a:gd name="connsiteY3" fmla="*/ 1159798 h 2089789"/>
              <a:gd name="connsiteX4" fmla="*/ 5001323 w 5001323"/>
              <a:gd name="connsiteY4" fmla="*/ 1340051 h 2089789"/>
              <a:gd name="connsiteX5" fmla="*/ 2376564 w 5001323"/>
              <a:gd name="connsiteY5" fmla="*/ 219348 h 2089789"/>
              <a:gd name="connsiteX6" fmla="*/ 2165766 w 5001323"/>
              <a:gd name="connsiteY6" fmla="*/ 328259 h 2089789"/>
              <a:gd name="connsiteX7" fmla="*/ 2473782 w 5001323"/>
              <a:gd name="connsiteY7" fmla="*/ 2089789 h 2089789"/>
              <a:gd name="connsiteX8" fmla="*/ 2345656 w 5001323"/>
              <a:gd name="connsiteY8" fmla="*/ 2050696 h 2089789"/>
              <a:gd name="connsiteX0" fmla="*/ 298434 w 2954101"/>
              <a:gd name="connsiteY0" fmla="*/ 2050696 h 2089789"/>
              <a:gd name="connsiteX1" fmla="*/ 14113 w 2954101"/>
              <a:gd name="connsiteY1" fmla="*/ 367355 h 2089789"/>
              <a:gd name="connsiteX2" fmla="*/ 234567 w 2954101"/>
              <a:gd name="connsiteY2" fmla="*/ 0 h 2089789"/>
              <a:gd name="connsiteX3" fmla="*/ 2930406 w 2954101"/>
              <a:gd name="connsiteY3" fmla="*/ 1159798 h 2089789"/>
              <a:gd name="connsiteX4" fmla="*/ 2954101 w 2954101"/>
              <a:gd name="connsiteY4" fmla="*/ 1340051 h 2089789"/>
              <a:gd name="connsiteX5" fmla="*/ 329342 w 2954101"/>
              <a:gd name="connsiteY5" fmla="*/ 219348 h 2089789"/>
              <a:gd name="connsiteX6" fmla="*/ 118544 w 2954101"/>
              <a:gd name="connsiteY6" fmla="*/ 328259 h 2089789"/>
              <a:gd name="connsiteX7" fmla="*/ 426560 w 2954101"/>
              <a:gd name="connsiteY7" fmla="*/ 2089789 h 2089789"/>
              <a:gd name="connsiteX8" fmla="*/ 298434 w 2954101"/>
              <a:gd name="connsiteY8" fmla="*/ 2050696 h 2089789"/>
              <a:gd name="connsiteX0" fmla="*/ 306689 w 2962356"/>
              <a:gd name="connsiteY0" fmla="*/ 2051378 h 2090471"/>
              <a:gd name="connsiteX1" fmla="*/ 10521 w 2962356"/>
              <a:gd name="connsiteY1" fmla="*/ 289848 h 2090471"/>
              <a:gd name="connsiteX2" fmla="*/ 242822 w 2962356"/>
              <a:gd name="connsiteY2" fmla="*/ 682 h 2090471"/>
              <a:gd name="connsiteX3" fmla="*/ 2938661 w 2962356"/>
              <a:gd name="connsiteY3" fmla="*/ 1160480 h 2090471"/>
              <a:gd name="connsiteX4" fmla="*/ 2962356 w 2962356"/>
              <a:gd name="connsiteY4" fmla="*/ 1340733 h 2090471"/>
              <a:gd name="connsiteX5" fmla="*/ 337597 w 2962356"/>
              <a:gd name="connsiteY5" fmla="*/ 220030 h 2090471"/>
              <a:gd name="connsiteX6" fmla="*/ 126799 w 2962356"/>
              <a:gd name="connsiteY6" fmla="*/ 328941 h 2090471"/>
              <a:gd name="connsiteX7" fmla="*/ 434815 w 2962356"/>
              <a:gd name="connsiteY7" fmla="*/ 2090471 h 2090471"/>
              <a:gd name="connsiteX8" fmla="*/ 306689 w 2962356"/>
              <a:gd name="connsiteY8" fmla="*/ 2051378 h 2090471"/>
              <a:gd name="connsiteX0" fmla="*/ 317203 w 2972870"/>
              <a:gd name="connsiteY0" fmla="*/ 2050696 h 2089789"/>
              <a:gd name="connsiteX1" fmla="*/ 21035 w 2972870"/>
              <a:gd name="connsiteY1" fmla="*/ 289166 h 2089789"/>
              <a:gd name="connsiteX2" fmla="*/ 253336 w 2972870"/>
              <a:gd name="connsiteY2" fmla="*/ 0 h 2089789"/>
              <a:gd name="connsiteX3" fmla="*/ 2949175 w 2972870"/>
              <a:gd name="connsiteY3" fmla="*/ 1159798 h 2089789"/>
              <a:gd name="connsiteX4" fmla="*/ 2972870 w 2972870"/>
              <a:gd name="connsiteY4" fmla="*/ 1340051 h 2089789"/>
              <a:gd name="connsiteX5" fmla="*/ 348111 w 2972870"/>
              <a:gd name="connsiteY5" fmla="*/ 219348 h 2089789"/>
              <a:gd name="connsiteX6" fmla="*/ 137313 w 2972870"/>
              <a:gd name="connsiteY6" fmla="*/ 328259 h 2089789"/>
              <a:gd name="connsiteX7" fmla="*/ 445329 w 2972870"/>
              <a:gd name="connsiteY7" fmla="*/ 2089789 h 2089789"/>
              <a:gd name="connsiteX8" fmla="*/ 317203 w 2972870"/>
              <a:gd name="connsiteY8" fmla="*/ 2050696 h 2089789"/>
              <a:gd name="connsiteX0" fmla="*/ 300235 w 2955902"/>
              <a:gd name="connsiteY0" fmla="*/ 2060983 h 2100076"/>
              <a:gd name="connsiteX1" fmla="*/ 4067 w 2955902"/>
              <a:gd name="connsiteY1" fmla="*/ 299453 h 2100076"/>
              <a:gd name="connsiteX2" fmla="*/ 236368 w 2955902"/>
              <a:gd name="connsiteY2" fmla="*/ 10287 h 2100076"/>
              <a:gd name="connsiteX3" fmla="*/ 2932207 w 2955902"/>
              <a:gd name="connsiteY3" fmla="*/ 1170085 h 2100076"/>
              <a:gd name="connsiteX4" fmla="*/ 2955902 w 2955902"/>
              <a:gd name="connsiteY4" fmla="*/ 1350338 h 2100076"/>
              <a:gd name="connsiteX5" fmla="*/ 331143 w 2955902"/>
              <a:gd name="connsiteY5" fmla="*/ 229635 h 2100076"/>
              <a:gd name="connsiteX6" fmla="*/ 120345 w 2955902"/>
              <a:gd name="connsiteY6" fmla="*/ 338546 h 2100076"/>
              <a:gd name="connsiteX7" fmla="*/ 428361 w 2955902"/>
              <a:gd name="connsiteY7" fmla="*/ 2100076 h 2100076"/>
              <a:gd name="connsiteX8" fmla="*/ 300235 w 2955902"/>
              <a:gd name="connsiteY8" fmla="*/ 2060983 h 2100076"/>
              <a:gd name="connsiteX0" fmla="*/ 300235 w 2955902"/>
              <a:gd name="connsiteY0" fmla="*/ 2060983 h 2100076"/>
              <a:gd name="connsiteX1" fmla="*/ 4067 w 2955902"/>
              <a:gd name="connsiteY1" fmla="*/ 299453 h 2100076"/>
              <a:gd name="connsiteX2" fmla="*/ 236368 w 2955902"/>
              <a:gd name="connsiteY2" fmla="*/ 10287 h 2100076"/>
              <a:gd name="connsiteX3" fmla="*/ 2932207 w 2955902"/>
              <a:gd name="connsiteY3" fmla="*/ 1170085 h 2100076"/>
              <a:gd name="connsiteX4" fmla="*/ 2955902 w 2955902"/>
              <a:gd name="connsiteY4" fmla="*/ 1350338 h 2100076"/>
              <a:gd name="connsiteX5" fmla="*/ 331143 w 2955902"/>
              <a:gd name="connsiteY5" fmla="*/ 229635 h 2100076"/>
              <a:gd name="connsiteX6" fmla="*/ 120345 w 2955902"/>
              <a:gd name="connsiteY6" fmla="*/ 338546 h 2100076"/>
              <a:gd name="connsiteX7" fmla="*/ 428361 w 2955902"/>
              <a:gd name="connsiteY7" fmla="*/ 2100076 h 2100076"/>
              <a:gd name="connsiteX8" fmla="*/ 300235 w 2955902"/>
              <a:gd name="connsiteY8" fmla="*/ 2060983 h 21000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55902" h="2100076">
                <a:moveTo>
                  <a:pt x="300235" y="2060983"/>
                </a:moveTo>
                <a:lnTo>
                  <a:pt x="4067" y="299453"/>
                </a:lnTo>
                <a:cubicBezTo>
                  <a:pt x="-19625" y="111729"/>
                  <a:pt x="60493" y="-41840"/>
                  <a:pt x="236368" y="10287"/>
                </a:cubicBezTo>
                <a:lnTo>
                  <a:pt x="2932207" y="1170085"/>
                </a:lnTo>
                <a:lnTo>
                  <a:pt x="2955902" y="1350338"/>
                </a:lnTo>
                <a:lnTo>
                  <a:pt x="331143" y="229635"/>
                </a:lnTo>
                <a:cubicBezTo>
                  <a:pt x="179534" y="151444"/>
                  <a:pt x="120345" y="163242"/>
                  <a:pt x="120345" y="338546"/>
                </a:cubicBezTo>
                <a:lnTo>
                  <a:pt x="428361" y="2100076"/>
                </a:lnTo>
                <a:lnTo>
                  <a:pt x="300235" y="2060983"/>
                </a:lnTo>
                <a:close/>
              </a:path>
            </a:pathLst>
          </a:custGeom>
          <a:pattFill prst="dkDnDiag">
            <a:fgClr>
              <a:schemeClr val="accent4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18" name="Freccia curva 4"/>
          <p:cNvSpPr/>
          <p:nvPr/>
        </p:nvSpPr>
        <p:spPr>
          <a:xfrm flipV="1">
            <a:off x="6350939" y="2587656"/>
            <a:ext cx="373522" cy="1302087"/>
          </a:xfrm>
          <a:custGeom>
            <a:avLst/>
            <a:gdLst>
              <a:gd name="connsiteX0" fmla="*/ 0 w 1042416"/>
              <a:gd name="connsiteY0" fmla="*/ 1993392 h 1993392"/>
              <a:gd name="connsiteX1" fmla="*/ 0 w 1042416"/>
              <a:gd name="connsiteY1" fmla="*/ 456057 h 1993392"/>
              <a:gd name="connsiteX2" fmla="*/ 456057 w 1042416"/>
              <a:gd name="connsiteY2" fmla="*/ 0 h 1993392"/>
              <a:gd name="connsiteX3" fmla="*/ 1042416 w 1042416"/>
              <a:gd name="connsiteY3" fmla="*/ 0 h 1993392"/>
              <a:gd name="connsiteX4" fmla="*/ 1042416 w 1042416"/>
              <a:gd name="connsiteY4" fmla="*/ 0 h 1993392"/>
              <a:gd name="connsiteX5" fmla="*/ 1042416 w 1042416"/>
              <a:gd name="connsiteY5" fmla="*/ 108140 h 1993392"/>
              <a:gd name="connsiteX6" fmla="*/ 1042416 w 1042416"/>
              <a:gd name="connsiteY6" fmla="*/ 216280 h 1993392"/>
              <a:gd name="connsiteX7" fmla="*/ 1042416 w 1042416"/>
              <a:gd name="connsiteY7" fmla="*/ 216280 h 1993392"/>
              <a:gd name="connsiteX8" fmla="*/ 456057 w 1042416"/>
              <a:gd name="connsiteY8" fmla="*/ 216280 h 1993392"/>
              <a:gd name="connsiteX9" fmla="*/ 216280 w 1042416"/>
              <a:gd name="connsiteY9" fmla="*/ 456057 h 1993392"/>
              <a:gd name="connsiteX10" fmla="*/ 216280 w 1042416"/>
              <a:gd name="connsiteY10" fmla="*/ 1993392 h 1993392"/>
              <a:gd name="connsiteX11" fmla="*/ 0 w 1042416"/>
              <a:gd name="connsiteY11" fmla="*/ 1993392 h 1993392"/>
              <a:gd name="connsiteX0" fmla="*/ 0 w 1042416"/>
              <a:gd name="connsiteY0" fmla="*/ 1993392 h 1993392"/>
              <a:gd name="connsiteX1" fmla="*/ 0 w 1042416"/>
              <a:gd name="connsiteY1" fmla="*/ 456057 h 1993392"/>
              <a:gd name="connsiteX2" fmla="*/ 456057 w 1042416"/>
              <a:gd name="connsiteY2" fmla="*/ 0 h 1993392"/>
              <a:gd name="connsiteX3" fmla="*/ 1042416 w 1042416"/>
              <a:gd name="connsiteY3" fmla="*/ 0 h 1993392"/>
              <a:gd name="connsiteX4" fmla="*/ 1042416 w 1042416"/>
              <a:gd name="connsiteY4" fmla="*/ 0 h 1993392"/>
              <a:gd name="connsiteX5" fmla="*/ 1042416 w 1042416"/>
              <a:gd name="connsiteY5" fmla="*/ 216280 h 1993392"/>
              <a:gd name="connsiteX6" fmla="*/ 1042416 w 1042416"/>
              <a:gd name="connsiteY6" fmla="*/ 216280 h 1993392"/>
              <a:gd name="connsiteX7" fmla="*/ 456057 w 1042416"/>
              <a:gd name="connsiteY7" fmla="*/ 216280 h 1993392"/>
              <a:gd name="connsiteX8" fmla="*/ 216280 w 1042416"/>
              <a:gd name="connsiteY8" fmla="*/ 456057 h 1993392"/>
              <a:gd name="connsiteX9" fmla="*/ 216280 w 1042416"/>
              <a:gd name="connsiteY9" fmla="*/ 1993392 h 1993392"/>
              <a:gd name="connsiteX10" fmla="*/ 0 w 1042416"/>
              <a:gd name="connsiteY10" fmla="*/ 1993392 h 1993392"/>
              <a:gd name="connsiteX0" fmla="*/ 0 w 1042416"/>
              <a:gd name="connsiteY0" fmla="*/ 2154155 h 2154155"/>
              <a:gd name="connsiteX1" fmla="*/ 0 w 1042416"/>
              <a:gd name="connsiteY1" fmla="*/ 616820 h 2154155"/>
              <a:gd name="connsiteX2" fmla="*/ 237744 w 1042416"/>
              <a:gd name="connsiteY2" fmla="*/ 14459 h 2154155"/>
              <a:gd name="connsiteX3" fmla="*/ 456057 w 1042416"/>
              <a:gd name="connsiteY3" fmla="*/ 160763 h 2154155"/>
              <a:gd name="connsiteX4" fmla="*/ 1042416 w 1042416"/>
              <a:gd name="connsiteY4" fmla="*/ 160763 h 2154155"/>
              <a:gd name="connsiteX5" fmla="*/ 1042416 w 1042416"/>
              <a:gd name="connsiteY5" fmla="*/ 160763 h 2154155"/>
              <a:gd name="connsiteX6" fmla="*/ 1042416 w 1042416"/>
              <a:gd name="connsiteY6" fmla="*/ 377043 h 2154155"/>
              <a:gd name="connsiteX7" fmla="*/ 1042416 w 1042416"/>
              <a:gd name="connsiteY7" fmla="*/ 377043 h 2154155"/>
              <a:gd name="connsiteX8" fmla="*/ 456057 w 1042416"/>
              <a:gd name="connsiteY8" fmla="*/ 377043 h 2154155"/>
              <a:gd name="connsiteX9" fmla="*/ 216280 w 1042416"/>
              <a:gd name="connsiteY9" fmla="*/ 616820 h 2154155"/>
              <a:gd name="connsiteX10" fmla="*/ 216280 w 1042416"/>
              <a:gd name="connsiteY10" fmla="*/ 2154155 h 2154155"/>
              <a:gd name="connsiteX11" fmla="*/ 0 w 1042416"/>
              <a:gd name="connsiteY11" fmla="*/ 2154155 h 2154155"/>
              <a:gd name="connsiteX0" fmla="*/ 0 w 1042416"/>
              <a:gd name="connsiteY0" fmla="*/ 2707689 h 2707689"/>
              <a:gd name="connsiteX1" fmla="*/ 0 w 1042416"/>
              <a:gd name="connsiteY1" fmla="*/ 1170354 h 2707689"/>
              <a:gd name="connsiteX2" fmla="*/ 265176 w 1042416"/>
              <a:gd name="connsiteY2" fmla="*/ 10209 h 2707689"/>
              <a:gd name="connsiteX3" fmla="*/ 237744 w 1042416"/>
              <a:gd name="connsiteY3" fmla="*/ 567993 h 2707689"/>
              <a:gd name="connsiteX4" fmla="*/ 456057 w 1042416"/>
              <a:gd name="connsiteY4" fmla="*/ 714297 h 2707689"/>
              <a:gd name="connsiteX5" fmla="*/ 1042416 w 1042416"/>
              <a:gd name="connsiteY5" fmla="*/ 714297 h 2707689"/>
              <a:gd name="connsiteX6" fmla="*/ 1042416 w 1042416"/>
              <a:gd name="connsiteY6" fmla="*/ 714297 h 2707689"/>
              <a:gd name="connsiteX7" fmla="*/ 1042416 w 1042416"/>
              <a:gd name="connsiteY7" fmla="*/ 930577 h 2707689"/>
              <a:gd name="connsiteX8" fmla="*/ 1042416 w 1042416"/>
              <a:gd name="connsiteY8" fmla="*/ 930577 h 2707689"/>
              <a:gd name="connsiteX9" fmla="*/ 456057 w 1042416"/>
              <a:gd name="connsiteY9" fmla="*/ 930577 h 2707689"/>
              <a:gd name="connsiteX10" fmla="*/ 216280 w 1042416"/>
              <a:gd name="connsiteY10" fmla="*/ 1170354 h 2707689"/>
              <a:gd name="connsiteX11" fmla="*/ 216280 w 1042416"/>
              <a:gd name="connsiteY11" fmla="*/ 2707689 h 2707689"/>
              <a:gd name="connsiteX12" fmla="*/ 0 w 1042416"/>
              <a:gd name="connsiteY12" fmla="*/ 2707689 h 2707689"/>
              <a:gd name="connsiteX0" fmla="*/ 192024 w 1234440"/>
              <a:gd name="connsiteY0" fmla="*/ 2776488 h 2776488"/>
              <a:gd name="connsiteX1" fmla="*/ 0 w 1234440"/>
              <a:gd name="connsiteY1" fmla="*/ 132729 h 2776488"/>
              <a:gd name="connsiteX2" fmla="*/ 457200 w 1234440"/>
              <a:gd name="connsiteY2" fmla="*/ 79008 h 2776488"/>
              <a:gd name="connsiteX3" fmla="*/ 429768 w 1234440"/>
              <a:gd name="connsiteY3" fmla="*/ 636792 h 2776488"/>
              <a:gd name="connsiteX4" fmla="*/ 648081 w 1234440"/>
              <a:gd name="connsiteY4" fmla="*/ 783096 h 2776488"/>
              <a:gd name="connsiteX5" fmla="*/ 1234440 w 1234440"/>
              <a:gd name="connsiteY5" fmla="*/ 783096 h 2776488"/>
              <a:gd name="connsiteX6" fmla="*/ 1234440 w 1234440"/>
              <a:gd name="connsiteY6" fmla="*/ 783096 h 2776488"/>
              <a:gd name="connsiteX7" fmla="*/ 1234440 w 1234440"/>
              <a:gd name="connsiteY7" fmla="*/ 999376 h 2776488"/>
              <a:gd name="connsiteX8" fmla="*/ 1234440 w 1234440"/>
              <a:gd name="connsiteY8" fmla="*/ 999376 h 2776488"/>
              <a:gd name="connsiteX9" fmla="*/ 648081 w 1234440"/>
              <a:gd name="connsiteY9" fmla="*/ 999376 h 2776488"/>
              <a:gd name="connsiteX10" fmla="*/ 408304 w 1234440"/>
              <a:gd name="connsiteY10" fmla="*/ 1239153 h 2776488"/>
              <a:gd name="connsiteX11" fmla="*/ 408304 w 1234440"/>
              <a:gd name="connsiteY11" fmla="*/ 2776488 h 2776488"/>
              <a:gd name="connsiteX12" fmla="*/ 192024 w 1234440"/>
              <a:gd name="connsiteY12" fmla="*/ 2776488 h 2776488"/>
              <a:gd name="connsiteX0" fmla="*/ 192024 w 1234440"/>
              <a:gd name="connsiteY0" fmla="*/ 2776488 h 2776488"/>
              <a:gd name="connsiteX1" fmla="*/ 0 w 1234440"/>
              <a:gd name="connsiteY1" fmla="*/ 1688353 h 2776488"/>
              <a:gd name="connsiteX2" fmla="*/ 0 w 1234440"/>
              <a:gd name="connsiteY2" fmla="*/ 132729 h 2776488"/>
              <a:gd name="connsiteX3" fmla="*/ 457200 w 1234440"/>
              <a:gd name="connsiteY3" fmla="*/ 79008 h 2776488"/>
              <a:gd name="connsiteX4" fmla="*/ 429768 w 1234440"/>
              <a:gd name="connsiteY4" fmla="*/ 636792 h 2776488"/>
              <a:gd name="connsiteX5" fmla="*/ 648081 w 1234440"/>
              <a:gd name="connsiteY5" fmla="*/ 783096 h 2776488"/>
              <a:gd name="connsiteX6" fmla="*/ 1234440 w 1234440"/>
              <a:gd name="connsiteY6" fmla="*/ 783096 h 2776488"/>
              <a:gd name="connsiteX7" fmla="*/ 1234440 w 1234440"/>
              <a:gd name="connsiteY7" fmla="*/ 783096 h 2776488"/>
              <a:gd name="connsiteX8" fmla="*/ 1234440 w 1234440"/>
              <a:gd name="connsiteY8" fmla="*/ 999376 h 2776488"/>
              <a:gd name="connsiteX9" fmla="*/ 1234440 w 1234440"/>
              <a:gd name="connsiteY9" fmla="*/ 999376 h 2776488"/>
              <a:gd name="connsiteX10" fmla="*/ 648081 w 1234440"/>
              <a:gd name="connsiteY10" fmla="*/ 999376 h 2776488"/>
              <a:gd name="connsiteX11" fmla="*/ 408304 w 1234440"/>
              <a:gd name="connsiteY11" fmla="*/ 1239153 h 2776488"/>
              <a:gd name="connsiteX12" fmla="*/ 408304 w 1234440"/>
              <a:gd name="connsiteY12" fmla="*/ 2776488 h 2776488"/>
              <a:gd name="connsiteX13" fmla="*/ 192024 w 1234440"/>
              <a:gd name="connsiteY13" fmla="*/ 2776488 h 2776488"/>
              <a:gd name="connsiteX0" fmla="*/ 192024 w 1234440"/>
              <a:gd name="connsiteY0" fmla="*/ 2776488 h 2776488"/>
              <a:gd name="connsiteX1" fmla="*/ 155448 w 1234440"/>
              <a:gd name="connsiteY1" fmla="*/ 1889521 h 2776488"/>
              <a:gd name="connsiteX2" fmla="*/ 0 w 1234440"/>
              <a:gd name="connsiteY2" fmla="*/ 1688353 h 2776488"/>
              <a:gd name="connsiteX3" fmla="*/ 0 w 1234440"/>
              <a:gd name="connsiteY3" fmla="*/ 132729 h 2776488"/>
              <a:gd name="connsiteX4" fmla="*/ 457200 w 1234440"/>
              <a:gd name="connsiteY4" fmla="*/ 79008 h 2776488"/>
              <a:gd name="connsiteX5" fmla="*/ 429768 w 1234440"/>
              <a:gd name="connsiteY5" fmla="*/ 636792 h 2776488"/>
              <a:gd name="connsiteX6" fmla="*/ 648081 w 1234440"/>
              <a:gd name="connsiteY6" fmla="*/ 783096 h 2776488"/>
              <a:gd name="connsiteX7" fmla="*/ 1234440 w 1234440"/>
              <a:gd name="connsiteY7" fmla="*/ 783096 h 2776488"/>
              <a:gd name="connsiteX8" fmla="*/ 1234440 w 1234440"/>
              <a:gd name="connsiteY8" fmla="*/ 783096 h 2776488"/>
              <a:gd name="connsiteX9" fmla="*/ 1234440 w 1234440"/>
              <a:gd name="connsiteY9" fmla="*/ 999376 h 2776488"/>
              <a:gd name="connsiteX10" fmla="*/ 1234440 w 1234440"/>
              <a:gd name="connsiteY10" fmla="*/ 999376 h 2776488"/>
              <a:gd name="connsiteX11" fmla="*/ 648081 w 1234440"/>
              <a:gd name="connsiteY11" fmla="*/ 999376 h 2776488"/>
              <a:gd name="connsiteX12" fmla="*/ 408304 w 1234440"/>
              <a:gd name="connsiteY12" fmla="*/ 1239153 h 2776488"/>
              <a:gd name="connsiteX13" fmla="*/ 408304 w 1234440"/>
              <a:gd name="connsiteY13" fmla="*/ 2776488 h 2776488"/>
              <a:gd name="connsiteX14" fmla="*/ 192024 w 1234440"/>
              <a:gd name="connsiteY14" fmla="*/ 2776488 h 2776488"/>
              <a:gd name="connsiteX0" fmla="*/ 192024 w 1234440"/>
              <a:gd name="connsiteY0" fmla="*/ 2776488 h 2867929"/>
              <a:gd name="connsiteX1" fmla="*/ 155448 w 1234440"/>
              <a:gd name="connsiteY1" fmla="*/ 1889521 h 2867929"/>
              <a:gd name="connsiteX2" fmla="*/ 0 w 1234440"/>
              <a:gd name="connsiteY2" fmla="*/ 1688353 h 2867929"/>
              <a:gd name="connsiteX3" fmla="*/ 0 w 1234440"/>
              <a:gd name="connsiteY3" fmla="*/ 132729 h 2867929"/>
              <a:gd name="connsiteX4" fmla="*/ 457200 w 1234440"/>
              <a:gd name="connsiteY4" fmla="*/ 79008 h 2867929"/>
              <a:gd name="connsiteX5" fmla="*/ 429768 w 1234440"/>
              <a:gd name="connsiteY5" fmla="*/ 636792 h 2867929"/>
              <a:gd name="connsiteX6" fmla="*/ 648081 w 1234440"/>
              <a:gd name="connsiteY6" fmla="*/ 783096 h 2867929"/>
              <a:gd name="connsiteX7" fmla="*/ 1234440 w 1234440"/>
              <a:gd name="connsiteY7" fmla="*/ 783096 h 2867929"/>
              <a:gd name="connsiteX8" fmla="*/ 1234440 w 1234440"/>
              <a:gd name="connsiteY8" fmla="*/ 783096 h 2867929"/>
              <a:gd name="connsiteX9" fmla="*/ 1234440 w 1234440"/>
              <a:gd name="connsiteY9" fmla="*/ 999376 h 2867929"/>
              <a:gd name="connsiteX10" fmla="*/ 1234440 w 1234440"/>
              <a:gd name="connsiteY10" fmla="*/ 999376 h 2867929"/>
              <a:gd name="connsiteX11" fmla="*/ 648081 w 1234440"/>
              <a:gd name="connsiteY11" fmla="*/ 999376 h 2867929"/>
              <a:gd name="connsiteX12" fmla="*/ 408304 w 1234440"/>
              <a:gd name="connsiteY12" fmla="*/ 1239153 h 2867929"/>
              <a:gd name="connsiteX13" fmla="*/ 408304 w 1234440"/>
              <a:gd name="connsiteY13" fmla="*/ 2776488 h 2867929"/>
              <a:gd name="connsiteX14" fmla="*/ 274320 w 1234440"/>
              <a:gd name="connsiteY14" fmla="*/ 2867929 h 2867929"/>
              <a:gd name="connsiteX15" fmla="*/ 192024 w 1234440"/>
              <a:gd name="connsiteY15" fmla="*/ 2776488 h 2867929"/>
              <a:gd name="connsiteX0" fmla="*/ 192024 w 1234440"/>
              <a:gd name="connsiteY0" fmla="*/ 2776488 h 4989336"/>
              <a:gd name="connsiteX1" fmla="*/ 155448 w 1234440"/>
              <a:gd name="connsiteY1" fmla="*/ 1889521 h 4989336"/>
              <a:gd name="connsiteX2" fmla="*/ 0 w 1234440"/>
              <a:gd name="connsiteY2" fmla="*/ 1688353 h 4989336"/>
              <a:gd name="connsiteX3" fmla="*/ 0 w 1234440"/>
              <a:gd name="connsiteY3" fmla="*/ 132729 h 4989336"/>
              <a:gd name="connsiteX4" fmla="*/ 457200 w 1234440"/>
              <a:gd name="connsiteY4" fmla="*/ 79008 h 4989336"/>
              <a:gd name="connsiteX5" fmla="*/ 429768 w 1234440"/>
              <a:gd name="connsiteY5" fmla="*/ 636792 h 4989336"/>
              <a:gd name="connsiteX6" fmla="*/ 648081 w 1234440"/>
              <a:gd name="connsiteY6" fmla="*/ 783096 h 4989336"/>
              <a:gd name="connsiteX7" fmla="*/ 1234440 w 1234440"/>
              <a:gd name="connsiteY7" fmla="*/ 783096 h 4989336"/>
              <a:gd name="connsiteX8" fmla="*/ 1234440 w 1234440"/>
              <a:gd name="connsiteY8" fmla="*/ 783096 h 4989336"/>
              <a:gd name="connsiteX9" fmla="*/ 1234440 w 1234440"/>
              <a:gd name="connsiteY9" fmla="*/ 999376 h 4989336"/>
              <a:gd name="connsiteX10" fmla="*/ 1234440 w 1234440"/>
              <a:gd name="connsiteY10" fmla="*/ 999376 h 4989336"/>
              <a:gd name="connsiteX11" fmla="*/ 648081 w 1234440"/>
              <a:gd name="connsiteY11" fmla="*/ 999376 h 4989336"/>
              <a:gd name="connsiteX12" fmla="*/ 408304 w 1234440"/>
              <a:gd name="connsiteY12" fmla="*/ 1239153 h 4989336"/>
              <a:gd name="connsiteX13" fmla="*/ 463168 w 1234440"/>
              <a:gd name="connsiteY13" fmla="*/ 4989336 h 4989336"/>
              <a:gd name="connsiteX14" fmla="*/ 274320 w 1234440"/>
              <a:gd name="connsiteY14" fmla="*/ 2867929 h 4989336"/>
              <a:gd name="connsiteX15" fmla="*/ 192024 w 1234440"/>
              <a:gd name="connsiteY15" fmla="*/ 2776488 h 4989336"/>
              <a:gd name="connsiteX0" fmla="*/ 192024 w 1234440"/>
              <a:gd name="connsiteY0" fmla="*/ 2776488 h 5100439"/>
              <a:gd name="connsiteX1" fmla="*/ 155448 w 1234440"/>
              <a:gd name="connsiteY1" fmla="*/ 1889521 h 5100439"/>
              <a:gd name="connsiteX2" fmla="*/ 0 w 1234440"/>
              <a:gd name="connsiteY2" fmla="*/ 1688353 h 5100439"/>
              <a:gd name="connsiteX3" fmla="*/ 0 w 1234440"/>
              <a:gd name="connsiteY3" fmla="*/ 132729 h 5100439"/>
              <a:gd name="connsiteX4" fmla="*/ 457200 w 1234440"/>
              <a:gd name="connsiteY4" fmla="*/ 79008 h 5100439"/>
              <a:gd name="connsiteX5" fmla="*/ 429768 w 1234440"/>
              <a:gd name="connsiteY5" fmla="*/ 636792 h 5100439"/>
              <a:gd name="connsiteX6" fmla="*/ 648081 w 1234440"/>
              <a:gd name="connsiteY6" fmla="*/ 783096 h 5100439"/>
              <a:gd name="connsiteX7" fmla="*/ 1234440 w 1234440"/>
              <a:gd name="connsiteY7" fmla="*/ 783096 h 5100439"/>
              <a:gd name="connsiteX8" fmla="*/ 1234440 w 1234440"/>
              <a:gd name="connsiteY8" fmla="*/ 783096 h 5100439"/>
              <a:gd name="connsiteX9" fmla="*/ 1234440 w 1234440"/>
              <a:gd name="connsiteY9" fmla="*/ 999376 h 5100439"/>
              <a:gd name="connsiteX10" fmla="*/ 1234440 w 1234440"/>
              <a:gd name="connsiteY10" fmla="*/ 999376 h 5100439"/>
              <a:gd name="connsiteX11" fmla="*/ 648081 w 1234440"/>
              <a:gd name="connsiteY11" fmla="*/ 999376 h 5100439"/>
              <a:gd name="connsiteX12" fmla="*/ 408304 w 1234440"/>
              <a:gd name="connsiteY12" fmla="*/ 1239153 h 5100439"/>
              <a:gd name="connsiteX13" fmla="*/ 463168 w 1234440"/>
              <a:gd name="connsiteY13" fmla="*/ 4989336 h 5100439"/>
              <a:gd name="connsiteX14" fmla="*/ 320040 w 1234440"/>
              <a:gd name="connsiteY14" fmla="*/ 3882912 h 5100439"/>
              <a:gd name="connsiteX15" fmla="*/ 274320 w 1234440"/>
              <a:gd name="connsiteY15" fmla="*/ 2867929 h 5100439"/>
              <a:gd name="connsiteX16" fmla="*/ 192024 w 1234440"/>
              <a:gd name="connsiteY16" fmla="*/ 2776488 h 5100439"/>
              <a:gd name="connsiteX0" fmla="*/ 192024 w 1234440"/>
              <a:gd name="connsiteY0" fmla="*/ 2776488 h 5272752"/>
              <a:gd name="connsiteX1" fmla="*/ 155448 w 1234440"/>
              <a:gd name="connsiteY1" fmla="*/ 1889521 h 5272752"/>
              <a:gd name="connsiteX2" fmla="*/ 0 w 1234440"/>
              <a:gd name="connsiteY2" fmla="*/ 1688353 h 5272752"/>
              <a:gd name="connsiteX3" fmla="*/ 0 w 1234440"/>
              <a:gd name="connsiteY3" fmla="*/ 132729 h 5272752"/>
              <a:gd name="connsiteX4" fmla="*/ 457200 w 1234440"/>
              <a:gd name="connsiteY4" fmla="*/ 79008 h 5272752"/>
              <a:gd name="connsiteX5" fmla="*/ 429768 w 1234440"/>
              <a:gd name="connsiteY5" fmla="*/ 636792 h 5272752"/>
              <a:gd name="connsiteX6" fmla="*/ 648081 w 1234440"/>
              <a:gd name="connsiteY6" fmla="*/ 783096 h 5272752"/>
              <a:gd name="connsiteX7" fmla="*/ 1234440 w 1234440"/>
              <a:gd name="connsiteY7" fmla="*/ 783096 h 5272752"/>
              <a:gd name="connsiteX8" fmla="*/ 1234440 w 1234440"/>
              <a:gd name="connsiteY8" fmla="*/ 783096 h 5272752"/>
              <a:gd name="connsiteX9" fmla="*/ 1234440 w 1234440"/>
              <a:gd name="connsiteY9" fmla="*/ 999376 h 5272752"/>
              <a:gd name="connsiteX10" fmla="*/ 1234440 w 1234440"/>
              <a:gd name="connsiteY10" fmla="*/ 999376 h 5272752"/>
              <a:gd name="connsiteX11" fmla="*/ 648081 w 1234440"/>
              <a:gd name="connsiteY11" fmla="*/ 999376 h 5272752"/>
              <a:gd name="connsiteX12" fmla="*/ 408304 w 1234440"/>
              <a:gd name="connsiteY12" fmla="*/ 1239153 h 5272752"/>
              <a:gd name="connsiteX13" fmla="*/ 463168 w 1234440"/>
              <a:gd name="connsiteY13" fmla="*/ 4989336 h 5272752"/>
              <a:gd name="connsiteX14" fmla="*/ 384048 w 1234440"/>
              <a:gd name="connsiteY14" fmla="*/ 4943615 h 5272752"/>
              <a:gd name="connsiteX15" fmla="*/ 320040 w 1234440"/>
              <a:gd name="connsiteY15" fmla="*/ 3882912 h 5272752"/>
              <a:gd name="connsiteX16" fmla="*/ 274320 w 1234440"/>
              <a:gd name="connsiteY16" fmla="*/ 2867929 h 5272752"/>
              <a:gd name="connsiteX17" fmla="*/ 192024 w 1234440"/>
              <a:gd name="connsiteY17" fmla="*/ 2776488 h 5272752"/>
              <a:gd name="connsiteX0" fmla="*/ 192024 w 1234440"/>
              <a:gd name="connsiteY0" fmla="*/ 2776488 h 5272752"/>
              <a:gd name="connsiteX1" fmla="*/ 155448 w 1234440"/>
              <a:gd name="connsiteY1" fmla="*/ 1889521 h 5272752"/>
              <a:gd name="connsiteX2" fmla="*/ 0 w 1234440"/>
              <a:gd name="connsiteY2" fmla="*/ 1688353 h 5272752"/>
              <a:gd name="connsiteX3" fmla="*/ 0 w 1234440"/>
              <a:gd name="connsiteY3" fmla="*/ 132729 h 5272752"/>
              <a:gd name="connsiteX4" fmla="*/ 457200 w 1234440"/>
              <a:gd name="connsiteY4" fmla="*/ 79008 h 5272752"/>
              <a:gd name="connsiteX5" fmla="*/ 429768 w 1234440"/>
              <a:gd name="connsiteY5" fmla="*/ 636792 h 5272752"/>
              <a:gd name="connsiteX6" fmla="*/ 648081 w 1234440"/>
              <a:gd name="connsiteY6" fmla="*/ 783096 h 5272752"/>
              <a:gd name="connsiteX7" fmla="*/ 1234440 w 1234440"/>
              <a:gd name="connsiteY7" fmla="*/ 783096 h 5272752"/>
              <a:gd name="connsiteX8" fmla="*/ 1234440 w 1234440"/>
              <a:gd name="connsiteY8" fmla="*/ 783096 h 5272752"/>
              <a:gd name="connsiteX9" fmla="*/ 1234440 w 1234440"/>
              <a:gd name="connsiteY9" fmla="*/ 999376 h 5272752"/>
              <a:gd name="connsiteX10" fmla="*/ 1234440 w 1234440"/>
              <a:gd name="connsiteY10" fmla="*/ 999376 h 5272752"/>
              <a:gd name="connsiteX11" fmla="*/ 648081 w 1234440"/>
              <a:gd name="connsiteY11" fmla="*/ 999376 h 5272752"/>
              <a:gd name="connsiteX12" fmla="*/ 408304 w 1234440"/>
              <a:gd name="connsiteY12" fmla="*/ 1239153 h 5272752"/>
              <a:gd name="connsiteX13" fmla="*/ 463168 w 1234440"/>
              <a:gd name="connsiteY13" fmla="*/ 4989336 h 5272752"/>
              <a:gd name="connsiteX14" fmla="*/ 384048 w 1234440"/>
              <a:gd name="connsiteY14" fmla="*/ 4943615 h 5272752"/>
              <a:gd name="connsiteX15" fmla="*/ 320040 w 1234440"/>
              <a:gd name="connsiteY15" fmla="*/ 3882912 h 5272752"/>
              <a:gd name="connsiteX16" fmla="*/ 274320 w 1234440"/>
              <a:gd name="connsiteY16" fmla="*/ 2867929 h 5272752"/>
              <a:gd name="connsiteX17" fmla="*/ 192024 w 1234440"/>
              <a:gd name="connsiteY17" fmla="*/ 2776488 h 5272752"/>
              <a:gd name="connsiteX0" fmla="*/ 192024 w 1234440"/>
              <a:gd name="connsiteY0" fmla="*/ 2707690 h 5203954"/>
              <a:gd name="connsiteX1" fmla="*/ 155448 w 1234440"/>
              <a:gd name="connsiteY1" fmla="*/ 1820723 h 5203954"/>
              <a:gd name="connsiteX2" fmla="*/ 0 w 1234440"/>
              <a:gd name="connsiteY2" fmla="*/ 1619555 h 5203954"/>
              <a:gd name="connsiteX3" fmla="*/ 0 w 1234440"/>
              <a:gd name="connsiteY3" fmla="*/ 63931 h 5203954"/>
              <a:gd name="connsiteX4" fmla="*/ 457200 w 1234440"/>
              <a:gd name="connsiteY4" fmla="*/ 10210 h 5203954"/>
              <a:gd name="connsiteX5" fmla="*/ 429768 w 1234440"/>
              <a:gd name="connsiteY5" fmla="*/ 567994 h 5203954"/>
              <a:gd name="connsiteX6" fmla="*/ 648081 w 1234440"/>
              <a:gd name="connsiteY6" fmla="*/ 714298 h 5203954"/>
              <a:gd name="connsiteX7" fmla="*/ 1234440 w 1234440"/>
              <a:gd name="connsiteY7" fmla="*/ 714298 h 5203954"/>
              <a:gd name="connsiteX8" fmla="*/ 1234440 w 1234440"/>
              <a:gd name="connsiteY8" fmla="*/ 714298 h 5203954"/>
              <a:gd name="connsiteX9" fmla="*/ 1234440 w 1234440"/>
              <a:gd name="connsiteY9" fmla="*/ 930578 h 5203954"/>
              <a:gd name="connsiteX10" fmla="*/ 1234440 w 1234440"/>
              <a:gd name="connsiteY10" fmla="*/ 930578 h 5203954"/>
              <a:gd name="connsiteX11" fmla="*/ 648081 w 1234440"/>
              <a:gd name="connsiteY11" fmla="*/ 930578 h 5203954"/>
              <a:gd name="connsiteX12" fmla="*/ 408304 w 1234440"/>
              <a:gd name="connsiteY12" fmla="*/ 1170355 h 5203954"/>
              <a:gd name="connsiteX13" fmla="*/ 463168 w 1234440"/>
              <a:gd name="connsiteY13" fmla="*/ 4920538 h 5203954"/>
              <a:gd name="connsiteX14" fmla="*/ 384048 w 1234440"/>
              <a:gd name="connsiteY14" fmla="*/ 4874817 h 5203954"/>
              <a:gd name="connsiteX15" fmla="*/ 320040 w 1234440"/>
              <a:gd name="connsiteY15" fmla="*/ 3814114 h 5203954"/>
              <a:gd name="connsiteX16" fmla="*/ 274320 w 1234440"/>
              <a:gd name="connsiteY16" fmla="*/ 2799131 h 5203954"/>
              <a:gd name="connsiteX17" fmla="*/ 192024 w 1234440"/>
              <a:gd name="connsiteY17" fmla="*/ 2707690 h 5203954"/>
              <a:gd name="connsiteX0" fmla="*/ 192024 w 1234440"/>
              <a:gd name="connsiteY0" fmla="*/ 2697480 h 5193744"/>
              <a:gd name="connsiteX1" fmla="*/ 155448 w 1234440"/>
              <a:gd name="connsiteY1" fmla="*/ 1810513 h 5193744"/>
              <a:gd name="connsiteX2" fmla="*/ 0 w 1234440"/>
              <a:gd name="connsiteY2" fmla="*/ 1609345 h 5193744"/>
              <a:gd name="connsiteX3" fmla="*/ 0 w 1234440"/>
              <a:gd name="connsiteY3" fmla="*/ 53721 h 5193744"/>
              <a:gd name="connsiteX4" fmla="*/ 457200 w 1234440"/>
              <a:gd name="connsiteY4" fmla="*/ 0 h 5193744"/>
              <a:gd name="connsiteX5" fmla="*/ 429768 w 1234440"/>
              <a:gd name="connsiteY5" fmla="*/ 557784 h 5193744"/>
              <a:gd name="connsiteX6" fmla="*/ 648081 w 1234440"/>
              <a:gd name="connsiteY6" fmla="*/ 704088 h 5193744"/>
              <a:gd name="connsiteX7" fmla="*/ 1234440 w 1234440"/>
              <a:gd name="connsiteY7" fmla="*/ 704088 h 5193744"/>
              <a:gd name="connsiteX8" fmla="*/ 1234440 w 1234440"/>
              <a:gd name="connsiteY8" fmla="*/ 704088 h 5193744"/>
              <a:gd name="connsiteX9" fmla="*/ 1234440 w 1234440"/>
              <a:gd name="connsiteY9" fmla="*/ 920368 h 5193744"/>
              <a:gd name="connsiteX10" fmla="*/ 1234440 w 1234440"/>
              <a:gd name="connsiteY10" fmla="*/ 920368 h 5193744"/>
              <a:gd name="connsiteX11" fmla="*/ 648081 w 1234440"/>
              <a:gd name="connsiteY11" fmla="*/ 920368 h 5193744"/>
              <a:gd name="connsiteX12" fmla="*/ 408304 w 1234440"/>
              <a:gd name="connsiteY12" fmla="*/ 1160145 h 5193744"/>
              <a:gd name="connsiteX13" fmla="*/ 463168 w 1234440"/>
              <a:gd name="connsiteY13" fmla="*/ 4910328 h 5193744"/>
              <a:gd name="connsiteX14" fmla="*/ 384048 w 1234440"/>
              <a:gd name="connsiteY14" fmla="*/ 4864607 h 5193744"/>
              <a:gd name="connsiteX15" fmla="*/ 320040 w 1234440"/>
              <a:gd name="connsiteY15" fmla="*/ 3803904 h 5193744"/>
              <a:gd name="connsiteX16" fmla="*/ 274320 w 1234440"/>
              <a:gd name="connsiteY16" fmla="*/ 2788921 h 5193744"/>
              <a:gd name="connsiteX17" fmla="*/ 192024 w 1234440"/>
              <a:gd name="connsiteY17" fmla="*/ 2697480 h 5193744"/>
              <a:gd name="connsiteX0" fmla="*/ 192024 w 1234440"/>
              <a:gd name="connsiteY0" fmla="*/ 2697480 h 5193744"/>
              <a:gd name="connsiteX1" fmla="*/ 155448 w 1234440"/>
              <a:gd name="connsiteY1" fmla="*/ 1810513 h 5193744"/>
              <a:gd name="connsiteX2" fmla="*/ 0 w 1234440"/>
              <a:gd name="connsiteY2" fmla="*/ 1609345 h 5193744"/>
              <a:gd name="connsiteX3" fmla="*/ 0 w 1234440"/>
              <a:gd name="connsiteY3" fmla="*/ 53721 h 5193744"/>
              <a:gd name="connsiteX4" fmla="*/ 457200 w 1234440"/>
              <a:gd name="connsiteY4" fmla="*/ 0 h 5193744"/>
              <a:gd name="connsiteX5" fmla="*/ 429768 w 1234440"/>
              <a:gd name="connsiteY5" fmla="*/ 557784 h 5193744"/>
              <a:gd name="connsiteX6" fmla="*/ 648081 w 1234440"/>
              <a:gd name="connsiteY6" fmla="*/ 704088 h 5193744"/>
              <a:gd name="connsiteX7" fmla="*/ 1234440 w 1234440"/>
              <a:gd name="connsiteY7" fmla="*/ 704088 h 5193744"/>
              <a:gd name="connsiteX8" fmla="*/ 1234440 w 1234440"/>
              <a:gd name="connsiteY8" fmla="*/ 704088 h 5193744"/>
              <a:gd name="connsiteX9" fmla="*/ 1234440 w 1234440"/>
              <a:gd name="connsiteY9" fmla="*/ 920368 h 5193744"/>
              <a:gd name="connsiteX10" fmla="*/ 1234440 w 1234440"/>
              <a:gd name="connsiteY10" fmla="*/ 920368 h 5193744"/>
              <a:gd name="connsiteX11" fmla="*/ 648081 w 1234440"/>
              <a:gd name="connsiteY11" fmla="*/ 920368 h 5193744"/>
              <a:gd name="connsiteX12" fmla="*/ 408304 w 1234440"/>
              <a:gd name="connsiteY12" fmla="*/ 1160145 h 5193744"/>
              <a:gd name="connsiteX13" fmla="*/ 463168 w 1234440"/>
              <a:gd name="connsiteY13" fmla="*/ 4910328 h 5193744"/>
              <a:gd name="connsiteX14" fmla="*/ 384048 w 1234440"/>
              <a:gd name="connsiteY14" fmla="*/ 4864607 h 5193744"/>
              <a:gd name="connsiteX15" fmla="*/ 320040 w 1234440"/>
              <a:gd name="connsiteY15" fmla="*/ 3803904 h 5193744"/>
              <a:gd name="connsiteX16" fmla="*/ 274320 w 1234440"/>
              <a:gd name="connsiteY16" fmla="*/ 2788921 h 5193744"/>
              <a:gd name="connsiteX17" fmla="*/ 192024 w 1234440"/>
              <a:gd name="connsiteY17" fmla="*/ 2697480 h 5193744"/>
              <a:gd name="connsiteX0" fmla="*/ 192024 w 1234440"/>
              <a:gd name="connsiteY0" fmla="*/ 2697480 h 4910328"/>
              <a:gd name="connsiteX1" fmla="*/ 155448 w 1234440"/>
              <a:gd name="connsiteY1" fmla="*/ 1810513 h 4910328"/>
              <a:gd name="connsiteX2" fmla="*/ 0 w 1234440"/>
              <a:gd name="connsiteY2" fmla="*/ 1609345 h 4910328"/>
              <a:gd name="connsiteX3" fmla="*/ 0 w 1234440"/>
              <a:gd name="connsiteY3" fmla="*/ 53721 h 4910328"/>
              <a:gd name="connsiteX4" fmla="*/ 457200 w 1234440"/>
              <a:gd name="connsiteY4" fmla="*/ 0 h 4910328"/>
              <a:gd name="connsiteX5" fmla="*/ 429768 w 1234440"/>
              <a:gd name="connsiteY5" fmla="*/ 557784 h 4910328"/>
              <a:gd name="connsiteX6" fmla="*/ 648081 w 1234440"/>
              <a:gd name="connsiteY6" fmla="*/ 704088 h 4910328"/>
              <a:gd name="connsiteX7" fmla="*/ 1234440 w 1234440"/>
              <a:gd name="connsiteY7" fmla="*/ 704088 h 4910328"/>
              <a:gd name="connsiteX8" fmla="*/ 1234440 w 1234440"/>
              <a:gd name="connsiteY8" fmla="*/ 704088 h 4910328"/>
              <a:gd name="connsiteX9" fmla="*/ 1234440 w 1234440"/>
              <a:gd name="connsiteY9" fmla="*/ 920368 h 4910328"/>
              <a:gd name="connsiteX10" fmla="*/ 1234440 w 1234440"/>
              <a:gd name="connsiteY10" fmla="*/ 920368 h 4910328"/>
              <a:gd name="connsiteX11" fmla="*/ 648081 w 1234440"/>
              <a:gd name="connsiteY11" fmla="*/ 920368 h 4910328"/>
              <a:gd name="connsiteX12" fmla="*/ 408304 w 1234440"/>
              <a:gd name="connsiteY12" fmla="*/ 1160145 h 4910328"/>
              <a:gd name="connsiteX13" fmla="*/ 463168 w 1234440"/>
              <a:gd name="connsiteY13" fmla="*/ 4910328 h 4910328"/>
              <a:gd name="connsiteX14" fmla="*/ 384048 w 1234440"/>
              <a:gd name="connsiteY14" fmla="*/ 4864607 h 4910328"/>
              <a:gd name="connsiteX15" fmla="*/ 320040 w 1234440"/>
              <a:gd name="connsiteY15" fmla="*/ 3803904 h 4910328"/>
              <a:gd name="connsiteX16" fmla="*/ 274320 w 1234440"/>
              <a:gd name="connsiteY16" fmla="*/ 2788921 h 4910328"/>
              <a:gd name="connsiteX17" fmla="*/ 192024 w 1234440"/>
              <a:gd name="connsiteY17" fmla="*/ 2697480 h 4910328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57200 w 1234440"/>
              <a:gd name="connsiteY4" fmla="*/ 65151 h 4975479"/>
              <a:gd name="connsiteX5" fmla="*/ 429768 w 1234440"/>
              <a:gd name="connsiteY5" fmla="*/ 622935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70632 h 4983480"/>
              <a:gd name="connsiteX1" fmla="*/ 155448 w 1234440"/>
              <a:gd name="connsiteY1" fmla="*/ 1883665 h 4983480"/>
              <a:gd name="connsiteX2" fmla="*/ 0 w 1234440"/>
              <a:gd name="connsiteY2" fmla="*/ 1682497 h 4983480"/>
              <a:gd name="connsiteX3" fmla="*/ 9144 w 1234440"/>
              <a:gd name="connsiteY3" fmla="*/ 8001 h 4983480"/>
              <a:gd name="connsiteX4" fmla="*/ 484632 w 1234440"/>
              <a:gd name="connsiteY4" fmla="*/ 0 h 4983480"/>
              <a:gd name="connsiteX5" fmla="*/ 429768 w 1234440"/>
              <a:gd name="connsiteY5" fmla="*/ 630936 h 4983480"/>
              <a:gd name="connsiteX6" fmla="*/ 648081 w 1234440"/>
              <a:gd name="connsiteY6" fmla="*/ 777240 h 4983480"/>
              <a:gd name="connsiteX7" fmla="*/ 1234440 w 1234440"/>
              <a:gd name="connsiteY7" fmla="*/ 777240 h 4983480"/>
              <a:gd name="connsiteX8" fmla="*/ 1234440 w 1234440"/>
              <a:gd name="connsiteY8" fmla="*/ 777240 h 4983480"/>
              <a:gd name="connsiteX9" fmla="*/ 1234440 w 1234440"/>
              <a:gd name="connsiteY9" fmla="*/ 993520 h 4983480"/>
              <a:gd name="connsiteX10" fmla="*/ 1234440 w 1234440"/>
              <a:gd name="connsiteY10" fmla="*/ 993520 h 4983480"/>
              <a:gd name="connsiteX11" fmla="*/ 648081 w 1234440"/>
              <a:gd name="connsiteY11" fmla="*/ 993520 h 4983480"/>
              <a:gd name="connsiteX12" fmla="*/ 408304 w 1234440"/>
              <a:gd name="connsiteY12" fmla="*/ 1233297 h 4983480"/>
              <a:gd name="connsiteX13" fmla="*/ 463168 w 1234440"/>
              <a:gd name="connsiteY13" fmla="*/ 4983480 h 4983480"/>
              <a:gd name="connsiteX14" fmla="*/ 384048 w 1234440"/>
              <a:gd name="connsiteY14" fmla="*/ 4937759 h 4983480"/>
              <a:gd name="connsiteX15" fmla="*/ 320040 w 1234440"/>
              <a:gd name="connsiteY15" fmla="*/ 3877056 h 4983480"/>
              <a:gd name="connsiteX16" fmla="*/ 274320 w 1234440"/>
              <a:gd name="connsiteY16" fmla="*/ 2862073 h 4983480"/>
              <a:gd name="connsiteX17" fmla="*/ 192024 w 1234440"/>
              <a:gd name="connsiteY17" fmla="*/ 2770632 h 4983480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29768 w 1234440"/>
              <a:gd name="connsiteY4" fmla="*/ 1143 h 4975479"/>
              <a:gd name="connsiteX5" fmla="*/ 429768 w 1234440"/>
              <a:gd name="connsiteY5" fmla="*/ 622935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29768 w 1234440"/>
              <a:gd name="connsiteY4" fmla="*/ 1143 h 4975479"/>
              <a:gd name="connsiteX5" fmla="*/ 469962 w 1234440"/>
              <a:gd name="connsiteY5" fmla="*/ 632984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69962 w 1234440"/>
              <a:gd name="connsiteY5" fmla="*/ 632984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583149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583149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565497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80553 w 1234440"/>
              <a:gd name="connsiteY4" fmla="*/ 5623 h 4975479"/>
              <a:gd name="connsiteX5" fmla="*/ 474986 w 1234440"/>
              <a:gd name="connsiteY5" fmla="*/ 565497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57008 h 4969856"/>
              <a:gd name="connsiteX1" fmla="*/ 155448 w 1234440"/>
              <a:gd name="connsiteY1" fmla="*/ 1870041 h 4969856"/>
              <a:gd name="connsiteX2" fmla="*/ 0 w 1234440"/>
              <a:gd name="connsiteY2" fmla="*/ 1668873 h 4969856"/>
              <a:gd name="connsiteX3" fmla="*/ 9144 w 1234440"/>
              <a:gd name="connsiteY3" fmla="*/ 1438 h 4969856"/>
              <a:gd name="connsiteX4" fmla="*/ 480553 w 1234440"/>
              <a:gd name="connsiteY4" fmla="*/ 0 h 4969856"/>
              <a:gd name="connsiteX5" fmla="*/ 474986 w 1234440"/>
              <a:gd name="connsiteY5" fmla="*/ 559874 h 4969856"/>
              <a:gd name="connsiteX6" fmla="*/ 648081 w 1234440"/>
              <a:gd name="connsiteY6" fmla="*/ 763616 h 4969856"/>
              <a:gd name="connsiteX7" fmla="*/ 1234440 w 1234440"/>
              <a:gd name="connsiteY7" fmla="*/ 763616 h 4969856"/>
              <a:gd name="connsiteX8" fmla="*/ 1234440 w 1234440"/>
              <a:gd name="connsiteY8" fmla="*/ 763616 h 4969856"/>
              <a:gd name="connsiteX9" fmla="*/ 1234440 w 1234440"/>
              <a:gd name="connsiteY9" fmla="*/ 979896 h 4969856"/>
              <a:gd name="connsiteX10" fmla="*/ 1234440 w 1234440"/>
              <a:gd name="connsiteY10" fmla="*/ 979896 h 4969856"/>
              <a:gd name="connsiteX11" fmla="*/ 648081 w 1234440"/>
              <a:gd name="connsiteY11" fmla="*/ 979896 h 4969856"/>
              <a:gd name="connsiteX12" fmla="*/ 408304 w 1234440"/>
              <a:gd name="connsiteY12" fmla="*/ 1219673 h 4969856"/>
              <a:gd name="connsiteX13" fmla="*/ 463168 w 1234440"/>
              <a:gd name="connsiteY13" fmla="*/ 4969856 h 4969856"/>
              <a:gd name="connsiteX14" fmla="*/ 384048 w 1234440"/>
              <a:gd name="connsiteY14" fmla="*/ 4924135 h 4969856"/>
              <a:gd name="connsiteX15" fmla="*/ 320040 w 1234440"/>
              <a:gd name="connsiteY15" fmla="*/ 3863432 h 4969856"/>
              <a:gd name="connsiteX16" fmla="*/ 274320 w 1234440"/>
              <a:gd name="connsiteY16" fmla="*/ 2848449 h 4969856"/>
              <a:gd name="connsiteX17" fmla="*/ 192024 w 1234440"/>
              <a:gd name="connsiteY17" fmla="*/ 2757008 h 4969856"/>
              <a:gd name="connsiteX0" fmla="*/ 182880 w 1225296"/>
              <a:gd name="connsiteY0" fmla="*/ 2757008 h 4969856"/>
              <a:gd name="connsiteX1" fmla="*/ 146304 w 1225296"/>
              <a:gd name="connsiteY1" fmla="*/ 1870041 h 4969856"/>
              <a:gd name="connsiteX2" fmla="*/ 132076 w 1225296"/>
              <a:gd name="connsiteY2" fmla="*/ 1637099 h 4969856"/>
              <a:gd name="connsiteX3" fmla="*/ 0 w 1225296"/>
              <a:gd name="connsiteY3" fmla="*/ 1438 h 4969856"/>
              <a:gd name="connsiteX4" fmla="*/ 471409 w 1225296"/>
              <a:gd name="connsiteY4" fmla="*/ 0 h 4969856"/>
              <a:gd name="connsiteX5" fmla="*/ 465842 w 1225296"/>
              <a:gd name="connsiteY5" fmla="*/ 559874 h 4969856"/>
              <a:gd name="connsiteX6" fmla="*/ 638937 w 1225296"/>
              <a:gd name="connsiteY6" fmla="*/ 763616 h 4969856"/>
              <a:gd name="connsiteX7" fmla="*/ 1225296 w 1225296"/>
              <a:gd name="connsiteY7" fmla="*/ 763616 h 4969856"/>
              <a:gd name="connsiteX8" fmla="*/ 1225296 w 1225296"/>
              <a:gd name="connsiteY8" fmla="*/ 763616 h 4969856"/>
              <a:gd name="connsiteX9" fmla="*/ 1225296 w 1225296"/>
              <a:gd name="connsiteY9" fmla="*/ 979896 h 4969856"/>
              <a:gd name="connsiteX10" fmla="*/ 1225296 w 1225296"/>
              <a:gd name="connsiteY10" fmla="*/ 979896 h 4969856"/>
              <a:gd name="connsiteX11" fmla="*/ 638937 w 1225296"/>
              <a:gd name="connsiteY11" fmla="*/ 979896 h 4969856"/>
              <a:gd name="connsiteX12" fmla="*/ 399160 w 1225296"/>
              <a:gd name="connsiteY12" fmla="*/ 1219673 h 4969856"/>
              <a:gd name="connsiteX13" fmla="*/ 454024 w 1225296"/>
              <a:gd name="connsiteY13" fmla="*/ 4969856 h 4969856"/>
              <a:gd name="connsiteX14" fmla="*/ 374904 w 1225296"/>
              <a:gd name="connsiteY14" fmla="*/ 4924135 h 4969856"/>
              <a:gd name="connsiteX15" fmla="*/ 310896 w 1225296"/>
              <a:gd name="connsiteY15" fmla="*/ 3863432 h 4969856"/>
              <a:gd name="connsiteX16" fmla="*/ 265176 w 1225296"/>
              <a:gd name="connsiteY16" fmla="*/ 2848449 h 4969856"/>
              <a:gd name="connsiteX17" fmla="*/ 182880 w 1225296"/>
              <a:gd name="connsiteY17" fmla="*/ 2757008 h 4969856"/>
              <a:gd name="connsiteX0" fmla="*/ 188494 w 1230910"/>
              <a:gd name="connsiteY0" fmla="*/ 2757008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88494 w 1230910"/>
              <a:gd name="connsiteY17" fmla="*/ 2757008 h 4969856"/>
              <a:gd name="connsiteX0" fmla="*/ 188494 w 1230910"/>
              <a:gd name="connsiteY0" fmla="*/ 2757008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88494 w 1230910"/>
              <a:gd name="connsiteY17" fmla="*/ 2757008 h 4969856"/>
              <a:gd name="connsiteX0" fmla="*/ 234391 w 1230910"/>
              <a:gd name="connsiteY0" fmla="*/ 2636971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234391 w 1230910"/>
              <a:gd name="connsiteY17" fmla="*/ 2636971 h 4969856"/>
              <a:gd name="connsiteX0" fmla="*/ 170842 w 1230910"/>
              <a:gd name="connsiteY0" fmla="*/ 2545178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306095 w 1230910"/>
              <a:gd name="connsiteY16" fmla="*/ 2834327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7851 w 1230910"/>
              <a:gd name="connsiteY16" fmla="*/ 2728411 h 4969856"/>
              <a:gd name="connsiteX17" fmla="*/ 170842 w 1230910"/>
              <a:gd name="connsiteY17" fmla="*/ 2545178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447139 w 1230910"/>
              <a:gd name="connsiteY15" fmla="*/ 3701028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88266 w 1230910"/>
              <a:gd name="connsiteY15" fmla="*/ 3665723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88266 w 1230910"/>
              <a:gd name="connsiteY15" fmla="*/ 3665723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88266 w 1230910"/>
              <a:gd name="connsiteY15" fmla="*/ 3665723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74144 w 1230910"/>
              <a:gd name="connsiteY15" fmla="*/ 3658662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74144 w 1230910"/>
              <a:gd name="connsiteY15" fmla="*/ 3658662 h 4969856"/>
              <a:gd name="connsiteX16" fmla="*/ 270790 w 1230910"/>
              <a:gd name="connsiteY16" fmla="*/ 2742533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74144 w 1230910"/>
              <a:gd name="connsiteY15" fmla="*/ 3658662 h 4969856"/>
              <a:gd name="connsiteX16" fmla="*/ 270790 w 1230910"/>
              <a:gd name="connsiteY16" fmla="*/ 2742533 h 4969856"/>
              <a:gd name="connsiteX17" fmla="*/ 170842 w 1230910"/>
              <a:gd name="connsiteY17" fmla="*/ 2580483 h 4969856"/>
              <a:gd name="connsiteX0" fmla="*/ 170842 w 1230910"/>
              <a:gd name="connsiteY0" fmla="*/ 2580483 h 4960712"/>
              <a:gd name="connsiteX1" fmla="*/ 169571 w 1230910"/>
              <a:gd name="connsiteY1" fmla="*/ 1873572 h 4960712"/>
              <a:gd name="connsiteX2" fmla="*/ 0 w 1230910"/>
              <a:gd name="connsiteY2" fmla="*/ 1640630 h 4960712"/>
              <a:gd name="connsiteX3" fmla="*/ 5614 w 1230910"/>
              <a:gd name="connsiteY3" fmla="*/ 1438 h 4960712"/>
              <a:gd name="connsiteX4" fmla="*/ 477023 w 1230910"/>
              <a:gd name="connsiteY4" fmla="*/ 0 h 4960712"/>
              <a:gd name="connsiteX5" fmla="*/ 471456 w 1230910"/>
              <a:gd name="connsiteY5" fmla="*/ 559874 h 4960712"/>
              <a:gd name="connsiteX6" fmla="*/ 644551 w 1230910"/>
              <a:gd name="connsiteY6" fmla="*/ 763616 h 4960712"/>
              <a:gd name="connsiteX7" fmla="*/ 1230910 w 1230910"/>
              <a:gd name="connsiteY7" fmla="*/ 763616 h 4960712"/>
              <a:gd name="connsiteX8" fmla="*/ 1230910 w 1230910"/>
              <a:gd name="connsiteY8" fmla="*/ 763616 h 4960712"/>
              <a:gd name="connsiteX9" fmla="*/ 1230910 w 1230910"/>
              <a:gd name="connsiteY9" fmla="*/ 979896 h 4960712"/>
              <a:gd name="connsiteX10" fmla="*/ 1230910 w 1230910"/>
              <a:gd name="connsiteY10" fmla="*/ 979896 h 4960712"/>
              <a:gd name="connsiteX11" fmla="*/ 644551 w 1230910"/>
              <a:gd name="connsiteY11" fmla="*/ 979896 h 4960712"/>
              <a:gd name="connsiteX12" fmla="*/ 404774 w 1230910"/>
              <a:gd name="connsiteY12" fmla="*/ 1219673 h 4960712"/>
              <a:gd name="connsiteX13" fmla="*/ 368198 w 1230910"/>
              <a:gd name="connsiteY13" fmla="*/ 4960712 h 4960712"/>
              <a:gd name="connsiteX14" fmla="*/ 380518 w 1230910"/>
              <a:gd name="connsiteY14" fmla="*/ 4924135 h 4960712"/>
              <a:gd name="connsiteX15" fmla="*/ 274144 w 1230910"/>
              <a:gd name="connsiteY15" fmla="*/ 3658662 h 4960712"/>
              <a:gd name="connsiteX16" fmla="*/ 270790 w 1230910"/>
              <a:gd name="connsiteY16" fmla="*/ 2742533 h 4960712"/>
              <a:gd name="connsiteX17" fmla="*/ 170842 w 1230910"/>
              <a:gd name="connsiteY17" fmla="*/ 2580483 h 4960712"/>
              <a:gd name="connsiteX0" fmla="*/ 170842 w 1230910"/>
              <a:gd name="connsiteY0" fmla="*/ 2580483 h 4924136"/>
              <a:gd name="connsiteX1" fmla="*/ 169571 w 1230910"/>
              <a:gd name="connsiteY1" fmla="*/ 1873572 h 4924136"/>
              <a:gd name="connsiteX2" fmla="*/ 0 w 1230910"/>
              <a:gd name="connsiteY2" fmla="*/ 1640630 h 4924136"/>
              <a:gd name="connsiteX3" fmla="*/ 5614 w 1230910"/>
              <a:gd name="connsiteY3" fmla="*/ 1438 h 4924136"/>
              <a:gd name="connsiteX4" fmla="*/ 477023 w 1230910"/>
              <a:gd name="connsiteY4" fmla="*/ 0 h 4924136"/>
              <a:gd name="connsiteX5" fmla="*/ 471456 w 1230910"/>
              <a:gd name="connsiteY5" fmla="*/ 559874 h 4924136"/>
              <a:gd name="connsiteX6" fmla="*/ 644551 w 1230910"/>
              <a:gd name="connsiteY6" fmla="*/ 763616 h 4924136"/>
              <a:gd name="connsiteX7" fmla="*/ 1230910 w 1230910"/>
              <a:gd name="connsiteY7" fmla="*/ 763616 h 4924136"/>
              <a:gd name="connsiteX8" fmla="*/ 1230910 w 1230910"/>
              <a:gd name="connsiteY8" fmla="*/ 763616 h 4924136"/>
              <a:gd name="connsiteX9" fmla="*/ 1230910 w 1230910"/>
              <a:gd name="connsiteY9" fmla="*/ 979896 h 4924136"/>
              <a:gd name="connsiteX10" fmla="*/ 1230910 w 1230910"/>
              <a:gd name="connsiteY10" fmla="*/ 979896 h 4924136"/>
              <a:gd name="connsiteX11" fmla="*/ 644551 w 1230910"/>
              <a:gd name="connsiteY11" fmla="*/ 979896 h 4924136"/>
              <a:gd name="connsiteX12" fmla="*/ 404774 w 1230910"/>
              <a:gd name="connsiteY12" fmla="*/ 1219673 h 4924136"/>
              <a:gd name="connsiteX13" fmla="*/ 267614 w 1230910"/>
              <a:gd name="connsiteY13" fmla="*/ 4924136 h 4924136"/>
              <a:gd name="connsiteX14" fmla="*/ 380518 w 1230910"/>
              <a:gd name="connsiteY14" fmla="*/ 4924135 h 4924136"/>
              <a:gd name="connsiteX15" fmla="*/ 274144 w 1230910"/>
              <a:gd name="connsiteY15" fmla="*/ 3658662 h 4924136"/>
              <a:gd name="connsiteX16" fmla="*/ 270790 w 1230910"/>
              <a:gd name="connsiteY16" fmla="*/ 2742533 h 4924136"/>
              <a:gd name="connsiteX17" fmla="*/ 170842 w 1230910"/>
              <a:gd name="connsiteY17" fmla="*/ 2580483 h 4924136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468782 w 1230910"/>
              <a:gd name="connsiteY13" fmla="*/ 4860128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377342 w 1230910"/>
              <a:gd name="connsiteY13" fmla="*/ 3643976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349910 w 1230910"/>
              <a:gd name="connsiteY13" fmla="*/ 3643976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368198 w 1230910"/>
              <a:gd name="connsiteY13" fmla="*/ 3643976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3868108"/>
              <a:gd name="connsiteX1" fmla="*/ 169571 w 1230910"/>
              <a:gd name="connsiteY1" fmla="*/ 1873572 h 3868108"/>
              <a:gd name="connsiteX2" fmla="*/ 0 w 1230910"/>
              <a:gd name="connsiteY2" fmla="*/ 1640630 h 3868108"/>
              <a:gd name="connsiteX3" fmla="*/ 5614 w 1230910"/>
              <a:gd name="connsiteY3" fmla="*/ 1438 h 3868108"/>
              <a:gd name="connsiteX4" fmla="*/ 477023 w 1230910"/>
              <a:gd name="connsiteY4" fmla="*/ 0 h 3868108"/>
              <a:gd name="connsiteX5" fmla="*/ 471456 w 1230910"/>
              <a:gd name="connsiteY5" fmla="*/ 559874 h 3868108"/>
              <a:gd name="connsiteX6" fmla="*/ 644551 w 1230910"/>
              <a:gd name="connsiteY6" fmla="*/ 763616 h 3868108"/>
              <a:gd name="connsiteX7" fmla="*/ 1230910 w 1230910"/>
              <a:gd name="connsiteY7" fmla="*/ 763616 h 3868108"/>
              <a:gd name="connsiteX8" fmla="*/ 1230910 w 1230910"/>
              <a:gd name="connsiteY8" fmla="*/ 763616 h 3868108"/>
              <a:gd name="connsiteX9" fmla="*/ 1230910 w 1230910"/>
              <a:gd name="connsiteY9" fmla="*/ 979896 h 3868108"/>
              <a:gd name="connsiteX10" fmla="*/ 1230910 w 1230910"/>
              <a:gd name="connsiteY10" fmla="*/ 979896 h 3868108"/>
              <a:gd name="connsiteX11" fmla="*/ 644551 w 1230910"/>
              <a:gd name="connsiteY11" fmla="*/ 979896 h 3868108"/>
              <a:gd name="connsiteX12" fmla="*/ 404774 w 1230910"/>
              <a:gd name="connsiteY12" fmla="*/ 1219673 h 3868108"/>
              <a:gd name="connsiteX13" fmla="*/ 368198 w 1230910"/>
              <a:gd name="connsiteY13" fmla="*/ 3643976 h 3868108"/>
              <a:gd name="connsiteX14" fmla="*/ 274144 w 1230910"/>
              <a:gd name="connsiteY14" fmla="*/ 3658662 h 3868108"/>
              <a:gd name="connsiteX15" fmla="*/ 270790 w 1230910"/>
              <a:gd name="connsiteY15" fmla="*/ 2742533 h 3868108"/>
              <a:gd name="connsiteX16" fmla="*/ 170842 w 1230910"/>
              <a:gd name="connsiteY16" fmla="*/ 2580483 h 3868108"/>
              <a:gd name="connsiteX0" fmla="*/ 170842 w 1230910"/>
              <a:gd name="connsiteY0" fmla="*/ 2580483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368198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70842 w 1230910"/>
              <a:gd name="connsiteY16" fmla="*/ 2580483 h 3658662"/>
              <a:gd name="connsiteX0" fmla="*/ 170842 w 1230910"/>
              <a:gd name="connsiteY0" fmla="*/ 2580483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13918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70842 w 1230910"/>
              <a:gd name="connsiteY16" fmla="*/ 2580483 h 3658662"/>
              <a:gd name="connsiteX0" fmla="*/ 170842 w 1230910"/>
              <a:gd name="connsiteY0" fmla="*/ 2580483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4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70842 w 1230910"/>
              <a:gd name="connsiteY16" fmla="*/ 2580483 h 3658662"/>
              <a:gd name="connsiteX0" fmla="*/ 161698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4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61698 w 1230910"/>
              <a:gd name="connsiteY16" fmla="*/ 2562195 h 3658662"/>
              <a:gd name="connsiteX0" fmla="*/ 161698 w 1230910"/>
              <a:gd name="connsiteY0" fmla="*/ 2562195 h 3674121"/>
              <a:gd name="connsiteX1" fmla="*/ 169571 w 1230910"/>
              <a:gd name="connsiteY1" fmla="*/ 1873572 h 3674121"/>
              <a:gd name="connsiteX2" fmla="*/ 0 w 1230910"/>
              <a:gd name="connsiteY2" fmla="*/ 1640630 h 3674121"/>
              <a:gd name="connsiteX3" fmla="*/ 5614 w 1230910"/>
              <a:gd name="connsiteY3" fmla="*/ 1438 h 3674121"/>
              <a:gd name="connsiteX4" fmla="*/ 477023 w 1230910"/>
              <a:gd name="connsiteY4" fmla="*/ 0 h 3674121"/>
              <a:gd name="connsiteX5" fmla="*/ 471456 w 1230910"/>
              <a:gd name="connsiteY5" fmla="*/ 559874 h 3674121"/>
              <a:gd name="connsiteX6" fmla="*/ 644551 w 1230910"/>
              <a:gd name="connsiteY6" fmla="*/ 763616 h 3674121"/>
              <a:gd name="connsiteX7" fmla="*/ 1230910 w 1230910"/>
              <a:gd name="connsiteY7" fmla="*/ 763616 h 3674121"/>
              <a:gd name="connsiteX8" fmla="*/ 1230910 w 1230910"/>
              <a:gd name="connsiteY8" fmla="*/ 763616 h 3674121"/>
              <a:gd name="connsiteX9" fmla="*/ 1230910 w 1230910"/>
              <a:gd name="connsiteY9" fmla="*/ 979896 h 3674121"/>
              <a:gd name="connsiteX10" fmla="*/ 1230910 w 1230910"/>
              <a:gd name="connsiteY10" fmla="*/ 979896 h 3674121"/>
              <a:gd name="connsiteX11" fmla="*/ 644551 w 1230910"/>
              <a:gd name="connsiteY11" fmla="*/ 979896 h 3674121"/>
              <a:gd name="connsiteX12" fmla="*/ 404774 w 1230910"/>
              <a:gd name="connsiteY12" fmla="*/ 1219673 h 3674121"/>
              <a:gd name="connsiteX13" fmla="*/ 409798 w 1230910"/>
              <a:gd name="connsiteY13" fmla="*/ 3674121 h 3674121"/>
              <a:gd name="connsiteX14" fmla="*/ 274144 w 1230910"/>
              <a:gd name="connsiteY14" fmla="*/ 3658662 h 3674121"/>
              <a:gd name="connsiteX15" fmla="*/ 270790 w 1230910"/>
              <a:gd name="connsiteY15" fmla="*/ 2742533 h 3674121"/>
              <a:gd name="connsiteX16" fmla="*/ 161698 w 1230910"/>
              <a:gd name="connsiteY16" fmla="*/ 2562195 h 3674121"/>
              <a:gd name="connsiteX0" fmla="*/ 161698 w 1230910"/>
              <a:gd name="connsiteY0" fmla="*/ 2562195 h 3669097"/>
              <a:gd name="connsiteX1" fmla="*/ 169571 w 1230910"/>
              <a:gd name="connsiteY1" fmla="*/ 1873572 h 3669097"/>
              <a:gd name="connsiteX2" fmla="*/ 0 w 1230910"/>
              <a:gd name="connsiteY2" fmla="*/ 1640630 h 3669097"/>
              <a:gd name="connsiteX3" fmla="*/ 5614 w 1230910"/>
              <a:gd name="connsiteY3" fmla="*/ 1438 h 3669097"/>
              <a:gd name="connsiteX4" fmla="*/ 477023 w 1230910"/>
              <a:gd name="connsiteY4" fmla="*/ 0 h 3669097"/>
              <a:gd name="connsiteX5" fmla="*/ 471456 w 1230910"/>
              <a:gd name="connsiteY5" fmla="*/ 559874 h 3669097"/>
              <a:gd name="connsiteX6" fmla="*/ 644551 w 1230910"/>
              <a:gd name="connsiteY6" fmla="*/ 763616 h 3669097"/>
              <a:gd name="connsiteX7" fmla="*/ 1230910 w 1230910"/>
              <a:gd name="connsiteY7" fmla="*/ 763616 h 3669097"/>
              <a:gd name="connsiteX8" fmla="*/ 1230910 w 1230910"/>
              <a:gd name="connsiteY8" fmla="*/ 763616 h 3669097"/>
              <a:gd name="connsiteX9" fmla="*/ 1230910 w 1230910"/>
              <a:gd name="connsiteY9" fmla="*/ 979896 h 3669097"/>
              <a:gd name="connsiteX10" fmla="*/ 1230910 w 1230910"/>
              <a:gd name="connsiteY10" fmla="*/ 979896 h 3669097"/>
              <a:gd name="connsiteX11" fmla="*/ 644551 w 1230910"/>
              <a:gd name="connsiteY11" fmla="*/ 979896 h 3669097"/>
              <a:gd name="connsiteX12" fmla="*/ 404774 w 1230910"/>
              <a:gd name="connsiteY12" fmla="*/ 1219673 h 3669097"/>
              <a:gd name="connsiteX13" fmla="*/ 409798 w 1230910"/>
              <a:gd name="connsiteY13" fmla="*/ 3669097 h 3669097"/>
              <a:gd name="connsiteX14" fmla="*/ 274144 w 1230910"/>
              <a:gd name="connsiteY14" fmla="*/ 3658662 h 3669097"/>
              <a:gd name="connsiteX15" fmla="*/ 270790 w 1230910"/>
              <a:gd name="connsiteY15" fmla="*/ 2742533 h 3669097"/>
              <a:gd name="connsiteX16" fmla="*/ 161698 w 1230910"/>
              <a:gd name="connsiteY16" fmla="*/ 2562195 h 3669097"/>
              <a:gd name="connsiteX0" fmla="*/ 161698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61698 w 1230910"/>
              <a:gd name="connsiteY16" fmla="*/ 2562195 h 3658662"/>
              <a:gd name="connsiteX0" fmla="*/ 161698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1698 w 1230910"/>
              <a:gd name="connsiteY17" fmla="*/ 2562195 h 3658662"/>
              <a:gd name="connsiteX0" fmla="*/ 156674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56674 w 1230910"/>
              <a:gd name="connsiteY17" fmla="*/ 2562195 h 3658662"/>
              <a:gd name="connsiteX0" fmla="*/ 176770 w 1230910"/>
              <a:gd name="connsiteY0" fmla="*/ 2557171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76770 w 1230910"/>
              <a:gd name="connsiteY17" fmla="*/ 2557171 h 3658662"/>
              <a:gd name="connsiteX0" fmla="*/ 166722 w 1230910"/>
              <a:gd name="connsiteY0" fmla="*/ 2567220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6722 w 1230910"/>
              <a:gd name="connsiteY17" fmla="*/ 2567220 h 3658662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77023 w 1230910"/>
              <a:gd name="connsiteY4" fmla="*/ 18659 h 3657224"/>
              <a:gd name="connsiteX5" fmla="*/ 471456 w 1230910"/>
              <a:gd name="connsiteY5" fmla="*/ 5584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61950 w 1230910"/>
              <a:gd name="connsiteY4" fmla="*/ 8610 h 3657224"/>
              <a:gd name="connsiteX5" fmla="*/ 471456 w 1230910"/>
              <a:gd name="connsiteY5" fmla="*/ 5584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7220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61950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6722 w 1230910"/>
              <a:gd name="connsiteY17" fmla="*/ 2567220 h 3658662"/>
              <a:gd name="connsiteX0" fmla="*/ 166722 w 1230910"/>
              <a:gd name="connsiteY0" fmla="*/ 2567220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61950 w 1230910"/>
              <a:gd name="connsiteY4" fmla="*/ 0 h 3658662"/>
              <a:gd name="connsiteX5" fmla="*/ 471456 w 1230910"/>
              <a:gd name="connsiteY5" fmla="*/ 5979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6722 w 1230910"/>
              <a:gd name="connsiteY17" fmla="*/ 2567220 h 3658662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69570 w 1230910"/>
              <a:gd name="connsiteY4" fmla="*/ 2372 h 3657224"/>
              <a:gd name="connsiteX5" fmla="*/ 471456 w 1230910"/>
              <a:gd name="connsiteY5" fmla="*/ 5965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73380 w 1230910"/>
              <a:gd name="connsiteY4" fmla="*/ 6182 h 3657224"/>
              <a:gd name="connsiteX5" fmla="*/ 471456 w 1230910"/>
              <a:gd name="connsiteY5" fmla="*/ 5965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196114 w 1230910"/>
              <a:gd name="connsiteY4" fmla="*/ 31420 h 3657224"/>
              <a:gd name="connsiteX5" fmla="*/ 473380 w 1230910"/>
              <a:gd name="connsiteY5" fmla="*/ 6182 h 3657224"/>
              <a:gd name="connsiteX6" fmla="*/ 471456 w 1230910"/>
              <a:gd name="connsiteY6" fmla="*/ 596536 h 3657224"/>
              <a:gd name="connsiteX7" fmla="*/ 644551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762178 h 3657224"/>
              <a:gd name="connsiteX10" fmla="*/ 1230910 w 1230910"/>
              <a:gd name="connsiteY10" fmla="*/ 978458 h 3657224"/>
              <a:gd name="connsiteX11" fmla="*/ 1230910 w 1230910"/>
              <a:gd name="connsiteY11" fmla="*/ 978458 h 3657224"/>
              <a:gd name="connsiteX12" fmla="*/ 644551 w 1230910"/>
              <a:gd name="connsiteY12" fmla="*/ 978458 h 3657224"/>
              <a:gd name="connsiteX13" fmla="*/ 404774 w 1230910"/>
              <a:gd name="connsiteY13" fmla="*/ 1218235 h 3657224"/>
              <a:gd name="connsiteX14" fmla="*/ 404773 w 1230910"/>
              <a:gd name="connsiteY14" fmla="*/ 3647563 h 3657224"/>
              <a:gd name="connsiteX15" fmla="*/ 342736 w 1230910"/>
              <a:gd name="connsiteY15" fmla="*/ 3610182 h 3657224"/>
              <a:gd name="connsiteX16" fmla="*/ 274144 w 1230910"/>
              <a:gd name="connsiteY16" fmla="*/ 3657224 h 3657224"/>
              <a:gd name="connsiteX17" fmla="*/ 270790 w 1230910"/>
              <a:gd name="connsiteY17" fmla="*/ 2741095 h 3657224"/>
              <a:gd name="connsiteX18" fmla="*/ 166722 w 1230910"/>
              <a:gd name="connsiteY18" fmla="*/ 2565782 h 3657224"/>
              <a:gd name="connsiteX0" fmla="*/ 166722 w 1230910"/>
              <a:gd name="connsiteY0" fmla="*/ 2572462 h 3663904"/>
              <a:gd name="connsiteX1" fmla="*/ 169571 w 1230910"/>
              <a:gd name="connsiteY1" fmla="*/ 1878814 h 3663904"/>
              <a:gd name="connsiteX2" fmla="*/ 0 w 1230910"/>
              <a:gd name="connsiteY2" fmla="*/ 1645872 h 3663904"/>
              <a:gd name="connsiteX3" fmla="*/ 5614 w 1230910"/>
              <a:gd name="connsiteY3" fmla="*/ 6680 h 3663904"/>
              <a:gd name="connsiteX4" fmla="*/ 196114 w 1230910"/>
              <a:gd name="connsiteY4" fmla="*/ 38100 h 3663904"/>
              <a:gd name="connsiteX5" fmla="*/ 310414 w 1230910"/>
              <a:gd name="connsiteY5" fmla="*/ 0 h 3663904"/>
              <a:gd name="connsiteX6" fmla="*/ 473380 w 1230910"/>
              <a:gd name="connsiteY6" fmla="*/ 12862 h 3663904"/>
              <a:gd name="connsiteX7" fmla="*/ 471456 w 1230910"/>
              <a:gd name="connsiteY7" fmla="*/ 603216 h 3663904"/>
              <a:gd name="connsiteX8" fmla="*/ 644551 w 1230910"/>
              <a:gd name="connsiteY8" fmla="*/ 768858 h 3663904"/>
              <a:gd name="connsiteX9" fmla="*/ 1230910 w 1230910"/>
              <a:gd name="connsiteY9" fmla="*/ 768858 h 3663904"/>
              <a:gd name="connsiteX10" fmla="*/ 1230910 w 1230910"/>
              <a:gd name="connsiteY10" fmla="*/ 768858 h 3663904"/>
              <a:gd name="connsiteX11" fmla="*/ 1230910 w 1230910"/>
              <a:gd name="connsiteY11" fmla="*/ 985138 h 3663904"/>
              <a:gd name="connsiteX12" fmla="*/ 1230910 w 1230910"/>
              <a:gd name="connsiteY12" fmla="*/ 985138 h 3663904"/>
              <a:gd name="connsiteX13" fmla="*/ 644551 w 1230910"/>
              <a:gd name="connsiteY13" fmla="*/ 985138 h 3663904"/>
              <a:gd name="connsiteX14" fmla="*/ 404774 w 1230910"/>
              <a:gd name="connsiteY14" fmla="*/ 1224915 h 3663904"/>
              <a:gd name="connsiteX15" fmla="*/ 404773 w 1230910"/>
              <a:gd name="connsiteY15" fmla="*/ 3654243 h 3663904"/>
              <a:gd name="connsiteX16" fmla="*/ 342736 w 1230910"/>
              <a:gd name="connsiteY16" fmla="*/ 3616862 h 3663904"/>
              <a:gd name="connsiteX17" fmla="*/ 274144 w 1230910"/>
              <a:gd name="connsiteY17" fmla="*/ 3663904 h 3663904"/>
              <a:gd name="connsiteX18" fmla="*/ 270790 w 1230910"/>
              <a:gd name="connsiteY18" fmla="*/ 2747775 h 3663904"/>
              <a:gd name="connsiteX19" fmla="*/ 166722 w 1230910"/>
              <a:gd name="connsiteY19" fmla="*/ 2572462 h 3663904"/>
              <a:gd name="connsiteX0" fmla="*/ 166722 w 1486407"/>
              <a:gd name="connsiteY0" fmla="*/ 2572462 h 3663904"/>
              <a:gd name="connsiteX1" fmla="*/ 169571 w 1486407"/>
              <a:gd name="connsiteY1" fmla="*/ 1878814 h 3663904"/>
              <a:gd name="connsiteX2" fmla="*/ 0 w 1486407"/>
              <a:gd name="connsiteY2" fmla="*/ 1645872 h 3663904"/>
              <a:gd name="connsiteX3" fmla="*/ 5614 w 1486407"/>
              <a:gd name="connsiteY3" fmla="*/ 6680 h 3663904"/>
              <a:gd name="connsiteX4" fmla="*/ 196114 w 1486407"/>
              <a:gd name="connsiteY4" fmla="*/ 38100 h 3663904"/>
              <a:gd name="connsiteX5" fmla="*/ 310414 w 1486407"/>
              <a:gd name="connsiteY5" fmla="*/ 0 h 3663904"/>
              <a:gd name="connsiteX6" fmla="*/ 473380 w 1486407"/>
              <a:gd name="connsiteY6" fmla="*/ 12862 h 3663904"/>
              <a:gd name="connsiteX7" fmla="*/ 471456 w 1486407"/>
              <a:gd name="connsiteY7" fmla="*/ 603216 h 3663904"/>
              <a:gd name="connsiteX8" fmla="*/ 644551 w 1486407"/>
              <a:gd name="connsiteY8" fmla="*/ 768858 h 3663904"/>
              <a:gd name="connsiteX9" fmla="*/ 1230910 w 1486407"/>
              <a:gd name="connsiteY9" fmla="*/ 768858 h 3663904"/>
              <a:gd name="connsiteX10" fmla="*/ 1230910 w 1486407"/>
              <a:gd name="connsiteY10" fmla="*/ 768858 h 3663904"/>
              <a:gd name="connsiteX11" fmla="*/ 1230910 w 1486407"/>
              <a:gd name="connsiteY11" fmla="*/ 985138 h 3663904"/>
              <a:gd name="connsiteX12" fmla="*/ 1486407 w 1486407"/>
              <a:gd name="connsiteY12" fmla="*/ 990816 h 3663904"/>
              <a:gd name="connsiteX13" fmla="*/ 644551 w 1486407"/>
              <a:gd name="connsiteY13" fmla="*/ 985138 h 3663904"/>
              <a:gd name="connsiteX14" fmla="*/ 404774 w 1486407"/>
              <a:gd name="connsiteY14" fmla="*/ 1224915 h 3663904"/>
              <a:gd name="connsiteX15" fmla="*/ 404773 w 1486407"/>
              <a:gd name="connsiteY15" fmla="*/ 3654243 h 3663904"/>
              <a:gd name="connsiteX16" fmla="*/ 342736 w 1486407"/>
              <a:gd name="connsiteY16" fmla="*/ 3616862 h 3663904"/>
              <a:gd name="connsiteX17" fmla="*/ 274144 w 1486407"/>
              <a:gd name="connsiteY17" fmla="*/ 3663904 h 3663904"/>
              <a:gd name="connsiteX18" fmla="*/ 270790 w 1486407"/>
              <a:gd name="connsiteY18" fmla="*/ 2747775 h 3663904"/>
              <a:gd name="connsiteX19" fmla="*/ 166722 w 1486407"/>
              <a:gd name="connsiteY19" fmla="*/ 2572462 h 3663904"/>
              <a:gd name="connsiteX0" fmla="*/ 166722 w 1486407"/>
              <a:gd name="connsiteY0" fmla="*/ 2572462 h 3663904"/>
              <a:gd name="connsiteX1" fmla="*/ 169571 w 1486407"/>
              <a:gd name="connsiteY1" fmla="*/ 1878814 h 3663904"/>
              <a:gd name="connsiteX2" fmla="*/ 0 w 1486407"/>
              <a:gd name="connsiteY2" fmla="*/ 1645872 h 3663904"/>
              <a:gd name="connsiteX3" fmla="*/ 5614 w 1486407"/>
              <a:gd name="connsiteY3" fmla="*/ 6680 h 3663904"/>
              <a:gd name="connsiteX4" fmla="*/ 196114 w 1486407"/>
              <a:gd name="connsiteY4" fmla="*/ 38100 h 3663904"/>
              <a:gd name="connsiteX5" fmla="*/ 310414 w 1486407"/>
              <a:gd name="connsiteY5" fmla="*/ 0 h 3663904"/>
              <a:gd name="connsiteX6" fmla="*/ 473380 w 1486407"/>
              <a:gd name="connsiteY6" fmla="*/ 12862 h 3663904"/>
              <a:gd name="connsiteX7" fmla="*/ 471456 w 1486407"/>
              <a:gd name="connsiteY7" fmla="*/ 603216 h 3663904"/>
              <a:gd name="connsiteX8" fmla="*/ 644551 w 1486407"/>
              <a:gd name="connsiteY8" fmla="*/ 768858 h 3663904"/>
              <a:gd name="connsiteX9" fmla="*/ 1230910 w 1486407"/>
              <a:gd name="connsiteY9" fmla="*/ 768858 h 3663904"/>
              <a:gd name="connsiteX10" fmla="*/ 1230910 w 1486407"/>
              <a:gd name="connsiteY10" fmla="*/ 768858 h 3663904"/>
              <a:gd name="connsiteX11" fmla="*/ 1486407 w 1486407"/>
              <a:gd name="connsiteY11" fmla="*/ 990816 h 3663904"/>
              <a:gd name="connsiteX12" fmla="*/ 644551 w 1486407"/>
              <a:gd name="connsiteY12" fmla="*/ 985138 h 3663904"/>
              <a:gd name="connsiteX13" fmla="*/ 404774 w 1486407"/>
              <a:gd name="connsiteY13" fmla="*/ 1224915 h 3663904"/>
              <a:gd name="connsiteX14" fmla="*/ 404773 w 1486407"/>
              <a:gd name="connsiteY14" fmla="*/ 3654243 h 3663904"/>
              <a:gd name="connsiteX15" fmla="*/ 342736 w 1486407"/>
              <a:gd name="connsiteY15" fmla="*/ 3616862 h 3663904"/>
              <a:gd name="connsiteX16" fmla="*/ 274144 w 1486407"/>
              <a:gd name="connsiteY16" fmla="*/ 3663904 h 3663904"/>
              <a:gd name="connsiteX17" fmla="*/ 270790 w 1486407"/>
              <a:gd name="connsiteY17" fmla="*/ 2747775 h 3663904"/>
              <a:gd name="connsiteX18" fmla="*/ 166722 w 1486407"/>
              <a:gd name="connsiteY18" fmla="*/ 2572462 h 3663904"/>
              <a:gd name="connsiteX0" fmla="*/ 166722 w 1543184"/>
              <a:gd name="connsiteY0" fmla="*/ 2572462 h 3663904"/>
              <a:gd name="connsiteX1" fmla="*/ 169571 w 1543184"/>
              <a:gd name="connsiteY1" fmla="*/ 1878814 h 3663904"/>
              <a:gd name="connsiteX2" fmla="*/ 0 w 1543184"/>
              <a:gd name="connsiteY2" fmla="*/ 1645872 h 3663904"/>
              <a:gd name="connsiteX3" fmla="*/ 5614 w 1543184"/>
              <a:gd name="connsiteY3" fmla="*/ 6680 h 3663904"/>
              <a:gd name="connsiteX4" fmla="*/ 196114 w 1543184"/>
              <a:gd name="connsiteY4" fmla="*/ 38100 h 3663904"/>
              <a:gd name="connsiteX5" fmla="*/ 310414 w 1543184"/>
              <a:gd name="connsiteY5" fmla="*/ 0 h 3663904"/>
              <a:gd name="connsiteX6" fmla="*/ 473380 w 1543184"/>
              <a:gd name="connsiteY6" fmla="*/ 12862 h 3663904"/>
              <a:gd name="connsiteX7" fmla="*/ 471456 w 1543184"/>
              <a:gd name="connsiteY7" fmla="*/ 603216 h 3663904"/>
              <a:gd name="connsiteX8" fmla="*/ 644551 w 1543184"/>
              <a:gd name="connsiteY8" fmla="*/ 768858 h 3663904"/>
              <a:gd name="connsiteX9" fmla="*/ 1230910 w 1543184"/>
              <a:gd name="connsiteY9" fmla="*/ 768858 h 3663904"/>
              <a:gd name="connsiteX10" fmla="*/ 1543184 w 1543184"/>
              <a:gd name="connsiteY10" fmla="*/ 780213 h 3663904"/>
              <a:gd name="connsiteX11" fmla="*/ 1486407 w 1543184"/>
              <a:gd name="connsiteY11" fmla="*/ 990816 h 3663904"/>
              <a:gd name="connsiteX12" fmla="*/ 644551 w 1543184"/>
              <a:gd name="connsiteY12" fmla="*/ 985138 h 3663904"/>
              <a:gd name="connsiteX13" fmla="*/ 404774 w 1543184"/>
              <a:gd name="connsiteY13" fmla="*/ 1224915 h 3663904"/>
              <a:gd name="connsiteX14" fmla="*/ 404773 w 1543184"/>
              <a:gd name="connsiteY14" fmla="*/ 3654243 h 3663904"/>
              <a:gd name="connsiteX15" fmla="*/ 342736 w 1543184"/>
              <a:gd name="connsiteY15" fmla="*/ 3616862 h 3663904"/>
              <a:gd name="connsiteX16" fmla="*/ 274144 w 1543184"/>
              <a:gd name="connsiteY16" fmla="*/ 3663904 h 3663904"/>
              <a:gd name="connsiteX17" fmla="*/ 270790 w 1543184"/>
              <a:gd name="connsiteY17" fmla="*/ 2747775 h 3663904"/>
              <a:gd name="connsiteX18" fmla="*/ 166722 w 1543184"/>
              <a:gd name="connsiteY18" fmla="*/ 2572462 h 3663904"/>
              <a:gd name="connsiteX0" fmla="*/ 166722 w 1543184"/>
              <a:gd name="connsiteY0" fmla="*/ 2572462 h 3663904"/>
              <a:gd name="connsiteX1" fmla="*/ 169571 w 1543184"/>
              <a:gd name="connsiteY1" fmla="*/ 1878814 h 3663904"/>
              <a:gd name="connsiteX2" fmla="*/ 0 w 1543184"/>
              <a:gd name="connsiteY2" fmla="*/ 1645872 h 3663904"/>
              <a:gd name="connsiteX3" fmla="*/ 5614 w 1543184"/>
              <a:gd name="connsiteY3" fmla="*/ 6680 h 3663904"/>
              <a:gd name="connsiteX4" fmla="*/ 196114 w 1543184"/>
              <a:gd name="connsiteY4" fmla="*/ 38100 h 3663904"/>
              <a:gd name="connsiteX5" fmla="*/ 310414 w 1543184"/>
              <a:gd name="connsiteY5" fmla="*/ 0 h 3663904"/>
              <a:gd name="connsiteX6" fmla="*/ 473380 w 1543184"/>
              <a:gd name="connsiteY6" fmla="*/ 12862 h 3663904"/>
              <a:gd name="connsiteX7" fmla="*/ 471456 w 1543184"/>
              <a:gd name="connsiteY7" fmla="*/ 603216 h 3663904"/>
              <a:gd name="connsiteX8" fmla="*/ 644551 w 1543184"/>
              <a:gd name="connsiteY8" fmla="*/ 768858 h 3663904"/>
              <a:gd name="connsiteX9" fmla="*/ 1230910 w 1543184"/>
              <a:gd name="connsiteY9" fmla="*/ 768858 h 3663904"/>
              <a:gd name="connsiteX10" fmla="*/ 1543184 w 1543184"/>
              <a:gd name="connsiteY10" fmla="*/ 780213 h 3663904"/>
              <a:gd name="connsiteX11" fmla="*/ 1537506 w 1543184"/>
              <a:gd name="connsiteY11" fmla="*/ 985138 h 3663904"/>
              <a:gd name="connsiteX12" fmla="*/ 644551 w 1543184"/>
              <a:gd name="connsiteY12" fmla="*/ 985138 h 3663904"/>
              <a:gd name="connsiteX13" fmla="*/ 404774 w 1543184"/>
              <a:gd name="connsiteY13" fmla="*/ 1224915 h 3663904"/>
              <a:gd name="connsiteX14" fmla="*/ 404773 w 1543184"/>
              <a:gd name="connsiteY14" fmla="*/ 3654243 h 3663904"/>
              <a:gd name="connsiteX15" fmla="*/ 342736 w 1543184"/>
              <a:gd name="connsiteY15" fmla="*/ 3616862 h 3663904"/>
              <a:gd name="connsiteX16" fmla="*/ 274144 w 1543184"/>
              <a:gd name="connsiteY16" fmla="*/ 3663904 h 3663904"/>
              <a:gd name="connsiteX17" fmla="*/ 270790 w 1543184"/>
              <a:gd name="connsiteY17" fmla="*/ 2747775 h 3663904"/>
              <a:gd name="connsiteX18" fmla="*/ 166722 w 1543184"/>
              <a:gd name="connsiteY18" fmla="*/ 2572462 h 3663904"/>
              <a:gd name="connsiteX0" fmla="*/ 166722 w 1543184"/>
              <a:gd name="connsiteY0" fmla="*/ 2572462 h 3663904"/>
              <a:gd name="connsiteX1" fmla="*/ 169571 w 1543184"/>
              <a:gd name="connsiteY1" fmla="*/ 1878814 h 3663904"/>
              <a:gd name="connsiteX2" fmla="*/ 0 w 1543184"/>
              <a:gd name="connsiteY2" fmla="*/ 1645872 h 3663904"/>
              <a:gd name="connsiteX3" fmla="*/ 5614 w 1543184"/>
              <a:gd name="connsiteY3" fmla="*/ 6680 h 3663904"/>
              <a:gd name="connsiteX4" fmla="*/ 196114 w 1543184"/>
              <a:gd name="connsiteY4" fmla="*/ 38100 h 3663904"/>
              <a:gd name="connsiteX5" fmla="*/ 310414 w 1543184"/>
              <a:gd name="connsiteY5" fmla="*/ 0 h 3663904"/>
              <a:gd name="connsiteX6" fmla="*/ 473380 w 1543184"/>
              <a:gd name="connsiteY6" fmla="*/ 12862 h 3663904"/>
              <a:gd name="connsiteX7" fmla="*/ 471456 w 1543184"/>
              <a:gd name="connsiteY7" fmla="*/ 603216 h 3663904"/>
              <a:gd name="connsiteX8" fmla="*/ 644551 w 1543184"/>
              <a:gd name="connsiteY8" fmla="*/ 768858 h 3663904"/>
              <a:gd name="connsiteX9" fmla="*/ 1543184 w 1543184"/>
              <a:gd name="connsiteY9" fmla="*/ 780213 h 3663904"/>
              <a:gd name="connsiteX10" fmla="*/ 1537506 w 1543184"/>
              <a:gd name="connsiteY10" fmla="*/ 985138 h 3663904"/>
              <a:gd name="connsiteX11" fmla="*/ 644551 w 1543184"/>
              <a:gd name="connsiteY11" fmla="*/ 985138 h 3663904"/>
              <a:gd name="connsiteX12" fmla="*/ 404774 w 1543184"/>
              <a:gd name="connsiteY12" fmla="*/ 1224915 h 3663904"/>
              <a:gd name="connsiteX13" fmla="*/ 404773 w 1543184"/>
              <a:gd name="connsiteY13" fmla="*/ 3654243 h 3663904"/>
              <a:gd name="connsiteX14" fmla="*/ 342736 w 1543184"/>
              <a:gd name="connsiteY14" fmla="*/ 3616862 h 3663904"/>
              <a:gd name="connsiteX15" fmla="*/ 274144 w 1543184"/>
              <a:gd name="connsiteY15" fmla="*/ 3663904 h 3663904"/>
              <a:gd name="connsiteX16" fmla="*/ 270790 w 1543184"/>
              <a:gd name="connsiteY16" fmla="*/ 2747775 h 3663904"/>
              <a:gd name="connsiteX17" fmla="*/ 166722 w 1543184"/>
              <a:gd name="connsiteY17" fmla="*/ 2572462 h 3663904"/>
              <a:gd name="connsiteX0" fmla="*/ 166722 w 1537506"/>
              <a:gd name="connsiteY0" fmla="*/ 2572462 h 3663904"/>
              <a:gd name="connsiteX1" fmla="*/ 169571 w 1537506"/>
              <a:gd name="connsiteY1" fmla="*/ 1878814 h 3663904"/>
              <a:gd name="connsiteX2" fmla="*/ 0 w 1537506"/>
              <a:gd name="connsiteY2" fmla="*/ 1645872 h 3663904"/>
              <a:gd name="connsiteX3" fmla="*/ 5614 w 1537506"/>
              <a:gd name="connsiteY3" fmla="*/ 6680 h 3663904"/>
              <a:gd name="connsiteX4" fmla="*/ 196114 w 1537506"/>
              <a:gd name="connsiteY4" fmla="*/ 38100 h 3663904"/>
              <a:gd name="connsiteX5" fmla="*/ 310414 w 1537506"/>
              <a:gd name="connsiteY5" fmla="*/ 0 h 3663904"/>
              <a:gd name="connsiteX6" fmla="*/ 473380 w 1537506"/>
              <a:gd name="connsiteY6" fmla="*/ 12862 h 3663904"/>
              <a:gd name="connsiteX7" fmla="*/ 471456 w 1537506"/>
              <a:gd name="connsiteY7" fmla="*/ 603216 h 3663904"/>
              <a:gd name="connsiteX8" fmla="*/ 644551 w 1537506"/>
              <a:gd name="connsiteY8" fmla="*/ 768858 h 3663904"/>
              <a:gd name="connsiteX9" fmla="*/ 1537506 w 1537506"/>
              <a:gd name="connsiteY9" fmla="*/ 768858 h 3663904"/>
              <a:gd name="connsiteX10" fmla="*/ 1537506 w 1537506"/>
              <a:gd name="connsiteY10" fmla="*/ 985138 h 3663904"/>
              <a:gd name="connsiteX11" fmla="*/ 644551 w 1537506"/>
              <a:gd name="connsiteY11" fmla="*/ 985138 h 3663904"/>
              <a:gd name="connsiteX12" fmla="*/ 404774 w 1537506"/>
              <a:gd name="connsiteY12" fmla="*/ 1224915 h 3663904"/>
              <a:gd name="connsiteX13" fmla="*/ 404773 w 1537506"/>
              <a:gd name="connsiteY13" fmla="*/ 3654243 h 3663904"/>
              <a:gd name="connsiteX14" fmla="*/ 342736 w 1537506"/>
              <a:gd name="connsiteY14" fmla="*/ 3616862 h 3663904"/>
              <a:gd name="connsiteX15" fmla="*/ 274144 w 1537506"/>
              <a:gd name="connsiteY15" fmla="*/ 3663904 h 3663904"/>
              <a:gd name="connsiteX16" fmla="*/ 270790 w 1537506"/>
              <a:gd name="connsiteY16" fmla="*/ 2747775 h 3663904"/>
              <a:gd name="connsiteX17" fmla="*/ 166722 w 1537506"/>
              <a:gd name="connsiteY17" fmla="*/ 2572462 h 3663904"/>
              <a:gd name="connsiteX0" fmla="*/ 166722 w 1537506"/>
              <a:gd name="connsiteY0" fmla="*/ 2572462 h 3663904"/>
              <a:gd name="connsiteX1" fmla="*/ 169571 w 1537506"/>
              <a:gd name="connsiteY1" fmla="*/ 1759582 h 3663904"/>
              <a:gd name="connsiteX2" fmla="*/ 0 w 1537506"/>
              <a:gd name="connsiteY2" fmla="*/ 1645872 h 3663904"/>
              <a:gd name="connsiteX3" fmla="*/ 5614 w 1537506"/>
              <a:gd name="connsiteY3" fmla="*/ 6680 h 3663904"/>
              <a:gd name="connsiteX4" fmla="*/ 196114 w 1537506"/>
              <a:gd name="connsiteY4" fmla="*/ 38100 h 3663904"/>
              <a:gd name="connsiteX5" fmla="*/ 310414 w 1537506"/>
              <a:gd name="connsiteY5" fmla="*/ 0 h 3663904"/>
              <a:gd name="connsiteX6" fmla="*/ 473380 w 1537506"/>
              <a:gd name="connsiteY6" fmla="*/ 12862 h 3663904"/>
              <a:gd name="connsiteX7" fmla="*/ 471456 w 1537506"/>
              <a:gd name="connsiteY7" fmla="*/ 603216 h 3663904"/>
              <a:gd name="connsiteX8" fmla="*/ 644551 w 1537506"/>
              <a:gd name="connsiteY8" fmla="*/ 768858 h 3663904"/>
              <a:gd name="connsiteX9" fmla="*/ 1537506 w 1537506"/>
              <a:gd name="connsiteY9" fmla="*/ 768858 h 3663904"/>
              <a:gd name="connsiteX10" fmla="*/ 1537506 w 1537506"/>
              <a:gd name="connsiteY10" fmla="*/ 985138 h 3663904"/>
              <a:gd name="connsiteX11" fmla="*/ 644551 w 1537506"/>
              <a:gd name="connsiteY11" fmla="*/ 985138 h 3663904"/>
              <a:gd name="connsiteX12" fmla="*/ 404774 w 1537506"/>
              <a:gd name="connsiteY12" fmla="*/ 1224915 h 3663904"/>
              <a:gd name="connsiteX13" fmla="*/ 404773 w 1537506"/>
              <a:gd name="connsiteY13" fmla="*/ 3654243 h 3663904"/>
              <a:gd name="connsiteX14" fmla="*/ 342736 w 1537506"/>
              <a:gd name="connsiteY14" fmla="*/ 3616862 h 3663904"/>
              <a:gd name="connsiteX15" fmla="*/ 274144 w 1537506"/>
              <a:gd name="connsiteY15" fmla="*/ 3663904 h 3663904"/>
              <a:gd name="connsiteX16" fmla="*/ 270790 w 1537506"/>
              <a:gd name="connsiteY16" fmla="*/ 2747775 h 3663904"/>
              <a:gd name="connsiteX17" fmla="*/ 166722 w 1537506"/>
              <a:gd name="connsiteY17" fmla="*/ 2572462 h 3663904"/>
              <a:gd name="connsiteX0" fmla="*/ 166722 w 1537506"/>
              <a:gd name="connsiteY0" fmla="*/ 2572462 h 3663904"/>
              <a:gd name="connsiteX1" fmla="*/ 169571 w 1537506"/>
              <a:gd name="connsiteY1" fmla="*/ 1759582 h 3663904"/>
              <a:gd name="connsiteX2" fmla="*/ 0 w 1537506"/>
              <a:gd name="connsiteY2" fmla="*/ 1464186 h 3663904"/>
              <a:gd name="connsiteX3" fmla="*/ 5614 w 1537506"/>
              <a:gd name="connsiteY3" fmla="*/ 6680 h 3663904"/>
              <a:gd name="connsiteX4" fmla="*/ 196114 w 1537506"/>
              <a:gd name="connsiteY4" fmla="*/ 38100 h 3663904"/>
              <a:gd name="connsiteX5" fmla="*/ 310414 w 1537506"/>
              <a:gd name="connsiteY5" fmla="*/ 0 h 3663904"/>
              <a:gd name="connsiteX6" fmla="*/ 473380 w 1537506"/>
              <a:gd name="connsiteY6" fmla="*/ 12862 h 3663904"/>
              <a:gd name="connsiteX7" fmla="*/ 471456 w 1537506"/>
              <a:gd name="connsiteY7" fmla="*/ 603216 h 3663904"/>
              <a:gd name="connsiteX8" fmla="*/ 644551 w 1537506"/>
              <a:gd name="connsiteY8" fmla="*/ 768858 h 3663904"/>
              <a:gd name="connsiteX9" fmla="*/ 1537506 w 1537506"/>
              <a:gd name="connsiteY9" fmla="*/ 768858 h 3663904"/>
              <a:gd name="connsiteX10" fmla="*/ 1537506 w 1537506"/>
              <a:gd name="connsiteY10" fmla="*/ 985138 h 3663904"/>
              <a:gd name="connsiteX11" fmla="*/ 644551 w 1537506"/>
              <a:gd name="connsiteY11" fmla="*/ 985138 h 3663904"/>
              <a:gd name="connsiteX12" fmla="*/ 404774 w 1537506"/>
              <a:gd name="connsiteY12" fmla="*/ 1224915 h 3663904"/>
              <a:gd name="connsiteX13" fmla="*/ 404773 w 1537506"/>
              <a:gd name="connsiteY13" fmla="*/ 3654243 h 3663904"/>
              <a:gd name="connsiteX14" fmla="*/ 342736 w 1537506"/>
              <a:gd name="connsiteY14" fmla="*/ 3616862 h 3663904"/>
              <a:gd name="connsiteX15" fmla="*/ 274144 w 1537506"/>
              <a:gd name="connsiteY15" fmla="*/ 3663904 h 3663904"/>
              <a:gd name="connsiteX16" fmla="*/ 270790 w 1537506"/>
              <a:gd name="connsiteY16" fmla="*/ 2747775 h 3663904"/>
              <a:gd name="connsiteX17" fmla="*/ 166722 w 1537506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44551 w 1605638"/>
              <a:gd name="connsiteY8" fmla="*/ 768858 h 3663904"/>
              <a:gd name="connsiteX9" fmla="*/ 1537506 w 1605638"/>
              <a:gd name="connsiteY9" fmla="*/ 768858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44551 w 1605638"/>
              <a:gd name="connsiteY8" fmla="*/ 768858 h 3663904"/>
              <a:gd name="connsiteX9" fmla="*/ 1594283 w 1605638"/>
              <a:gd name="connsiteY9" fmla="*/ 785891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50229 w 1605638"/>
              <a:gd name="connsiteY8" fmla="*/ 797246 h 3663904"/>
              <a:gd name="connsiteX9" fmla="*/ 1594283 w 1605638"/>
              <a:gd name="connsiteY9" fmla="*/ 785891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16994"/>
              <a:gd name="connsiteY0" fmla="*/ 2572462 h 3663904"/>
              <a:gd name="connsiteX1" fmla="*/ 169571 w 1616994"/>
              <a:gd name="connsiteY1" fmla="*/ 1759582 h 3663904"/>
              <a:gd name="connsiteX2" fmla="*/ 0 w 1616994"/>
              <a:gd name="connsiteY2" fmla="*/ 1464186 h 3663904"/>
              <a:gd name="connsiteX3" fmla="*/ 5614 w 1616994"/>
              <a:gd name="connsiteY3" fmla="*/ 6680 h 3663904"/>
              <a:gd name="connsiteX4" fmla="*/ 196114 w 1616994"/>
              <a:gd name="connsiteY4" fmla="*/ 38100 h 3663904"/>
              <a:gd name="connsiteX5" fmla="*/ 310414 w 1616994"/>
              <a:gd name="connsiteY5" fmla="*/ 0 h 3663904"/>
              <a:gd name="connsiteX6" fmla="*/ 473380 w 1616994"/>
              <a:gd name="connsiteY6" fmla="*/ 12862 h 3663904"/>
              <a:gd name="connsiteX7" fmla="*/ 471456 w 1616994"/>
              <a:gd name="connsiteY7" fmla="*/ 603216 h 3663904"/>
              <a:gd name="connsiteX8" fmla="*/ 650229 w 1616994"/>
              <a:gd name="connsiteY8" fmla="*/ 797246 h 3663904"/>
              <a:gd name="connsiteX9" fmla="*/ 1616994 w 1616994"/>
              <a:gd name="connsiteY9" fmla="*/ 808602 h 3663904"/>
              <a:gd name="connsiteX10" fmla="*/ 1605638 w 1616994"/>
              <a:gd name="connsiteY10" fmla="*/ 985138 h 3663904"/>
              <a:gd name="connsiteX11" fmla="*/ 644551 w 1616994"/>
              <a:gd name="connsiteY11" fmla="*/ 985138 h 3663904"/>
              <a:gd name="connsiteX12" fmla="*/ 404774 w 1616994"/>
              <a:gd name="connsiteY12" fmla="*/ 1224915 h 3663904"/>
              <a:gd name="connsiteX13" fmla="*/ 404773 w 1616994"/>
              <a:gd name="connsiteY13" fmla="*/ 3654243 h 3663904"/>
              <a:gd name="connsiteX14" fmla="*/ 342736 w 1616994"/>
              <a:gd name="connsiteY14" fmla="*/ 3616862 h 3663904"/>
              <a:gd name="connsiteX15" fmla="*/ 274144 w 1616994"/>
              <a:gd name="connsiteY15" fmla="*/ 3663904 h 3663904"/>
              <a:gd name="connsiteX16" fmla="*/ 270790 w 1616994"/>
              <a:gd name="connsiteY16" fmla="*/ 2747775 h 3663904"/>
              <a:gd name="connsiteX17" fmla="*/ 166722 w 1616994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50229 w 1605638"/>
              <a:gd name="connsiteY8" fmla="*/ 797246 h 3663904"/>
              <a:gd name="connsiteX9" fmla="*/ 1599961 w 1605638"/>
              <a:gd name="connsiteY9" fmla="*/ 814279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09320"/>
              <a:gd name="connsiteY0" fmla="*/ 2572462 h 3663904"/>
              <a:gd name="connsiteX1" fmla="*/ 169571 w 1609320"/>
              <a:gd name="connsiteY1" fmla="*/ 1759582 h 3663904"/>
              <a:gd name="connsiteX2" fmla="*/ 0 w 1609320"/>
              <a:gd name="connsiteY2" fmla="*/ 1464186 h 3663904"/>
              <a:gd name="connsiteX3" fmla="*/ 5614 w 1609320"/>
              <a:gd name="connsiteY3" fmla="*/ 6680 h 3663904"/>
              <a:gd name="connsiteX4" fmla="*/ 196114 w 1609320"/>
              <a:gd name="connsiteY4" fmla="*/ 38100 h 3663904"/>
              <a:gd name="connsiteX5" fmla="*/ 310414 w 1609320"/>
              <a:gd name="connsiteY5" fmla="*/ 0 h 3663904"/>
              <a:gd name="connsiteX6" fmla="*/ 473380 w 1609320"/>
              <a:gd name="connsiteY6" fmla="*/ 12862 h 3663904"/>
              <a:gd name="connsiteX7" fmla="*/ 471456 w 1609320"/>
              <a:gd name="connsiteY7" fmla="*/ 603216 h 3663904"/>
              <a:gd name="connsiteX8" fmla="*/ 650229 w 1609320"/>
              <a:gd name="connsiteY8" fmla="*/ 797246 h 3663904"/>
              <a:gd name="connsiteX9" fmla="*/ 1609320 w 1609320"/>
              <a:gd name="connsiteY9" fmla="*/ 808040 h 3663904"/>
              <a:gd name="connsiteX10" fmla="*/ 1605638 w 1609320"/>
              <a:gd name="connsiteY10" fmla="*/ 985138 h 3663904"/>
              <a:gd name="connsiteX11" fmla="*/ 644551 w 1609320"/>
              <a:gd name="connsiteY11" fmla="*/ 985138 h 3663904"/>
              <a:gd name="connsiteX12" fmla="*/ 404774 w 1609320"/>
              <a:gd name="connsiteY12" fmla="*/ 1224915 h 3663904"/>
              <a:gd name="connsiteX13" fmla="*/ 404773 w 1609320"/>
              <a:gd name="connsiteY13" fmla="*/ 3654243 h 3663904"/>
              <a:gd name="connsiteX14" fmla="*/ 342736 w 1609320"/>
              <a:gd name="connsiteY14" fmla="*/ 3616862 h 3663904"/>
              <a:gd name="connsiteX15" fmla="*/ 274144 w 1609320"/>
              <a:gd name="connsiteY15" fmla="*/ 3663904 h 3663904"/>
              <a:gd name="connsiteX16" fmla="*/ 270790 w 1609320"/>
              <a:gd name="connsiteY16" fmla="*/ 2747775 h 3663904"/>
              <a:gd name="connsiteX17" fmla="*/ 166722 w 1609320"/>
              <a:gd name="connsiteY17" fmla="*/ 2572462 h 3663904"/>
              <a:gd name="connsiteX0" fmla="*/ 166722 w 1606200"/>
              <a:gd name="connsiteY0" fmla="*/ 2572462 h 3663904"/>
              <a:gd name="connsiteX1" fmla="*/ 169571 w 1606200"/>
              <a:gd name="connsiteY1" fmla="*/ 1759582 h 3663904"/>
              <a:gd name="connsiteX2" fmla="*/ 0 w 1606200"/>
              <a:gd name="connsiteY2" fmla="*/ 1464186 h 3663904"/>
              <a:gd name="connsiteX3" fmla="*/ 5614 w 1606200"/>
              <a:gd name="connsiteY3" fmla="*/ 6680 h 3663904"/>
              <a:gd name="connsiteX4" fmla="*/ 196114 w 1606200"/>
              <a:gd name="connsiteY4" fmla="*/ 38100 h 3663904"/>
              <a:gd name="connsiteX5" fmla="*/ 310414 w 1606200"/>
              <a:gd name="connsiteY5" fmla="*/ 0 h 3663904"/>
              <a:gd name="connsiteX6" fmla="*/ 473380 w 1606200"/>
              <a:gd name="connsiteY6" fmla="*/ 12862 h 3663904"/>
              <a:gd name="connsiteX7" fmla="*/ 471456 w 1606200"/>
              <a:gd name="connsiteY7" fmla="*/ 603216 h 3663904"/>
              <a:gd name="connsiteX8" fmla="*/ 650229 w 1606200"/>
              <a:gd name="connsiteY8" fmla="*/ 797246 h 3663904"/>
              <a:gd name="connsiteX9" fmla="*/ 1606200 w 1606200"/>
              <a:gd name="connsiteY9" fmla="*/ 808040 h 3663904"/>
              <a:gd name="connsiteX10" fmla="*/ 1605638 w 1606200"/>
              <a:gd name="connsiteY10" fmla="*/ 985138 h 3663904"/>
              <a:gd name="connsiteX11" fmla="*/ 644551 w 1606200"/>
              <a:gd name="connsiteY11" fmla="*/ 985138 h 3663904"/>
              <a:gd name="connsiteX12" fmla="*/ 404774 w 1606200"/>
              <a:gd name="connsiteY12" fmla="*/ 1224915 h 3663904"/>
              <a:gd name="connsiteX13" fmla="*/ 404773 w 1606200"/>
              <a:gd name="connsiteY13" fmla="*/ 3654243 h 3663904"/>
              <a:gd name="connsiteX14" fmla="*/ 342736 w 1606200"/>
              <a:gd name="connsiteY14" fmla="*/ 3616862 h 3663904"/>
              <a:gd name="connsiteX15" fmla="*/ 274144 w 1606200"/>
              <a:gd name="connsiteY15" fmla="*/ 3663904 h 3663904"/>
              <a:gd name="connsiteX16" fmla="*/ 270790 w 1606200"/>
              <a:gd name="connsiteY16" fmla="*/ 2747775 h 3663904"/>
              <a:gd name="connsiteX17" fmla="*/ 166722 w 1606200"/>
              <a:gd name="connsiteY17" fmla="*/ 2572462 h 3663904"/>
              <a:gd name="connsiteX0" fmla="*/ 166722 w 1606200"/>
              <a:gd name="connsiteY0" fmla="*/ 2572462 h 3663904"/>
              <a:gd name="connsiteX1" fmla="*/ 169571 w 1606200"/>
              <a:gd name="connsiteY1" fmla="*/ 1759582 h 3663904"/>
              <a:gd name="connsiteX2" fmla="*/ 0 w 1606200"/>
              <a:gd name="connsiteY2" fmla="*/ 1464186 h 3663904"/>
              <a:gd name="connsiteX3" fmla="*/ 5614 w 1606200"/>
              <a:gd name="connsiteY3" fmla="*/ 6680 h 3663904"/>
              <a:gd name="connsiteX4" fmla="*/ 196114 w 1606200"/>
              <a:gd name="connsiteY4" fmla="*/ 38100 h 3663904"/>
              <a:gd name="connsiteX5" fmla="*/ 310414 w 1606200"/>
              <a:gd name="connsiteY5" fmla="*/ 0 h 3663904"/>
              <a:gd name="connsiteX6" fmla="*/ 473380 w 1606200"/>
              <a:gd name="connsiteY6" fmla="*/ 12862 h 3663904"/>
              <a:gd name="connsiteX7" fmla="*/ 471456 w 1606200"/>
              <a:gd name="connsiteY7" fmla="*/ 603216 h 3663904"/>
              <a:gd name="connsiteX8" fmla="*/ 650229 w 1606200"/>
              <a:gd name="connsiteY8" fmla="*/ 797246 h 3663904"/>
              <a:gd name="connsiteX9" fmla="*/ 1606200 w 1606200"/>
              <a:gd name="connsiteY9" fmla="*/ 808040 h 3663904"/>
              <a:gd name="connsiteX10" fmla="*/ 1155774 w 1606200"/>
              <a:gd name="connsiteY10" fmla="*/ 1211700 h 3663904"/>
              <a:gd name="connsiteX11" fmla="*/ 644551 w 1606200"/>
              <a:gd name="connsiteY11" fmla="*/ 985138 h 3663904"/>
              <a:gd name="connsiteX12" fmla="*/ 404774 w 1606200"/>
              <a:gd name="connsiteY12" fmla="*/ 1224915 h 3663904"/>
              <a:gd name="connsiteX13" fmla="*/ 404773 w 1606200"/>
              <a:gd name="connsiteY13" fmla="*/ 3654243 h 3663904"/>
              <a:gd name="connsiteX14" fmla="*/ 342736 w 1606200"/>
              <a:gd name="connsiteY14" fmla="*/ 3616862 h 3663904"/>
              <a:gd name="connsiteX15" fmla="*/ 274144 w 1606200"/>
              <a:gd name="connsiteY15" fmla="*/ 3663904 h 3663904"/>
              <a:gd name="connsiteX16" fmla="*/ 270790 w 1606200"/>
              <a:gd name="connsiteY16" fmla="*/ 2747775 h 3663904"/>
              <a:gd name="connsiteX17" fmla="*/ 166722 w 1606200"/>
              <a:gd name="connsiteY17" fmla="*/ 2572462 h 3663904"/>
              <a:gd name="connsiteX0" fmla="*/ 166722 w 1155808"/>
              <a:gd name="connsiteY0" fmla="*/ 2572462 h 3663904"/>
              <a:gd name="connsiteX1" fmla="*/ 169571 w 1155808"/>
              <a:gd name="connsiteY1" fmla="*/ 1759582 h 3663904"/>
              <a:gd name="connsiteX2" fmla="*/ 0 w 1155808"/>
              <a:gd name="connsiteY2" fmla="*/ 1464186 h 3663904"/>
              <a:gd name="connsiteX3" fmla="*/ 5614 w 1155808"/>
              <a:gd name="connsiteY3" fmla="*/ 6680 h 3663904"/>
              <a:gd name="connsiteX4" fmla="*/ 196114 w 1155808"/>
              <a:gd name="connsiteY4" fmla="*/ 38100 h 3663904"/>
              <a:gd name="connsiteX5" fmla="*/ 310414 w 1155808"/>
              <a:gd name="connsiteY5" fmla="*/ 0 h 3663904"/>
              <a:gd name="connsiteX6" fmla="*/ 473380 w 1155808"/>
              <a:gd name="connsiteY6" fmla="*/ 12862 h 3663904"/>
              <a:gd name="connsiteX7" fmla="*/ 471456 w 1155808"/>
              <a:gd name="connsiteY7" fmla="*/ 603216 h 3663904"/>
              <a:gd name="connsiteX8" fmla="*/ 650229 w 1155808"/>
              <a:gd name="connsiteY8" fmla="*/ 797246 h 3663904"/>
              <a:gd name="connsiteX9" fmla="*/ 1125940 w 1155808"/>
              <a:gd name="connsiteY9" fmla="*/ 1058877 h 3663904"/>
              <a:gd name="connsiteX10" fmla="*/ 1155774 w 1155808"/>
              <a:gd name="connsiteY10" fmla="*/ 1211700 h 3663904"/>
              <a:gd name="connsiteX11" fmla="*/ 644551 w 1155808"/>
              <a:gd name="connsiteY11" fmla="*/ 985138 h 3663904"/>
              <a:gd name="connsiteX12" fmla="*/ 404774 w 1155808"/>
              <a:gd name="connsiteY12" fmla="*/ 1224915 h 3663904"/>
              <a:gd name="connsiteX13" fmla="*/ 404773 w 1155808"/>
              <a:gd name="connsiteY13" fmla="*/ 3654243 h 3663904"/>
              <a:gd name="connsiteX14" fmla="*/ 342736 w 1155808"/>
              <a:gd name="connsiteY14" fmla="*/ 3616862 h 3663904"/>
              <a:gd name="connsiteX15" fmla="*/ 274144 w 1155808"/>
              <a:gd name="connsiteY15" fmla="*/ 3663904 h 3663904"/>
              <a:gd name="connsiteX16" fmla="*/ 270790 w 1155808"/>
              <a:gd name="connsiteY16" fmla="*/ 2747775 h 3663904"/>
              <a:gd name="connsiteX17" fmla="*/ 166722 w 1155808"/>
              <a:gd name="connsiteY17" fmla="*/ 2572462 h 3663904"/>
              <a:gd name="connsiteX0" fmla="*/ 166722 w 1155808"/>
              <a:gd name="connsiteY0" fmla="*/ 2572462 h 3663904"/>
              <a:gd name="connsiteX1" fmla="*/ 169571 w 1155808"/>
              <a:gd name="connsiteY1" fmla="*/ 1759582 h 3663904"/>
              <a:gd name="connsiteX2" fmla="*/ 0 w 1155808"/>
              <a:gd name="connsiteY2" fmla="*/ 1464186 h 3663904"/>
              <a:gd name="connsiteX3" fmla="*/ 5614 w 1155808"/>
              <a:gd name="connsiteY3" fmla="*/ 6680 h 3663904"/>
              <a:gd name="connsiteX4" fmla="*/ 196114 w 1155808"/>
              <a:gd name="connsiteY4" fmla="*/ 38100 h 3663904"/>
              <a:gd name="connsiteX5" fmla="*/ 310414 w 1155808"/>
              <a:gd name="connsiteY5" fmla="*/ 0 h 3663904"/>
              <a:gd name="connsiteX6" fmla="*/ 473380 w 1155808"/>
              <a:gd name="connsiteY6" fmla="*/ 12862 h 3663904"/>
              <a:gd name="connsiteX7" fmla="*/ 471456 w 1155808"/>
              <a:gd name="connsiteY7" fmla="*/ 603216 h 3663904"/>
              <a:gd name="connsiteX8" fmla="*/ 668466 w 1155808"/>
              <a:gd name="connsiteY8" fmla="*/ 837704 h 3663904"/>
              <a:gd name="connsiteX9" fmla="*/ 1125940 w 1155808"/>
              <a:gd name="connsiteY9" fmla="*/ 1058877 h 3663904"/>
              <a:gd name="connsiteX10" fmla="*/ 1155774 w 1155808"/>
              <a:gd name="connsiteY10" fmla="*/ 1211700 h 3663904"/>
              <a:gd name="connsiteX11" fmla="*/ 644551 w 1155808"/>
              <a:gd name="connsiteY11" fmla="*/ 985138 h 3663904"/>
              <a:gd name="connsiteX12" fmla="*/ 404774 w 1155808"/>
              <a:gd name="connsiteY12" fmla="*/ 1224915 h 3663904"/>
              <a:gd name="connsiteX13" fmla="*/ 404773 w 1155808"/>
              <a:gd name="connsiteY13" fmla="*/ 3654243 h 3663904"/>
              <a:gd name="connsiteX14" fmla="*/ 342736 w 1155808"/>
              <a:gd name="connsiteY14" fmla="*/ 3616862 h 3663904"/>
              <a:gd name="connsiteX15" fmla="*/ 274144 w 1155808"/>
              <a:gd name="connsiteY15" fmla="*/ 3663904 h 3663904"/>
              <a:gd name="connsiteX16" fmla="*/ 270790 w 1155808"/>
              <a:gd name="connsiteY16" fmla="*/ 2747775 h 3663904"/>
              <a:gd name="connsiteX17" fmla="*/ 166722 w 1155808"/>
              <a:gd name="connsiteY17" fmla="*/ 2572462 h 3663904"/>
              <a:gd name="connsiteX0" fmla="*/ 166722 w 1155808"/>
              <a:gd name="connsiteY0" fmla="*/ 2572462 h 3663904"/>
              <a:gd name="connsiteX1" fmla="*/ 169571 w 1155808"/>
              <a:gd name="connsiteY1" fmla="*/ 1759582 h 3663904"/>
              <a:gd name="connsiteX2" fmla="*/ 0 w 1155808"/>
              <a:gd name="connsiteY2" fmla="*/ 1464186 h 3663904"/>
              <a:gd name="connsiteX3" fmla="*/ 5614 w 1155808"/>
              <a:gd name="connsiteY3" fmla="*/ 6680 h 3663904"/>
              <a:gd name="connsiteX4" fmla="*/ 196114 w 1155808"/>
              <a:gd name="connsiteY4" fmla="*/ 38100 h 3663904"/>
              <a:gd name="connsiteX5" fmla="*/ 310414 w 1155808"/>
              <a:gd name="connsiteY5" fmla="*/ 0 h 3663904"/>
              <a:gd name="connsiteX6" fmla="*/ 473380 w 1155808"/>
              <a:gd name="connsiteY6" fmla="*/ 12862 h 3663904"/>
              <a:gd name="connsiteX7" fmla="*/ 471456 w 1155808"/>
              <a:gd name="connsiteY7" fmla="*/ 603216 h 3663904"/>
              <a:gd name="connsiteX8" fmla="*/ 680626 w 1155808"/>
              <a:gd name="connsiteY8" fmla="*/ 886253 h 3663904"/>
              <a:gd name="connsiteX9" fmla="*/ 1125940 w 1155808"/>
              <a:gd name="connsiteY9" fmla="*/ 1058877 h 3663904"/>
              <a:gd name="connsiteX10" fmla="*/ 1155774 w 1155808"/>
              <a:gd name="connsiteY10" fmla="*/ 1211700 h 3663904"/>
              <a:gd name="connsiteX11" fmla="*/ 644551 w 1155808"/>
              <a:gd name="connsiteY11" fmla="*/ 985138 h 3663904"/>
              <a:gd name="connsiteX12" fmla="*/ 404774 w 1155808"/>
              <a:gd name="connsiteY12" fmla="*/ 1224915 h 3663904"/>
              <a:gd name="connsiteX13" fmla="*/ 404773 w 1155808"/>
              <a:gd name="connsiteY13" fmla="*/ 3654243 h 3663904"/>
              <a:gd name="connsiteX14" fmla="*/ 342736 w 1155808"/>
              <a:gd name="connsiteY14" fmla="*/ 3616862 h 3663904"/>
              <a:gd name="connsiteX15" fmla="*/ 274144 w 1155808"/>
              <a:gd name="connsiteY15" fmla="*/ 3663904 h 3663904"/>
              <a:gd name="connsiteX16" fmla="*/ 270790 w 1155808"/>
              <a:gd name="connsiteY16" fmla="*/ 2747775 h 3663904"/>
              <a:gd name="connsiteX17" fmla="*/ 166722 w 1155808"/>
              <a:gd name="connsiteY17" fmla="*/ 2572462 h 3663904"/>
              <a:gd name="connsiteX0" fmla="*/ 166722 w 1155808"/>
              <a:gd name="connsiteY0" fmla="*/ 2572462 h 3663904"/>
              <a:gd name="connsiteX1" fmla="*/ 169571 w 1155808"/>
              <a:gd name="connsiteY1" fmla="*/ 1759582 h 3663904"/>
              <a:gd name="connsiteX2" fmla="*/ 0 w 1155808"/>
              <a:gd name="connsiteY2" fmla="*/ 1464186 h 3663904"/>
              <a:gd name="connsiteX3" fmla="*/ 5614 w 1155808"/>
              <a:gd name="connsiteY3" fmla="*/ 6680 h 3663904"/>
              <a:gd name="connsiteX4" fmla="*/ 196114 w 1155808"/>
              <a:gd name="connsiteY4" fmla="*/ 38100 h 3663904"/>
              <a:gd name="connsiteX5" fmla="*/ 310414 w 1155808"/>
              <a:gd name="connsiteY5" fmla="*/ 0 h 3663904"/>
              <a:gd name="connsiteX6" fmla="*/ 473380 w 1155808"/>
              <a:gd name="connsiteY6" fmla="*/ 12862 h 3663904"/>
              <a:gd name="connsiteX7" fmla="*/ 471456 w 1155808"/>
              <a:gd name="connsiteY7" fmla="*/ 603216 h 3663904"/>
              <a:gd name="connsiteX8" fmla="*/ 662389 w 1155808"/>
              <a:gd name="connsiteY8" fmla="*/ 845795 h 3663904"/>
              <a:gd name="connsiteX9" fmla="*/ 1125940 w 1155808"/>
              <a:gd name="connsiteY9" fmla="*/ 1058877 h 3663904"/>
              <a:gd name="connsiteX10" fmla="*/ 1155774 w 1155808"/>
              <a:gd name="connsiteY10" fmla="*/ 1211700 h 3663904"/>
              <a:gd name="connsiteX11" fmla="*/ 644551 w 1155808"/>
              <a:gd name="connsiteY11" fmla="*/ 985138 h 3663904"/>
              <a:gd name="connsiteX12" fmla="*/ 404774 w 1155808"/>
              <a:gd name="connsiteY12" fmla="*/ 1224915 h 3663904"/>
              <a:gd name="connsiteX13" fmla="*/ 404773 w 1155808"/>
              <a:gd name="connsiteY13" fmla="*/ 3654243 h 3663904"/>
              <a:gd name="connsiteX14" fmla="*/ 342736 w 1155808"/>
              <a:gd name="connsiteY14" fmla="*/ 3616862 h 3663904"/>
              <a:gd name="connsiteX15" fmla="*/ 274144 w 1155808"/>
              <a:gd name="connsiteY15" fmla="*/ 3663904 h 3663904"/>
              <a:gd name="connsiteX16" fmla="*/ 270790 w 1155808"/>
              <a:gd name="connsiteY16" fmla="*/ 2747775 h 3663904"/>
              <a:gd name="connsiteX17" fmla="*/ 166722 w 1155808"/>
              <a:gd name="connsiteY17" fmla="*/ 2572462 h 3663904"/>
              <a:gd name="connsiteX0" fmla="*/ 166722 w 1125940"/>
              <a:gd name="connsiteY0" fmla="*/ 2572462 h 3663904"/>
              <a:gd name="connsiteX1" fmla="*/ 169571 w 1125940"/>
              <a:gd name="connsiteY1" fmla="*/ 1759582 h 3663904"/>
              <a:gd name="connsiteX2" fmla="*/ 0 w 1125940"/>
              <a:gd name="connsiteY2" fmla="*/ 1464186 h 3663904"/>
              <a:gd name="connsiteX3" fmla="*/ 5614 w 1125940"/>
              <a:gd name="connsiteY3" fmla="*/ 6680 h 3663904"/>
              <a:gd name="connsiteX4" fmla="*/ 196114 w 1125940"/>
              <a:gd name="connsiteY4" fmla="*/ 38100 h 3663904"/>
              <a:gd name="connsiteX5" fmla="*/ 310414 w 1125940"/>
              <a:gd name="connsiteY5" fmla="*/ 0 h 3663904"/>
              <a:gd name="connsiteX6" fmla="*/ 473380 w 1125940"/>
              <a:gd name="connsiteY6" fmla="*/ 12862 h 3663904"/>
              <a:gd name="connsiteX7" fmla="*/ 471456 w 1125940"/>
              <a:gd name="connsiteY7" fmla="*/ 603216 h 3663904"/>
              <a:gd name="connsiteX8" fmla="*/ 662389 w 1125940"/>
              <a:gd name="connsiteY8" fmla="*/ 845795 h 3663904"/>
              <a:gd name="connsiteX9" fmla="*/ 1125940 w 1125940"/>
              <a:gd name="connsiteY9" fmla="*/ 1058877 h 3663904"/>
              <a:gd name="connsiteX10" fmla="*/ 1125378 w 1125940"/>
              <a:gd name="connsiteY10" fmla="*/ 1203609 h 3663904"/>
              <a:gd name="connsiteX11" fmla="*/ 644551 w 1125940"/>
              <a:gd name="connsiteY11" fmla="*/ 985138 h 3663904"/>
              <a:gd name="connsiteX12" fmla="*/ 404774 w 1125940"/>
              <a:gd name="connsiteY12" fmla="*/ 1224915 h 3663904"/>
              <a:gd name="connsiteX13" fmla="*/ 404773 w 1125940"/>
              <a:gd name="connsiteY13" fmla="*/ 3654243 h 3663904"/>
              <a:gd name="connsiteX14" fmla="*/ 342736 w 1125940"/>
              <a:gd name="connsiteY14" fmla="*/ 3616862 h 3663904"/>
              <a:gd name="connsiteX15" fmla="*/ 274144 w 1125940"/>
              <a:gd name="connsiteY15" fmla="*/ 3663904 h 3663904"/>
              <a:gd name="connsiteX16" fmla="*/ 270790 w 1125940"/>
              <a:gd name="connsiteY16" fmla="*/ 2747775 h 3663904"/>
              <a:gd name="connsiteX17" fmla="*/ 166722 w 1125940"/>
              <a:gd name="connsiteY17" fmla="*/ 2572462 h 3663904"/>
              <a:gd name="connsiteX0" fmla="*/ 166722 w 1125940"/>
              <a:gd name="connsiteY0" fmla="*/ 2572462 h 3663904"/>
              <a:gd name="connsiteX1" fmla="*/ 169571 w 1125940"/>
              <a:gd name="connsiteY1" fmla="*/ 1759582 h 3663904"/>
              <a:gd name="connsiteX2" fmla="*/ 0 w 1125940"/>
              <a:gd name="connsiteY2" fmla="*/ 1464186 h 3663904"/>
              <a:gd name="connsiteX3" fmla="*/ 5614 w 1125940"/>
              <a:gd name="connsiteY3" fmla="*/ 6680 h 3663904"/>
              <a:gd name="connsiteX4" fmla="*/ 196114 w 1125940"/>
              <a:gd name="connsiteY4" fmla="*/ 38100 h 3663904"/>
              <a:gd name="connsiteX5" fmla="*/ 310414 w 1125940"/>
              <a:gd name="connsiteY5" fmla="*/ 0 h 3663904"/>
              <a:gd name="connsiteX6" fmla="*/ 473380 w 1125940"/>
              <a:gd name="connsiteY6" fmla="*/ 12862 h 3663904"/>
              <a:gd name="connsiteX7" fmla="*/ 538328 w 1125940"/>
              <a:gd name="connsiteY7" fmla="*/ 619399 h 3663904"/>
              <a:gd name="connsiteX8" fmla="*/ 662389 w 1125940"/>
              <a:gd name="connsiteY8" fmla="*/ 845795 h 3663904"/>
              <a:gd name="connsiteX9" fmla="*/ 1125940 w 1125940"/>
              <a:gd name="connsiteY9" fmla="*/ 1058877 h 3663904"/>
              <a:gd name="connsiteX10" fmla="*/ 1125378 w 1125940"/>
              <a:gd name="connsiteY10" fmla="*/ 1203609 h 3663904"/>
              <a:gd name="connsiteX11" fmla="*/ 644551 w 1125940"/>
              <a:gd name="connsiteY11" fmla="*/ 985138 h 3663904"/>
              <a:gd name="connsiteX12" fmla="*/ 404774 w 1125940"/>
              <a:gd name="connsiteY12" fmla="*/ 1224915 h 3663904"/>
              <a:gd name="connsiteX13" fmla="*/ 404773 w 1125940"/>
              <a:gd name="connsiteY13" fmla="*/ 3654243 h 3663904"/>
              <a:gd name="connsiteX14" fmla="*/ 342736 w 1125940"/>
              <a:gd name="connsiteY14" fmla="*/ 3616862 h 3663904"/>
              <a:gd name="connsiteX15" fmla="*/ 274144 w 1125940"/>
              <a:gd name="connsiteY15" fmla="*/ 3663904 h 3663904"/>
              <a:gd name="connsiteX16" fmla="*/ 270790 w 1125940"/>
              <a:gd name="connsiteY16" fmla="*/ 2747775 h 3663904"/>
              <a:gd name="connsiteX17" fmla="*/ 166722 w 1125940"/>
              <a:gd name="connsiteY17" fmla="*/ 2572462 h 3663904"/>
              <a:gd name="connsiteX0" fmla="*/ 166722 w 1125940"/>
              <a:gd name="connsiteY0" fmla="*/ 2572462 h 3663904"/>
              <a:gd name="connsiteX1" fmla="*/ 169571 w 1125940"/>
              <a:gd name="connsiteY1" fmla="*/ 1759582 h 3663904"/>
              <a:gd name="connsiteX2" fmla="*/ 0 w 1125940"/>
              <a:gd name="connsiteY2" fmla="*/ 1464186 h 3663904"/>
              <a:gd name="connsiteX3" fmla="*/ 5614 w 1125940"/>
              <a:gd name="connsiteY3" fmla="*/ 6680 h 3663904"/>
              <a:gd name="connsiteX4" fmla="*/ 196114 w 1125940"/>
              <a:gd name="connsiteY4" fmla="*/ 38100 h 3663904"/>
              <a:gd name="connsiteX5" fmla="*/ 310414 w 1125940"/>
              <a:gd name="connsiteY5" fmla="*/ 0 h 3663904"/>
              <a:gd name="connsiteX6" fmla="*/ 473380 w 1125940"/>
              <a:gd name="connsiteY6" fmla="*/ 12862 h 3663904"/>
              <a:gd name="connsiteX7" fmla="*/ 538328 w 1125940"/>
              <a:gd name="connsiteY7" fmla="*/ 619399 h 3663904"/>
              <a:gd name="connsiteX8" fmla="*/ 662389 w 1125940"/>
              <a:gd name="connsiteY8" fmla="*/ 845795 h 3663904"/>
              <a:gd name="connsiteX9" fmla="*/ 1125940 w 1125940"/>
              <a:gd name="connsiteY9" fmla="*/ 1058877 h 3663904"/>
              <a:gd name="connsiteX10" fmla="*/ 1125378 w 1125940"/>
              <a:gd name="connsiteY10" fmla="*/ 1203609 h 3663904"/>
              <a:gd name="connsiteX11" fmla="*/ 644551 w 1125940"/>
              <a:gd name="connsiteY11" fmla="*/ 985138 h 3663904"/>
              <a:gd name="connsiteX12" fmla="*/ 404774 w 1125940"/>
              <a:gd name="connsiteY12" fmla="*/ 1224915 h 3663904"/>
              <a:gd name="connsiteX13" fmla="*/ 404773 w 1125940"/>
              <a:gd name="connsiteY13" fmla="*/ 3654243 h 3663904"/>
              <a:gd name="connsiteX14" fmla="*/ 342736 w 1125940"/>
              <a:gd name="connsiteY14" fmla="*/ 3616862 h 3663904"/>
              <a:gd name="connsiteX15" fmla="*/ 274144 w 1125940"/>
              <a:gd name="connsiteY15" fmla="*/ 3663904 h 3663904"/>
              <a:gd name="connsiteX16" fmla="*/ 270790 w 1125940"/>
              <a:gd name="connsiteY16" fmla="*/ 2747775 h 3663904"/>
              <a:gd name="connsiteX17" fmla="*/ 166722 w 1125940"/>
              <a:gd name="connsiteY17" fmla="*/ 2572462 h 3663904"/>
              <a:gd name="connsiteX0" fmla="*/ 166722 w 1125940"/>
              <a:gd name="connsiteY0" fmla="*/ 2572462 h 3663904"/>
              <a:gd name="connsiteX1" fmla="*/ 169571 w 1125940"/>
              <a:gd name="connsiteY1" fmla="*/ 1759582 h 3663904"/>
              <a:gd name="connsiteX2" fmla="*/ 0 w 1125940"/>
              <a:gd name="connsiteY2" fmla="*/ 1464186 h 3663904"/>
              <a:gd name="connsiteX3" fmla="*/ 5614 w 1125940"/>
              <a:gd name="connsiteY3" fmla="*/ 6680 h 3663904"/>
              <a:gd name="connsiteX4" fmla="*/ 196114 w 1125940"/>
              <a:gd name="connsiteY4" fmla="*/ 38100 h 3663904"/>
              <a:gd name="connsiteX5" fmla="*/ 310414 w 1125940"/>
              <a:gd name="connsiteY5" fmla="*/ 0 h 3663904"/>
              <a:gd name="connsiteX6" fmla="*/ 473380 w 1125940"/>
              <a:gd name="connsiteY6" fmla="*/ 12862 h 3663904"/>
              <a:gd name="connsiteX7" fmla="*/ 514011 w 1125940"/>
              <a:gd name="connsiteY7" fmla="*/ 619399 h 3663904"/>
              <a:gd name="connsiteX8" fmla="*/ 662389 w 1125940"/>
              <a:gd name="connsiteY8" fmla="*/ 845795 h 3663904"/>
              <a:gd name="connsiteX9" fmla="*/ 1125940 w 1125940"/>
              <a:gd name="connsiteY9" fmla="*/ 1058877 h 3663904"/>
              <a:gd name="connsiteX10" fmla="*/ 1125378 w 1125940"/>
              <a:gd name="connsiteY10" fmla="*/ 1203609 h 3663904"/>
              <a:gd name="connsiteX11" fmla="*/ 644551 w 1125940"/>
              <a:gd name="connsiteY11" fmla="*/ 985138 h 3663904"/>
              <a:gd name="connsiteX12" fmla="*/ 404774 w 1125940"/>
              <a:gd name="connsiteY12" fmla="*/ 1224915 h 3663904"/>
              <a:gd name="connsiteX13" fmla="*/ 404773 w 1125940"/>
              <a:gd name="connsiteY13" fmla="*/ 3654243 h 3663904"/>
              <a:gd name="connsiteX14" fmla="*/ 342736 w 1125940"/>
              <a:gd name="connsiteY14" fmla="*/ 3616862 h 3663904"/>
              <a:gd name="connsiteX15" fmla="*/ 274144 w 1125940"/>
              <a:gd name="connsiteY15" fmla="*/ 3663904 h 3663904"/>
              <a:gd name="connsiteX16" fmla="*/ 270790 w 1125940"/>
              <a:gd name="connsiteY16" fmla="*/ 2747775 h 3663904"/>
              <a:gd name="connsiteX17" fmla="*/ 166722 w 1125940"/>
              <a:gd name="connsiteY17" fmla="*/ 2572462 h 3663904"/>
              <a:gd name="connsiteX0" fmla="*/ 166722 w 1125940"/>
              <a:gd name="connsiteY0" fmla="*/ 2572462 h 3663904"/>
              <a:gd name="connsiteX1" fmla="*/ 169571 w 1125940"/>
              <a:gd name="connsiteY1" fmla="*/ 1759582 h 3663904"/>
              <a:gd name="connsiteX2" fmla="*/ 0 w 1125940"/>
              <a:gd name="connsiteY2" fmla="*/ 1464186 h 3663904"/>
              <a:gd name="connsiteX3" fmla="*/ 5614 w 1125940"/>
              <a:gd name="connsiteY3" fmla="*/ 6680 h 3663904"/>
              <a:gd name="connsiteX4" fmla="*/ 196114 w 1125940"/>
              <a:gd name="connsiteY4" fmla="*/ 38100 h 3663904"/>
              <a:gd name="connsiteX5" fmla="*/ 310414 w 1125940"/>
              <a:gd name="connsiteY5" fmla="*/ 0 h 3663904"/>
              <a:gd name="connsiteX6" fmla="*/ 473380 w 1125940"/>
              <a:gd name="connsiteY6" fmla="*/ 12862 h 3663904"/>
              <a:gd name="connsiteX7" fmla="*/ 514011 w 1125940"/>
              <a:gd name="connsiteY7" fmla="*/ 619399 h 3663904"/>
              <a:gd name="connsiteX8" fmla="*/ 662389 w 1125940"/>
              <a:gd name="connsiteY8" fmla="*/ 845795 h 3663904"/>
              <a:gd name="connsiteX9" fmla="*/ 1125940 w 1125940"/>
              <a:gd name="connsiteY9" fmla="*/ 1058877 h 3663904"/>
              <a:gd name="connsiteX10" fmla="*/ 1125378 w 1125940"/>
              <a:gd name="connsiteY10" fmla="*/ 1203609 h 3663904"/>
              <a:gd name="connsiteX11" fmla="*/ 644551 w 1125940"/>
              <a:gd name="connsiteY11" fmla="*/ 985138 h 3663904"/>
              <a:gd name="connsiteX12" fmla="*/ 404774 w 1125940"/>
              <a:gd name="connsiteY12" fmla="*/ 1224915 h 3663904"/>
              <a:gd name="connsiteX13" fmla="*/ 404773 w 1125940"/>
              <a:gd name="connsiteY13" fmla="*/ 3654243 h 3663904"/>
              <a:gd name="connsiteX14" fmla="*/ 342736 w 1125940"/>
              <a:gd name="connsiteY14" fmla="*/ 3616862 h 3663904"/>
              <a:gd name="connsiteX15" fmla="*/ 274144 w 1125940"/>
              <a:gd name="connsiteY15" fmla="*/ 3663904 h 3663904"/>
              <a:gd name="connsiteX16" fmla="*/ 270790 w 1125940"/>
              <a:gd name="connsiteY16" fmla="*/ 2747775 h 3663904"/>
              <a:gd name="connsiteX17" fmla="*/ 166722 w 1125940"/>
              <a:gd name="connsiteY17" fmla="*/ 2572462 h 3663904"/>
              <a:gd name="connsiteX0" fmla="*/ 166722 w 1125940"/>
              <a:gd name="connsiteY0" fmla="*/ 2572462 h 3663904"/>
              <a:gd name="connsiteX1" fmla="*/ 169571 w 1125940"/>
              <a:gd name="connsiteY1" fmla="*/ 1759582 h 3663904"/>
              <a:gd name="connsiteX2" fmla="*/ 0 w 1125940"/>
              <a:gd name="connsiteY2" fmla="*/ 1464186 h 3663904"/>
              <a:gd name="connsiteX3" fmla="*/ 5614 w 1125940"/>
              <a:gd name="connsiteY3" fmla="*/ 6680 h 3663904"/>
              <a:gd name="connsiteX4" fmla="*/ 196114 w 1125940"/>
              <a:gd name="connsiteY4" fmla="*/ 38100 h 3663904"/>
              <a:gd name="connsiteX5" fmla="*/ 310414 w 1125940"/>
              <a:gd name="connsiteY5" fmla="*/ 0 h 3663904"/>
              <a:gd name="connsiteX6" fmla="*/ 473380 w 1125940"/>
              <a:gd name="connsiteY6" fmla="*/ 198966 h 3663904"/>
              <a:gd name="connsiteX7" fmla="*/ 514011 w 1125940"/>
              <a:gd name="connsiteY7" fmla="*/ 619399 h 3663904"/>
              <a:gd name="connsiteX8" fmla="*/ 662389 w 1125940"/>
              <a:gd name="connsiteY8" fmla="*/ 845795 h 3663904"/>
              <a:gd name="connsiteX9" fmla="*/ 1125940 w 1125940"/>
              <a:gd name="connsiteY9" fmla="*/ 1058877 h 3663904"/>
              <a:gd name="connsiteX10" fmla="*/ 1125378 w 1125940"/>
              <a:gd name="connsiteY10" fmla="*/ 1203609 h 3663904"/>
              <a:gd name="connsiteX11" fmla="*/ 644551 w 1125940"/>
              <a:gd name="connsiteY11" fmla="*/ 985138 h 3663904"/>
              <a:gd name="connsiteX12" fmla="*/ 404774 w 1125940"/>
              <a:gd name="connsiteY12" fmla="*/ 1224915 h 3663904"/>
              <a:gd name="connsiteX13" fmla="*/ 404773 w 1125940"/>
              <a:gd name="connsiteY13" fmla="*/ 3654243 h 3663904"/>
              <a:gd name="connsiteX14" fmla="*/ 342736 w 1125940"/>
              <a:gd name="connsiteY14" fmla="*/ 3616862 h 3663904"/>
              <a:gd name="connsiteX15" fmla="*/ 274144 w 1125940"/>
              <a:gd name="connsiteY15" fmla="*/ 3663904 h 3663904"/>
              <a:gd name="connsiteX16" fmla="*/ 270790 w 1125940"/>
              <a:gd name="connsiteY16" fmla="*/ 2747775 h 3663904"/>
              <a:gd name="connsiteX17" fmla="*/ 166722 w 1125940"/>
              <a:gd name="connsiteY17" fmla="*/ 2572462 h 3663904"/>
              <a:gd name="connsiteX0" fmla="*/ 166722 w 1125940"/>
              <a:gd name="connsiteY0" fmla="*/ 2565782 h 3657224"/>
              <a:gd name="connsiteX1" fmla="*/ 169571 w 1125940"/>
              <a:gd name="connsiteY1" fmla="*/ 1752902 h 3657224"/>
              <a:gd name="connsiteX2" fmla="*/ 0 w 1125940"/>
              <a:gd name="connsiteY2" fmla="*/ 1457506 h 3657224"/>
              <a:gd name="connsiteX3" fmla="*/ 5614 w 1125940"/>
              <a:gd name="connsiteY3" fmla="*/ 0 h 3657224"/>
              <a:gd name="connsiteX4" fmla="*/ 196114 w 1125940"/>
              <a:gd name="connsiteY4" fmla="*/ 31420 h 3657224"/>
              <a:gd name="connsiteX5" fmla="*/ 473380 w 1125940"/>
              <a:gd name="connsiteY5" fmla="*/ 192286 h 3657224"/>
              <a:gd name="connsiteX6" fmla="*/ 514011 w 1125940"/>
              <a:gd name="connsiteY6" fmla="*/ 612719 h 3657224"/>
              <a:gd name="connsiteX7" fmla="*/ 662389 w 1125940"/>
              <a:gd name="connsiteY7" fmla="*/ 839115 h 3657224"/>
              <a:gd name="connsiteX8" fmla="*/ 1125940 w 1125940"/>
              <a:gd name="connsiteY8" fmla="*/ 1052197 h 3657224"/>
              <a:gd name="connsiteX9" fmla="*/ 1125378 w 1125940"/>
              <a:gd name="connsiteY9" fmla="*/ 1196929 h 3657224"/>
              <a:gd name="connsiteX10" fmla="*/ 644551 w 1125940"/>
              <a:gd name="connsiteY10" fmla="*/ 978458 h 3657224"/>
              <a:gd name="connsiteX11" fmla="*/ 404774 w 1125940"/>
              <a:gd name="connsiteY11" fmla="*/ 1218235 h 3657224"/>
              <a:gd name="connsiteX12" fmla="*/ 404773 w 1125940"/>
              <a:gd name="connsiteY12" fmla="*/ 3647563 h 3657224"/>
              <a:gd name="connsiteX13" fmla="*/ 342736 w 1125940"/>
              <a:gd name="connsiteY13" fmla="*/ 3610182 h 3657224"/>
              <a:gd name="connsiteX14" fmla="*/ 274144 w 1125940"/>
              <a:gd name="connsiteY14" fmla="*/ 3657224 h 3657224"/>
              <a:gd name="connsiteX15" fmla="*/ 270790 w 1125940"/>
              <a:gd name="connsiteY15" fmla="*/ 2741095 h 3657224"/>
              <a:gd name="connsiteX16" fmla="*/ 166722 w 1125940"/>
              <a:gd name="connsiteY16" fmla="*/ 2565782 h 3657224"/>
              <a:gd name="connsiteX0" fmla="*/ 166722 w 1125940"/>
              <a:gd name="connsiteY0" fmla="*/ 2639059 h 3730501"/>
              <a:gd name="connsiteX1" fmla="*/ 169571 w 1125940"/>
              <a:gd name="connsiteY1" fmla="*/ 1826179 h 3730501"/>
              <a:gd name="connsiteX2" fmla="*/ 0 w 1125940"/>
              <a:gd name="connsiteY2" fmla="*/ 1530783 h 3730501"/>
              <a:gd name="connsiteX3" fmla="*/ 5614 w 1125940"/>
              <a:gd name="connsiteY3" fmla="*/ 73277 h 3730501"/>
              <a:gd name="connsiteX4" fmla="*/ 473380 w 1125940"/>
              <a:gd name="connsiteY4" fmla="*/ 265563 h 3730501"/>
              <a:gd name="connsiteX5" fmla="*/ 514011 w 1125940"/>
              <a:gd name="connsiteY5" fmla="*/ 685996 h 3730501"/>
              <a:gd name="connsiteX6" fmla="*/ 662389 w 1125940"/>
              <a:gd name="connsiteY6" fmla="*/ 912392 h 3730501"/>
              <a:gd name="connsiteX7" fmla="*/ 1125940 w 1125940"/>
              <a:gd name="connsiteY7" fmla="*/ 1125474 h 3730501"/>
              <a:gd name="connsiteX8" fmla="*/ 1125378 w 1125940"/>
              <a:gd name="connsiteY8" fmla="*/ 1270206 h 3730501"/>
              <a:gd name="connsiteX9" fmla="*/ 644551 w 1125940"/>
              <a:gd name="connsiteY9" fmla="*/ 1051735 h 3730501"/>
              <a:gd name="connsiteX10" fmla="*/ 404774 w 1125940"/>
              <a:gd name="connsiteY10" fmla="*/ 1291512 h 3730501"/>
              <a:gd name="connsiteX11" fmla="*/ 404773 w 1125940"/>
              <a:gd name="connsiteY11" fmla="*/ 3720840 h 3730501"/>
              <a:gd name="connsiteX12" fmla="*/ 342736 w 1125940"/>
              <a:gd name="connsiteY12" fmla="*/ 3683459 h 3730501"/>
              <a:gd name="connsiteX13" fmla="*/ 274144 w 1125940"/>
              <a:gd name="connsiteY13" fmla="*/ 3730501 h 3730501"/>
              <a:gd name="connsiteX14" fmla="*/ 270790 w 1125940"/>
              <a:gd name="connsiteY14" fmla="*/ 2814372 h 3730501"/>
              <a:gd name="connsiteX15" fmla="*/ 166722 w 1125940"/>
              <a:gd name="connsiteY15" fmla="*/ 2639059 h 3730501"/>
              <a:gd name="connsiteX0" fmla="*/ 166722 w 1125940"/>
              <a:gd name="connsiteY0" fmla="*/ 2565782 h 3657224"/>
              <a:gd name="connsiteX1" fmla="*/ 169571 w 1125940"/>
              <a:gd name="connsiteY1" fmla="*/ 1752902 h 3657224"/>
              <a:gd name="connsiteX2" fmla="*/ 0 w 1125940"/>
              <a:gd name="connsiteY2" fmla="*/ 1457506 h 3657224"/>
              <a:gd name="connsiteX3" fmla="*/ 5614 w 1125940"/>
              <a:gd name="connsiteY3" fmla="*/ 0 h 3657224"/>
              <a:gd name="connsiteX4" fmla="*/ 473380 w 1125940"/>
              <a:gd name="connsiteY4" fmla="*/ 192286 h 3657224"/>
              <a:gd name="connsiteX5" fmla="*/ 514011 w 1125940"/>
              <a:gd name="connsiteY5" fmla="*/ 612719 h 3657224"/>
              <a:gd name="connsiteX6" fmla="*/ 662389 w 1125940"/>
              <a:gd name="connsiteY6" fmla="*/ 839115 h 3657224"/>
              <a:gd name="connsiteX7" fmla="*/ 1125940 w 1125940"/>
              <a:gd name="connsiteY7" fmla="*/ 1052197 h 3657224"/>
              <a:gd name="connsiteX8" fmla="*/ 1125378 w 1125940"/>
              <a:gd name="connsiteY8" fmla="*/ 1196929 h 3657224"/>
              <a:gd name="connsiteX9" fmla="*/ 644551 w 1125940"/>
              <a:gd name="connsiteY9" fmla="*/ 978458 h 3657224"/>
              <a:gd name="connsiteX10" fmla="*/ 404774 w 1125940"/>
              <a:gd name="connsiteY10" fmla="*/ 1218235 h 3657224"/>
              <a:gd name="connsiteX11" fmla="*/ 404773 w 1125940"/>
              <a:gd name="connsiteY11" fmla="*/ 3647563 h 3657224"/>
              <a:gd name="connsiteX12" fmla="*/ 342736 w 1125940"/>
              <a:gd name="connsiteY12" fmla="*/ 3610182 h 3657224"/>
              <a:gd name="connsiteX13" fmla="*/ 274144 w 1125940"/>
              <a:gd name="connsiteY13" fmla="*/ 3657224 h 3657224"/>
              <a:gd name="connsiteX14" fmla="*/ 270790 w 1125940"/>
              <a:gd name="connsiteY14" fmla="*/ 2741095 h 3657224"/>
              <a:gd name="connsiteX15" fmla="*/ 166722 w 1125940"/>
              <a:gd name="connsiteY15" fmla="*/ 2565782 h 3657224"/>
              <a:gd name="connsiteX0" fmla="*/ 166722 w 1125940"/>
              <a:gd name="connsiteY0" fmla="*/ 2373497 h 3464939"/>
              <a:gd name="connsiteX1" fmla="*/ 169571 w 1125940"/>
              <a:gd name="connsiteY1" fmla="*/ 1560617 h 3464939"/>
              <a:gd name="connsiteX2" fmla="*/ 0 w 1125940"/>
              <a:gd name="connsiteY2" fmla="*/ 1265221 h 3464939"/>
              <a:gd name="connsiteX3" fmla="*/ 66407 w 1125940"/>
              <a:gd name="connsiteY3" fmla="*/ 1910 h 3464939"/>
              <a:gd name="connsiteX4" fmla="*/ 473380 w 1125940"/>
              <a:gd name="connsiteY4" fmla="*/ 1 h 3464939"/>
              <a:gd name="connsiteX5" fmla="*/ 514011 w 1125940"/>
              <a:gd name="connsiteY5" fmla="*/ 420434 h 3464939"/>
              <a:gd name="connsiteX6" fmla="*/ 662389 w 1125940"/>
              <a:gd name="connsiteY6" fmla="*/ 646830 h 3464939"/>
              <a:gd name="connsiteX7" fmla="*/ 1125940 w 1125940"/>
              <a:gd name="connsiteY7" fmla="*/ 859912 h 3464939"/>
              <a:gd name="connsiteX8" fmla="*/ 1125378 w 1125940"/>
              <a:gd name="connsiteY8" fmla="*/ 1004644 h 3464939"/>
              <a:gd name="connsiteX9" fmla="*/ 644551 w 1125940"/>
              <a:gd name="connsiteY9" fmla="*/ 786173 h 3464939"/>
              <a:gd name="connsiteX10" fmla="*/ 404774 w 1125940"/>
              <a:gd name="connsiteY10" fmla="*/ 1025950 h 3464939"/>
              <a:gd name="connsiteX11" fmla="*/ 404773 w 1125940"/>
              <a:gd name="connsiteY11" fmla="*/ 3455278 h 3464939"/>
              <a:gd name="connsiteX12" fmla="*/ 342736 w 1125940"/>
              <a:gd name="connsiteY12" fmla="*/ 3417897 h 3464939"/>
              <a:gd name="connsiteX13" fmla="*/ 274144 w 1125940"/>
              <a:gd name="connsiteY13" fmla="*/ 3464939 h 3464939"/>
              <a:gd name="connsiteX14" fmla="*/ 270790 w 1125940"/>
              <a:gd name="connsiteY14" fmla="*/ 2548810 h 3464939"/>
              <a:gd name="connsiteX15" fmla="*/ 166722 w 1125940"/>
              <a:gd name="connsiteY15" fmla="*/ 2373497 h 3464939"/>
              <a:gd name="connsiteX0" fmla="*/ 166722 w 1125940"/>
              <a:gd name="connsiteY0" fmla="*/ 2533416 h 3624858"/>
              <a:gd name="connsiteX1" fmla="*/ 169571 w 1125940"/>
              <a:gd name="connsiteY1" fmla="*/ 1720536 h 3624858"/>
              <a:gd name="connsiteX2" fmla="*/ 0 w 1125940"/>
              <a:gd name="connsiteY2" fmla="*/ 1425140 h 3624858"/>
              <a:gd name="connsiteX3" fmla="*/ 157595 w 1125940"/>
              <a:gd name="connsiteY3" fmla="*/ 0 h 3624858"/>
              <a:gd name="connsiteX4" fmla="*/ 473380 w 1125940"/>
              <a:gd name="connsiteY4" fmla="*/ 159920 h 3624858"/>
              <a:gd name="connsiteX5" fmla="*/ 514011 w 1125940"/>
              <a:gd name="connsiteY5" fmla="*/ 580353 h 3624858"/>
              <a:gd name="connsiteX6" fmla="*/ 662389 w 1125940"/>
              <a:gd name="connsiteY6" fmla="*/ 806749 h 3624858"/>
              <a:gd name="connsiteX7" fmla="*/ 1125940 w 1125940"/>
              <a:gd name="connsiteY7" fmla="*/ 1019831 h 3624858"/>
              <a:gd name="connsiteX8" fmla="*/ 1125378 w 1125940"/>
              <a:gd name="connsiteY8" fmla="*/ 1164563 h 3624858"/>
              <a:gd name="connsiteX9" fmla="*/ 644551 w 1125940"/>
              <a:gd name="connsiteY9" fmla="*/ 946092 h 3624858"/>
              <a:gd name="connsiteX10" fmla="*/ 404774 w 1125940"/>
              <a:gd name="connsiteY10" fmla="*/ 1185869 h 3624858"/>
              <a:gd name="connsiteX11" fmla="*/ 404773 w 1125940"/>
              <a:gd name="connsiteY11" fmla="*/ 3615197 h 3624858"/>
              <a:gd name="connsiteX12" fmla="*/ 342736 w 1125940"/>
              <a:gd name="connsiteY12" fmla="*/ 3577816 h 3624858"/>
              <a:gd name="connsiteX13" fmla="*/ 274144 w 1125940"/>
              <a:gd name="connsiteY13" fmla="*/ 3624858 h 3624858"/>
              <a:gd name="connsiteX14" fmla="*/ 270790 w 1125940"/>
              <a:gd name="connsiteY14" fmla="*/ 2708729 h 3624858"/>
              <a:gd name="connsiteX15" fmla="*/ 166722 w 1125940"/>
              <a:gd name="connsiteY15" fmla="*/ 2533416 h 3624858"/>
              <a:gd name="connsiteX0" fmla="*/ 166722 w 1125940"/>
              <a:gd name="connsiteY0" fmla="*/ 2533416 h 3624858"/>
              <a:gd name="connsiteX1" fmla="*/ 169571 w 1125940"/>
              <a:gd name="connsiteY1" fmla="*/ 1720536 h 3624858"/>
              <a:gd name="connsiteX2" fmla="*/ 0 w 1125940"/>
              <a:gd name="connsiteY2" fmla="*/ 1425140 h 3624858"/>
              <a:gd name="connsiteX3" fmla="*/ 157595 w 1125940"/>
              <a:gd name="connsiteY3" fmla="*/ 0 h 3624858"/>
              <a:gd name="connsiteX4" fmla="*/ 473380 w 1125940"/>
              <a:gd name="connsiteY4" fmla="*/ 159920 h 3624858"/>
              <a:gd name="connsiteX5" fmla="*/ 514011 w 1125940"/>
              <a:gd name="connsiteY5" fmla="*/ 580353 h 3624858"/>
              <a:gd name="connsiteX6" fmla="*/ 662389 w 1125940"/>
              <a:gd name="connsiteY6" fmla="*/ 806749 h 3624858"/>
              <a:gd name="connsiteX7" fmla="*/ 1125940 w 1125940"/>
              <a:gd name="connsiteY7" fmla="*/ 1019831 h 3624858"/>
              <a:gd name="connsiteX8" fmla="*/ 1125378 w 1125940"/>
              <a:gd name="connsiteY8" fmla="*/ 1164563 h 3624858"/>
              <a:gd name="connsiteX9" fmla="*/ 644551 w 1125940"/>
              <a:gd name="connsiteY9" fmla="*/ 946092 h 3624858"/>
              <a:gd name="connsiteX10" fmla="*/ 404774 w 1125940"/>
              <a:gd name="connsiteY10" fmla="*/ 1185869 h 3624858"/>
              <a:gd name="connsiteX11" fmla="*/ 404773 w 1125940"/>
              <a:gd name="connsiteY11" fmla="*/ 3615197 h 3624858"/>
              <a:gd name="connsiteX12" fmla="*/ 342736 w 1125940"/>
              <a:gd name="connsiteY12" fmla="*/ 3577816 h 3624858"/>
              <a:gd name="connsiteX13" fmla="*/ 274144 w 1125940"/>
              <a:gd name="connsiteY13" fmla="*/ 3624858 h 3624858"/>
              <a:gd name="connsiteX14" fmla="*/ 270790 w 1125940"/>
              <a:gd name="connsiteY14" fmla="*/ 2708729 h 3624858"/>
              <a:gd name="connsiteX15" fmla="*/ 166722 w 1125940"/>
              <a:gd name="connsiteY15" fmla="*/ 2533416 h 3624858"/>
              <a:gd name="connsiteX0" fmla="*/ 166722 w 1125940"/>
              <a:gd name="connsiteY0" fmla="*/ 2533416 h 3624858"/>
              <a:gd name="connsiteX1" fmla="*/ 169571 w 1125940"/>
              <a:gd name="connsiteY1" fmla="*/ 1720536 h 3624858"/>
              <a:gd name="connsiteX2" fmla="*/ 0 w 1125940"/>
              <a:gd name="connsiteY2" fmla="*/ 1425140 h 3624858"/>
              <a:gd name="connsiteX3" fmla="*/ 157595 w 1125940"/>
              <a:gd name="connsiteY3" fmla="*/ 0 h 3624858"/>
              <a:gd name="connsiteX4" fmla="*/ 473380 w 1125940"/>
              <a:gd name="connsiteY4" fmla="*/ 159920 h 3624858"/>
              <a:gd name="connsiteX5" fmla="*/ 514011 w 1125940"/>
              <a:gd name="connsiteY5" fmla="*/ 580353 h 3624858"/>
              <a:gd name="connsiteX6" fmla="*/ 662389 w 1125940"/>
              <a:gd name="connsiteY6" fmla="*/ 806749 h 3624858"/>
              <a:gd name="connsiteX7" fmla="*/ 1125940 w 1125940"/>
              <a:gd name="connsiteY7" fmla="*/ 1019831 h 3624858"/>
              <a:gd name="connsiteX8" fmla="*/ 1125378 w 1125940"/>
              <a:gd name="connsiteY8" fmla="*/ 1164563 h 3624858"/>
              <a:gd name="connsiteX9" fmla="*/ 644551 w 1125940"/>
              <a:gd name="connsiteY9" fmla="*/ 946092 h 3624858"/>
              <a:gd name="connsiteX10" fmla="*/ 550675 w 1125940"/>
              <a:gd name="connsiteY10" fmla="*/ 1129228 h 3624858"/>
              <a:gd name="connsiteX11" fmla="*/ 404773 w 1125940"/>
              <a:gd name="connsiteY11" fmla="*/ 3615197 h 3624858"/>
              <a:gd name="connsiteX12" fmla="*/ 342736 w 1125940"/>
              <a:gd name="connsiteY12" fmla="*/ 3577816 h 3624858"/>
              <a:gd name="connsiteX13" fmla="*/ 274144 w 1125940"/>
              <a:gd name="connsiteY13" fmla="*/ 3624858 h 3624858"/>
              <a:gd name="connsiteX14" fmla="*/ 270790 w 1125940"/>
              <a:gd name="connsiteY14" fmla="*/ 2708729 h 3624858"/>
              <a:gd name="connsiteX15" fmla="*/ 166722 w 1125940"/>
              <a:gd name="connsiteY15" fmla="*/ 2533416 h 3624858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50675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274144 w 1125940"/>
              <a:gd name="connsiteY13" fmla="*/ 3624858 h 4084504"/>
              <a:gd name="connsiteX14" fmla="*/ 270790 w 1125940"/>
              <a:gd name="connsiteY14" fmla="*/ 2708729 h 4084504"/>
              <a:gd name="connsiteX15" fmla="*/ 166722 w 1125940"/>
              <a:gd name="connsiteY15" fmla="*/ 2533416 h 4084504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50675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274144 w 1125940"/>
              <a:gd name="connsiteY13" fmla="*/ 3624858 h 4084504"/>
              <a:gd name="connsiteX14" fmla="*/ 270790 w 1125940"/>
              <a:gd name="connsiteY14" fmla="*/ 2708729 h 4084504"/>
              <a:gd name="connsiteX15" fmla="*/ 166722 w 1125940"/>
              <a:gd name="connsiteY15" fmla="*/ 2533416 h 4084504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74991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274144 w 1125940"/>
              <a:gd name="connsiteY13" fmla="*/ 3624858 h 4084504"/>
              <a:gd name="connsiteX14" fmla="*/ 270790 w 1125940"/>
              <a:gd name="connsiteY14" fmla="*/ 2708729 h 4084504"/>
              <a:gd name="connsiteX15" fmla="*/ 166722 w 1125940"/>
              <a:gd name="connsiteY15" fmla="*/ 2533416 h 4084504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74991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274144 w 1125940"/>
              <a:gd name="connsiteY13" fmla="*/ 3624858 h 4084504"/>
              <a:gd name="connsiteX14" fmla="*/ 270790 w 1125940"/>
              <a:gd name="connsiteY14" fmla="*/ 2708729 h 4084504"/>
              <a:gd name="connsiteX15" fmla="*/ 166722 w 1125940"/>
              <a:gd name="connsiteY15" fmla="*/ 2533416 h 4084504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74991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274144 w 1125940"/>
              <a:gd name="connsiteY13" fmla="*/ 3624858 h 4084504"/>
              <a:gd name="connsiteX14" fmla="*/ 270790 w 1125940"/>
              <a:gd name="connsiteY14" fmla="*/ 2708729 h 4084504"/>
              <a:gd name="connsiteX15" fmla="*/ 166722 w 1125940"/>
              <a:gd name="connsiteY15" fmla="*/ 2533416 h 4084504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74991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347191 w 1125940"/>
              <a:gd name="connsiteY13" fmla="*/ 3572746 h 4084504"/>
              <a:gd name="connsiteX14" fmla="*/ 274144 w 1125940"/>
              <a:gd name="connsiteY14" fmla="*/ 3624858 h 4084504"/>
              <a:gd name="connsiteX15" fmla="*/ 270790 w 1125940"/>
              <a:gd name="connsiteY15" fmla="*/ 2708729 h 4084504"/>
              <a:gd name="connsiteX16" fmla="*/ 166722 w 1125940"/>
              <a:gd name="connsiteY16" fmla="*/ 2533416 h 4084504"/>
              <a:gd name="connsiteX0" fmla="*/ 166722 w 1125940"/>
              <a:gd name="connsiteY0" fmla="*/ 2533416 h 4084504"/>
              <a:gd name="connsiteX1" fmla="*/ 169571 w 1125940"/>
              <a:gd name="connsiteY1" fmla="*/ 1720536 h 4084504"/>
              <a:gd name="connsiteX2" fmla="*/ 0 w 1125940"/>
              <a:gd name="connsiteY2" fmla="*/ 1425140 h 4084504"/>
              <a:gd name="connsiteX3" fmla="*/ 157595 w 1125940"/>
              <a:gd name="connsiteY3" fmla="*/ 0 h 4084504"/>
              <a:gd name="connsiteX4" fmla="*/ 473380 w 1125940"/>
              <a:gd name="connsiteY4" fmla="*/ 159920 h 4084504"/>
              <a:gd name="connsiteX5" fmla="*/ 514011 w 1125940"/>
              <a:gd name="connsiteY5" fmla="*/ 580353 h 4084504"/>
              <a:gd name="connsiteX6" fmla="*/ 662389 w 1125940"/>
              <a:gd name="connsiteY6" fmla="*/ 806749 h 4084504"/>
              <a:gd name="connsiteX7" fmla="*/ 1125940 w 1125940"/>
              <a:gd name="connsiteY7" fmla="*/ 1019831 h 4084504"/>
              <a:gd name="connsiteX8" fmla="*/ 1125378 w 1125940"/>
              <a:gd name="connsiteY8" fmla="*/ 1164563 h 4084504"/>
              <a:gd name="connsiteX9" fmla="*/ 644551 w 1125940"/>
              <a:gd name="connsiteY9" fmla="*/ 946092 h 4084504"/>
              <a:gd name="connsiteX10" fmla="*/ 574991 w 1125940"/>
              <a:gd name="connsiteY10" fmla="*/ 1129228 h 4084504"/>
              <a:gd name="connsiteX11" fmla="*/ 970143 w 1125940"/>
              <a:gd name="connsiteY11" fmla="*/ 4084503 h 4084504"/>
              <a:gd name="connsiteX12" fmla="*/ 342736 w 1125940"/>
              <a:gd name="connsiteY12" fmla="*/ 3577816 h 4084504"/>
              <a:gd name="connsiteX13" fmla="*/ 274144 w 1125940"/>
              <a:gd name="connsiteY13" fmla="*/ 3624858 h 4084504"/>
              <a:gd name="connsiteX14" fmla="*/ 270790 w 1125940"/>
              <a:gd name="connsiteY14" fmla="*/ 2708729 h 4084504"/>
              <a:gd name="connsiteX15" fmla="*/ 166722 w 1125940"/>
              <a:gd name="connsiteY15" fmla="*/ 2533416 h 4084504"/>
              <a:gd name="connsiteX0" fmla="*/ 166722 w 1125940"/>
              <a:gd name="connsiteY0" fmla="*/ 2533416 h 4220955"/>
              <a:gd name="connsiteX1" fmla="*/ 169571 w 1125940"/>
              <a:gd name="connsiteY1" fmla="*/ 1720536 h 4220955"/>
              <a:gd name="connsiteX2" fmla="*/ 0 w 1125940"/>
              <a:gd name="connsiteY2" fmla="*/ 1425140 h 4220955"/>
              <a:gd name="connsiteX3" fmla="*/ 157595 w 1125940"/>
              <a:gd name="connsiteY3" fmla="*/ 0 h 4220955"/>
              <a:gd name="connsiteX4" fmla="*/ 473380 w 1125940"/>
              <a:gd name="connsiteY4" fmla="*/ 159920 h 4220955"/>
              <a:gd name="connsiteX5" fmla="*/ 514011 w 1125940"/>
              <a:gd name="connsiteY5" fmla="*/ 580353 h 4220955"/>
              <a:gd name="connsiteX6" fmla="*/ 662389 w 1125940"/>
              <a:gd name="connsiteY6" fmla="*/ 806749 h 4220955"/>
              <a:gd name="connsiteX7" fmla="*/ 1125940 w 1125940"/>
              <a:gd name="connsiteY7" fmla="*/ 1019831 h 4220955"/>
              <a:gd name="connsiteX8" fmla="*/ 1125378 w 1125940"/>
              <a:gd name="connsiteY8" fmla="*/ 1164563 h 4220955"/>
              <a:gd name="connsiteX9" fmla="*/ 644551 w 1125940"/>
              <a:gd name="connsiteY9" fmla="*/ 946092 h 4220955"/>
              <a:gd name="connsiteX10" fmla="*/ 574991 w 1125940"/>
              <a:gd name="connsiteY10" fmla="*/ 1129228 h 4220955"/>
              <a:gd name="connsiteX11" fmla="*/ 970143 w 1125940"/>
              <a:gd name="connsiteY11" fmla="*/ 4084503 h 4220955"/>
              <a:gd name="connsiteX12" fmla="*/ 274144 w 1125940"/>
              <a:gd name="connsiteY12" fmla="*/ 3624858 h 4220955"/>
              <a:gd name="connsiteX13" fmla="*/ 270790 w 1125940"/>
              <a:gd name="connsiteY13" fmla="*/ 2708729 h 4220955"/>
              <a:gd name="connsiteX14" fmla="*/ 166722 w 1125940"/>
              <a:gd name="connsiteY14" fmla="*/ 2533416 h 4220955"/>
              <a:gd name="connsiteX0" fmla="*/ 166722 w 1125940"/>
              <a:gd name="connsiteY0" fmla="*/ 2533416 h 4084503"/>
              <a:gd name="connsiteX1" fmla="*/ 169571 w 1125940"/>
              <a:gd name="connsiteY1" fmla="*/ 1720536 h 4084503"/>
              <a:gd name="connsiteX2" fmla="*/ 0 w 1125940"/>
              <a:gd name="connsiteY2" fmla="*/ 1425140 h 4084503"/>
              <a:gd name="connsiteX3" fmla="*/ 157595 w 1125940"/>
              <a:gd name="connsiteY3" fmla="*/ 0 h 4084503"/>
              <a:gd name="connsiteX4" fmla="*/ 473380 w 1125940"/>
              <a:gd name="connsiteY4" fmla="*/ 159920 h 4084503"/>
              <a:gd name="connsiteX5" fmla="*/ 514011 w 1125940"/>
              <a:gd name="connsiteY5" fmla="*/ 580353 h 4084503"/>
              <a:gd name="connsiteX6" fmla="*/ 662389 w 1125940"/>
              <a:gd name="connsiteY6" fmla="*/ 806749 h 4084503"/>
              <a:gd name="connsiteX7" fmla="*/ 1125940 w 1125940"/>
              <a:gd name="connsiteY7" fmla="*/ 1019831 h 4084503"/>
              <a:gd name="connsiteX8" fmla="*/ 1125378 w 1125940"/>
              <a:gd name="connsiteY8" fmla="*/ 1164563 h 4084503"/>
              <a:gd name="connsiteX9" fmla="*/ 644551 w 1125940"/>
              <a:gd name="connsiteY9" fmla="*/ 946092 h 4084503"/>
              <a:gd name="connsiteX10" fmla="*/ 574991 w 1125940"/>
              <a:gd name="connsiteY10" fmla="*/ 1129228 h 4084503"/>
              <a:gd name="connsiteX11" fmla="*/ 970143 w 1125940"/>
              <a:gd name="connsiteY11" fmla="*/ 4084503 h 4084503"/>
              <a:gd name="connsiteX12" fmla="*/ 274144 w 1125940"/>
              <a:gd name="connsiteY12" fmla="*/ 3624858 h 4084503"/>
              <a:gd name="connsiteX13" fmla="*/ 270790 w 1125940"/>
              <a:gd name="connsiteY13" fmla="*/ 2708729 h 4084503"/>
              <a:gd name="connsiteX14" fmla="*/ 166722 w 1125940"/>
              <a:gd name="connsiteY14" fmla="*/ 2533416 h 4084503"/>
              <a:gd name="connsiteX0" fmla="*/ 166722 w 1125940"/>
              <a:gd name="connsiteY0" fmla="*/ 2533416 h 4084503"/>
              <a:gd name="connsiteX1" fmla="*/ 169571 w 1125940"/>
              <a:gd name="connsiteY1" fmla="*/ 1720536 h 4084503"/>
              <a:gd name="connsiteX2" fmla="*/ 0 w 1125940"/>
              <a:gd name="connsiteY2" fmla="*/ 1425140 h 4084503"/>
              <a:gd name="connsiteX3" fmla="*/ 157595 w 1125940"/>
              <a:gd name="connsiteY3" fmla="*/ 0 h 4084503"/>
              <a:gd name="connsiteX4" fmla="*/ 473380 w 1125940"/>
              <a:gd name="connsiteY4" fmla="*/ 159920 h 4084503"/>
              <a:gd name="connsiteX5" fmla="*/ 514011 w 1125940"/>
              <a:gd name="connsiteY5" fmla="*/ 580353 h 4084503"/>
              <a:gd name="connsiteX6" fmla="*/ 662389 w 1125940"/>
              <a:gd name="connsiteY6" fmla="*/ 806749 h 4084503"/>
              <a:gd name="connsiteX7" fmla="*/ 1125940 w 1125940"/>
              <a:gd name="connsiteY7" fmla="*/ 1019831 h 4084503"/>
              <a:gd name="connsiteX8" fmla="*/ 1125378 w 1125940"/>
              <a:gd name="connsiteY8" fmla="*/ 1164563 h 4084503"/>
              <a:gd name="connsiteX9" fmla="*/ 644551 w 1125940"/>
              <a:gd name="connsiteY9" fmla="*/ 946092 h 4084503"/>
              <a:gd name="connsiteX10" fmla="*/ 574991 w 1125940"/>
              <a:gd name="connsiteY10" fmla="*/ 1129228 h 4084503"/>
              <a:gd name="connsiteX11" fmla="*/ 970143 w 1125940"/>
              <a:gd name="connsiteY11" fmla="*/ 4084503 h 4084503"/>
              <a:gd name="connsiteX12" fmla="*/ 857752 w 1125940"/>
              <a:gd name="connsiteY12" fmla="*/ 4037524 h 4084503"/>
              <a:gd name="connsiteX13" fmla="*/ 270790 w 1125940"/>
              <a:gd name="connsiteY13" fmla="*/ 2708729 h 4084503"/>
              <a:gd name="connsiteX14" fmla="*/ 166722 w 1125940"/>
              <a:gd name="connsiteY14" fmla="*/ 2533416 h 4084503"/>
              <a:gd name="connsiteX0" fmla="*/ 166722 w 1125940"/>
              <a:gd name="connsiteY0" fmla="*/ 2533416 h 4084503"/>
              <a:gd name="connsiteX1" fmla="*/ 169571 w 1125940"/>
              <a:gd name="connsiteY1" fmla="*/ 1720536 h 4084503"/>
              <a:gd name="connsiteX2" fmla="*/ 0 w 1125940"/>
              <a:gd name="connsiteY2" fmla="*/ 1425140 h 4084503"/>
              <a:gd name="connsiteX3" fmla="*/ 157595 w 1125940"/>
              <a:gd name="connsiteY3" fmla="*/ 0 h 4084503"/>
              <a:gd name="connsiteX4" fmla="*/ 473380 w 1125940"/>
              <a:gd name="connsiteY4" fmla="*/ 159920 h 4084503"/>
              <a:gd name="connsiteX5" fmla="*/ 514011 w 1125940"/>
              <a:gd name="connsiteY5" fmla="*/ 580353 h 4084503"/>
              <a:gd name="connsiteX6" fmla="*/ 662389 w 1125940"/>
              <a:gd name="connsiteY6" fmla="*/ 806749 h 4084503"/>
              <a:gd name="connsiteX7" fmla="*/ 1125940 w 1125940"/>
              <a:gd name="connsiteY7" fmla="*/ 1019831 h 4084503"/>
              <a:gd name="connsiteX8" fmla="*/ 1125378 w 1125940"/>
              <a:gd name="connsiteY8" fmla="*/ 1164563 h 4084503"/>
              <a:gd name="connsiteX9" fmla="*/ 644551 w 1125940"/>
              <a:gd name="connsiteY9" fmla="*/ 946092 h 4084503"/>
              <a:gd name="connsiteX10" fmla="*/ 574991 w 1125940"/>
              <a:gd name="connsiteY10" fmla="*/ 1129228 h 4084503"/>
              <a:gd name="connsiteX11" fmla="*/ 970143 w 1125940"/>
              <a:gd name="connsiteY11" fmla="*/ 4084503 h 4084503"/>
              <a:gd name="connsiteX12" fmla="*/ 857752 w 1125940"/>
              <a:gd name="connsiteY12" fmla="*/ 4037524 h 4084503"/>
              <a:gd name="connsiteX13" fmla="*/ 757130 w 1125940"/>
              <a:gd name="connsiteY13" fmla="*/ 3072846 h 4084503"/>
              <a:gd name="connsiteX14" fmla="*/ 166722 w 1125940"/>
              <a:gd name="connsiteY14" fmla="*/ 2533416 h 4084503"/>
              <a:gd name="connsiteX0" fmla="*/ 166722 w 1125940"/>
              <a:gd name="connsiteY0" fmla="*/ 2533416 h 4084503"/>
              <a:gd name="connsiteX1" fmla="*/ 169571 w 1125940"/>
              <a:gd name="connsiteY1" fmla="*/ 1720536 h 4084503"/>
              <a:gd name="connsiteX2" fmla="*/ 0 w 1125940"/>
              <a:gd name="connsiteY2" fmla="*/ 1425140 h 4084503"/>
              <a:gd name="connsiteX3" fmla="*/ 157595 w 1125940"/>
              <a:gd name="connsiteY3" fmla="*/ 0 h 4084503"/>
              <a:gd name="connsiteX4" fmla="*/ 473380 w 1125940"/>
              <a:gd name="connsiteY4" fmla="*/ 159920 h 4084503"/>
              <a:gd name="connsiteX5" fmla="*/ 514011 w 1125940"/>
              <a:gd name="connsiteY5" fmla="*/ 580353 h 4084503"/>
              <a:gd name="connsiteX6" fmla="*/ 662389 w 1125940"/>
              <a:gd name="connsiteY6" fmla="*/ 806749 h 4084503"/>
              <a:gd name="connsiteX7" fmla="*/ 1125940 w 1125940"/>
              <a:gd name="connsiteY7" fmla="*/ 1019831 h 4084503"/>
              <a:gd name="connsiteX8" fmla="*/ 1125378 w 1125940"/>
              <a:gd name="connsiteY8" fmla="*/ 1164563 h 4084503"/>
              <a:gd name="connsiteX9" fmla="*/ 644551 w 1125940"/>
              <a:gd name="connsiteY9" fmla="*/ 946092 h 4084503"/>
              <a:gd name="connsiteX10" fmla="*/ 574991 w 1125940"/>
              <a:gd name="connsiteY10" fmla="*/ 1129228 h 4084503"/>
              <a:gd name="connsiteX11" fmla="*/ 970143 w 1125940"/>
              <a:gd name="connsiteY11" fmla="*/ 4084503 h 4084503"/>
              <a:gd name="connsiteX12" fmla="*/ 857752 w 1125940"/>
              <a:gd name="connsiteY12" fmla="*/ 4037524 h 4084503"/>
              <a:gd name="connsiteX13" fmla="*/ 757130 w 1125940"/>
              <a:gd name="connsiteY13" fmla="*/ 3072846 h 4084503"/>
              <a:gd name="connsiteX14" fmla="*/ 166722 w 1125940"/>
              <a:gd name="connsiteY14" fmla="*/ 2533416 h 4084503"/>
              <a:gd name="connsiteX0" fmla="*/ 9127 w 968345"/>
              <a:gd name="connsiteY0" fmla="*/ 2533416 h 4084503"/>
              <a:gd name="connsiteX1" fmla="*/ 11976 w 968345"/>
              <a:gd name="connsiteY1" fmla="*/ 1720536 h 4084503"/>
              <a:gd name="connsiteX2" fmla="*/ 97734 w 968345"/>
              <a:gd name="connsiteY2" fmla="*/ 1368498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9127 w 968345"/>
              <a:gd name="connsiteY14" fmla="*/ 2533416 h 4084503"/>
              <a:gd name="connsiteX0" fmla="*/ 9127 w 968345"/>
              <a:gd name="connsiteY0" fmla="*/ 2533416 h 4084503"/>
              <a:gd name="connsiteX1" fmla="*/ 315939 w 968345"/>
              <a:gd name="connsiteY1" fmla="*/ 1728628 h 4084503"/>
              <a:gd name="connsiteX2" fmla="*/ 97734 w 968345"/>
              <a:gd name="connsiteY2" fmla="*/ 1368498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9127 w 968345"/>
              <a:gd name="connsiteY14" fmla="*/ 2533416 h 4084503"/>
              <a:gd name="connsiteX0" fmla="*/ 556258 w 968345"/>
              <a:gd name="connsiteY0" fmla="*/ 2881351 h 4084503"/>
              <a:gd name="connsiteX1" fmla="*/ 315939 w 968345"/>
              <a:gd name="connsiteY1" fmla="*/ 1728628 h 4084503"/>
              <a:gd name="connsiteX2" fmla="*/ 97734 w 968345"/>
              <a:gd name="connsiteY2" fmla="*/ 1368498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556258 w 968345"/>
              <a:gd name="connsiteY14" fmla="*/ 2881351 h 4084503"/>
              <a:gd name="connsiteX0" fmla="*/ 379960 w 968345"/>
              <a:gd name="connsiteY0" fmla="*/ 1926555 h 4084503"/>
              <a:gd name="connsiteX1" fmla="*/ 315939 w 968345"/>
              <a:gd name="connsiteY1" fmla="*/ 1728628 h 4084503"/>
              <a:gd name="connsiteX2" fmla="*/ 97734 w 968345"/>
              <a:gd name="connsiteY2" fmla="*/ 1368498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79960 w 968345"/>
              <a:gd name="connsiteY14" fmla="*/ 1926555 h 4084503"/>
              <a:gd name="connsiteX0" fmla="*/ 379960 w 968345"/>
              <a:gd name="connsiteY0" fmla="*/ 1926555 h 4084503"/>
              <a:gd name="connsiteX1" fmla="*/ 407128 w 968345"/>
              <a:gd name="connsiteY1" fmla="*/ 1647712 h 4084503"/>
              <a:gd name="connsiteX2" fmla="*/ 97734 w 968345"/>
              <a:gd name="connsiteY2" fmla="*/ 1368498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79960 w 968345"/>
              <a:gd name="connsiteY14" fmla="*/ 1926555 h 4084503"/>
              <a:gd name="connsiteX0" fmla="*/ 379960 w 968345"/>
              <a:gd name="connsiteY0" fmla="*/ 1926555 h 4084503"/>
              <a:gd name="connsiteX1" fmla="*/ 407128 w 968345"/>
              <a:gd name="connsiteY1" fmla="*/ 1647712 h 4084503"/>
              <a:gd name="connsiteX2" fmla="*/ 201081 w 968345"/>
              <a:gd name="connsiteY2" fmla="*/ 1190487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79960 w 968345"/>
              <a:gd name="connsiteY14" fmla="*/ 1926555 h 4084503"/>
              <a:gd name="connsiteX0" fmla="*/ 379960 w 968345"/>
              <a:gd name="connsiteY0" fmla="*/ 1926555 h 4084503"/>
              <a:gd name="connsiteX1" fmla="*/ 407128 w 968345"/>
              <a:gd name="connsiteY1" fmla="*/ 1647712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79960 w 968345"/>
              <a:gd name="connsiteY14" fmla="*/ 1926555 h 4084503"/>
              <a:gd name="connsiteX0" fmla="*/ 379960 w 968345"/>
              <a:gd name="connsiteY0" fmla="*/ 1926555 h 4084503"/>
              <a:gd name="connsiteX1" fmla="*/ 370653 w 968345"/>
              <a:gd name="connsiteY1" fmla="*/ 1493975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79960 w 968345"/>
              <a:gd name="connsiteY14" fmla="*/ 1926555 h 4084503"/>
              <a:gd name="connsiteX0" fmla="*/ 398197 w 968345"/>
              <a:gd name="connsiteY0" fmla="*/ 1926555 h 4084503"/>
              <a:gd name="connsiteX1" fmla="*/ 370653 w 968345"/>
              <a:gd name="connsiteY1" fmla="*/ 1493975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599535 w 968345"/>
              <a:gd name="connsiteY13" fmla="*/ 3072846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00157 w 968345"/>
              <a:gd name="connsiteY12" fmla="*/ 4037524 h 4084503"/>
              <a:gd name="connsiteX13" fmla="*/ 465791 w 968345"/>
              <a:gd name="connsiteY13" fmla="*/ 2190874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18394 w 968345"/>
              <a:gd name="connsiteY12" fmla="*/ 4037524 h 4084503"/>
              <a:gd name="connsiteX13" fmla="*/ 465791 w 968345"/>
              <a:gd name="connsiteY13" fmla="*/ 2190874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65791 w 968345"/>
              <a:gd name="connsiteY13" fmla="*/ 2190874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84030 w 968345"/>
              <a:gd name="connsiteY13" fmla="*/ 2190874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84030 w 968345"/>
              <a:gd name="connsiteY13" fmla="*/ 2190874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84030 w 968345"/>
              <a:gd name="connsiteY13" fmla="*/ 2190874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28097 w 968345"/>
              <a:gd name="connsiteY1" fmla="*/ 146161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52776 w 968345"/>
              <a:gd name="connsiteY1" fmla="*/ 1571100 h 4084503"/>
              <a:gd name="connsiteX2" fmla="*/ 134209 w 968345"/>
              <a:gd name="connsiteY2" fmla="*/ 1271400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52776 w 968345"/>
              <a:gd name="connsiteY1" fmla="*/ 1571100 h 4084503"/>
              <a:gd name="connsiteX2" fmla="*/ 142435 w 968345"/>
              <a:gd name="connsiteY2" fmla="*/ 1304247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56416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52776 w 968345"/>
              <a:gd name="connsiteY1" fmla="*/ 1571100 h 4084503"/>
              <a:gd name="connsiteX2" fmla="*/ 142435 w 968345"/>
              <a:gd name="connsiteY2" fmla="*/ 1304247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72868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  <a:gd name="connsiteX0" fmla="*/ 398197 w 968345"/>
              <a:gd name="connsiteY0" fmla="*/ 1926555 h 4084503"/>
              <a:gd name="connsiteX1" fmla="*/ 352776 w 968345"/>
              <a:gd name="connsiteY1" fmla="*/ 1571100 h 4084503"/>
              <a:gd name="connsiteX2" fmla="*/ 142435 w 968345"/>
              <a:gd name="connsiteY2" fmla="*/ 1304247 h 4084503"/>
              <a:gd name="connsiteX3" fmla="*/ 0 w 968345"/>
              <a:gd name="connsiteY3" fmla="*/ 0 h 4084503"/>
              <a:gd name="connsiteX4" fmla="*/ 315785 w 968345"/>
              <a:gd name="connsiteY4" fmla="*/ 159920 h 4084503"/>
              <a:gd name="connsiteX5" fmla="*/ 372868 w 968345"/>
              <a:gd name="connsiteY5" fmla="*/ 580353 h 4084503"/>
              <a:gd name="connsiteX6" fmla="*/ 504794 w 968345"/>
              <a:gd name="connsiteY6" fmla="*/ 806749 h 4084503"/>
              <a:gd name="connsiteX7" fmla="*/ 968345 w 968345"/>
              <a:gd name="connsiteY7" fmla="*/ 1019831 h 4084503"/>
              <a:gd name="connsiteX8" fmla="*/ 967783 w 968345"/>
              <a:gd name="connsiteY8" fmla="*/ 1164563 h 4084503"/>
              <a:gd name="connsiteX9" fmla="*/ 486956 w 968345"/>
              <a:gd name="connsiteY9" fmla="*/ 946092 h 4084503"/>
              <a:gd name="connsiteX10" fmla="*/ 417396 w 968345"/>
              <a:gd name="connsiteY10" fmla="*/ 1129228 h 4084503"/>
              <a:gd name="connsiteX11" fmla="*/ 812548 w 968345"/>
              <a:gd name="connsiteY11" fmla="*/ 4084503 h 4084503"/>
              <a:gd name="connsiteX12" fmla="*/ 742710 w 968345"/>
              <a:gd name="connsiteY12" fmla="*/ 4037524 h 4084503"/>
              <a:gd name="connsiteX13" fmla="*/ 475803 w 968345"/>
              <a:gd name="connsiteY13" fmla="*/ 2081383 h 4084503"/>
              <a:gd name="connsiteX14" fmla="*/ 398197 w 968345"/>
              <a:gd name="connsiteY14" fmla="*/ 1926555 h 40845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8345" h="4084503">
                <a:moveTo>
                  <a:pt x="398197" y="1926555"/>
                </a:moveTo>
                <a:lnTo>
                  <a:pt x="352776" y="1571100"/>
                </a:lnTo>
                <a:cubicBezTo>
                  <a:pt x="294965" y="1375777"/>
                  <a:pt x="228868" y="1317940"/>
                  <a:pt x="142435" y="1304247"/>
                </a:cubicBezTo>
                <a:lnTo>
                  <a:pt x="0" y="0"/>
                </a:lnTo>
                <a:lnTo>
                  <a:pt x="315785" y="159920"/>
                </a:lnTo>
                <a:lnTo>
                  <a:pt x="372868" y="580353"/>
                </a:lnTo>
                <a:cubicBezTo>
                  <a:pt x="392818" y="713017"/>
                  <a:pt x="446698" y="795944"/>
                  <a:pt x="504794" y="806749"/>
                </a:cubicBezTo>
                <a:lnTo>
                  <a:pt x="968345" y="1019831"/>
                </a:lnTo>
                <a:cubicBezTo>
                  <a:pt x="967118" y="1078864"/>
                  <a:pt x="969010" y="1105530"/>
                  <a:pt x="967783" y="1164563"/>
                </a:cubicBezTo>
                <a:lnTo>
                  <a:pt x="486956" y="946092"/>
                </a:lnTo>
                <a:cubicBezTo>
                  <a:pt x="397085" y="938000"/>
                  <a:pt x="405238" y="1037261"/>
                  <a:pt x="417396" y="1129228"/>
                </a:cubicBezTo>
                <a:lnTo>
                  <a:pt x="812548" y="4084503"/>
                </a:lnTo>
                <a:lnTo>
                  <a:pt x="742710" y="4037524"/>
                </a:lnTo>
                <a:lnTo>
                  <a:pt x="475803" y="2081383"/>
                </a:lnTo>
                <a:cubicBezTo>
                  <a:pt x="449583" y="1967399"/>
                  <a:pt x="445672" y="1967985"/>
                  <a:pt x="398197" y="1926555"/>
                </a:cubicBezTo>
                <a:close/>
              </a:path>
            </a:pathLst>
          </a:custGeom>
          <a:pattFill prst="dkDnDiag">
            <a:fgClr>
              <a:schemeClr val="tx2">
                <a:lumMod val="60000"/>
                <a:lumOff val="40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19" name="Rettangolo 6"/>
          <p:cNvSpPr/>
          <p:nvPr/>
        </p:nvSpPr>
        <p:spPr>
          <a:xfrm>
            <a:off x="6517141" y="2252490"/>
            <a:ext cx="246419" cy="1267078"/>
          </a:xfrm>
          <a:custGeom>
            <a:avLst/>
            <a:gdLst>
              <a:gd name="connsiteX0" fmla="*/ 0 w 265176"/>
              <a:gd name="connsiteY0" fmla="*/ 0 h 3886200"/>
              <a:gd name="connsiteX1" fmla="*/ 265176 w 265176"/>
              <a:gd name="connsiteY1" fmla="*/ 0 h 3886200"/>
              <a:gd name="connsiteX2" fmla="*/ 265176 w 265176"/>
              <a:gd name="connsiteY2" fmla="*/ 3886200 h 3886200"/>
              <a:gd name="connsiteX3" fmla="*/ 0 w 265176"/>
              <a:gd name="connsiteY3" fmla="*/ 3886200 h 3886200"/>
              <a:gd name="connsiteX4" fmla="*/ 0 w 265176"/>
              <a:gd name="connsiteY4" fmla="*/ 0 h 3886200"/>
              <a:gd name="connsiteX0" fmla="*/ 0 w 265176"/>
              <a:gd name="connsiteY0" fmla="*/ 155 h 3886355"/>
              <a:gd name="connsiteX1" fmla="*/ 155448 w 265176"/>
              <a:gd name="connsiteY1" fmla="*/ 36731 h 3886355"/>
              <a:gd name="connsiteX2" fmla="*/ 265176 w 265176"/>
              <a:gd name="connsiteY2" fmla="*/ 155 h 3886355"/>
              <a:gd name="connsiteX3" fmla="*/ 265176 w 265176"/>
              <a:gd name="connsiteY3" fmla="*/ 3886355 h 3886355"/>
              <a:gd name="connsiteX4" fmla="*/ 0 w 265176"/>
              <a:gd name="connsiteY4" fmla="*/ 3886355 h 3886355"/>
              <a:gd name="connsiteX5" fmla="*/ 0 w 265176"/>
              <a:gd name="connsiteY5" fmla="*/ 155 h 3886355"/>
              <a:gd name="connsiteX0" fmla="*/ 0 w 1165923"/>
              <a:gd name="connsiteY0" fmla="*/ 2502031 h 6388231"/>
              <a:gd name="connsiteX1" fmla="*/ 155448 w 1165923"/>
              <a:gd name="connsiteY1" fmla="*/ 2538607 h 6388231"/>
              <a:gd name="connsiteX2" fmla="*/ 1165923 w 1165923"/>
              <a:gd name="connsiteY2" fmla="*/ 0 h 6388231"/>
              <a:gd name="connsiteX3" fmla="*/ 265176 w 1165923"/>
              <a:gd name="connsiteY3" fmla="*/ 6388231 h 6388231"/>
              <a:gd name="connsiteX4" fmla="*/ 0 w 1165923"/>
              <a:gd name="connsiteY4" fmla="*/ 6388231 h 6388231"/>
              <a:gd name="connsiteX5" fmla="*/ 0 w 1165923"/>
              <a:gd name="connsiteY5" fmla="*/ 2502031 h 6388231"/>
              <a:gd name="connsiteX0" fmla="*/ 0 w 1165923"/>
              <a:gd name="connsiteY0" fmla="*/ 2502031 h 6388231"/>
              <a:gd name="connsiteX1" fmla="*/ 1114939 w 1165923"/>
              <a:gd name="connsiteY1" fmla="*/ 166889 h 6388231"/>
              <a:gd name="connsiteX2" fmla="*/ 1165923 w 1165923"/>
              <a:gd name="connsiteY2" fmla="*/ 0 h 6388231"/>
              <a:gd name="connsiteX3" fmla="*/ 265176 w 1165923"/>
              <a:gd name="connsiteY3" fmla="*/ 6388231 h 6388231"/>
              <a:gd name="connsiteX4" fmla="*/ 0 w 1165923"/>
              <a:gd name="connsiteY4" fmla="*/ 6388231 h 6388231"/>
              <a:gd name="connsiteX5" fmla="*/ 0 w 1165923"/>
              <a:gd name="connsiteY5" fmla="*/ 2502031 h 6388231"/>
              <a:gd name="connsiteX0" fmla="*/ 1037816 w 1165923"/>
              <a:gd name="connsiteY0" fmla="*/ 52126 h 6388231"/>
              <a:gd name="connsiteX1" fmla="*/ 1114939 w 1165923"/>
              <a:gd name="connsiteY1" fmla="*/ 166889 h 6388231"/>
              <a:gd name="connsiteX2" fmla="*/ 1165923 w 1165923"/>
              <a:gd name="connsiteY2" fmla="*/ 0 h 6388231"/>
              <a:gd name="connsiteX3" fmla="*/ 265176 w 1165923"/>
              <a:gd name="connsiteY3" fmla="*/ 6388231 h 6388231"/>
              <a:gd name="connsiteX4" fmla="*/ 0 w 1165923"/>
              <a:gd name="connsiteY4" fmla="*/ 6388231 h 6388231"/>
              <a:gd name="connsiteX5" fmla="*/ 1037816 w 1165923"/>
              <a:gd name="connsiteY5" fmla="*/ 52126 h 6388231"/>
              <a:gd name="connsiteX0" fmla="*/ 900745 w 1028852"/>
              <a:gd name="connsiteY0" fmla="*/ 52126 h 6401262"/>
              <a:gd name="connsiteX1" fmla="*/ 977868 w 1028852"/>
              <a:gd name="connsiteY1" fmla="*/ 166889 h 6401262"/>
              <a:gd name="connsiteX2" fmla="*/ 1028852 w 1028852"/>
              <a:gd name="connsiteY2" fmla="*/ 0 h 6401262"/>
              <a:gd name="connsiteX3" fmla="*/ 128105 w 1028852"/>
              <a:gd name="connsiteY3" fmla="*/ 6388231 h 6401262"/>
              <a:gd name="connsiteX4" fmla="*/ 0 w 1028852"/>
              <a:gd name="connsiteY4" fmla="*/ 6401262 h 6401262"/>
              <a:gd name="connsiteX5" fmla="*/ 900745 w 1028852"/>
              <a:gd name="connsiteY5" fmla="*/ 52126 h 6401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28852" h="6401262">
                <a:moveTo>
                  <a:pt x="900745" y="52126"/>
                </a:moveTo>
                <a:cubicBezTo>
                  <a:pt x="943417" y="49078"/>
                  <a:pt x="935196" y="169937"/>
                  <a:pt x="977868" y="166889"/>
                </a:cubicBezTo>
                <a:lnTo>
                  <a:pt x="1028852" y="0"/>
                </a:lnTo>
                <a:lnTo>
                  <a:pt x="128105" y="6388231"/>
                </a:lnTo>
                <a:lnTo>
                  <a:pt x="0" y="6401262"/>
                </a:lnTo>
                <a:lnTo>
                  <a:pt x="900745" y="52126"/>
                </a:lnTo>
                <a:close/>
              </a:path>
            </a:pathLst>
          </a:custGeom>
          <a:pattFill prst="dkUpDiag">
            <a:fgClr>
              <a:schemeClr val="accent3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20" name="Figura a mano libera 19"/>
          <p:cNvSpPr/>
          <p:nvPr/>
        </p:nvSpPr>
        <p:spPr>
          <a:xfrm>
            <a:off x="6315221" y="4007892"/>
            <a:ext cx="137460" cy="161086"/>
          </a:xfrm>
          <a:custGeom>
            <a:avLst/>
            <a:gdLst>
              <a:gd name="connsiteX0" fmla="*/ 0 w 329184"/>
              <a:gd name="connsiteY0" fmla="*/ 365760 h 365760"/>
              <a:gd name="connsiteX1" fmla="*/ 292608 w 329184"/>
              <a:gd name="connsiteY1" fmla="*/ 256032 h 365760"/>
              <a:gd name="connsiteX2" fmla="*/ 329184 w 329184"/>
              <a:gd name="connsiteY2" fmla="*/ 0 h 365760"/>
              <a:gd name="connsiteX3" fmla="*/ 54864 w 329184"/>
              <a:gd name="connsiteY3" fmla="*/ 100584 h 365760"/>
              <a:gd name="connsiteX4" fmla="*/ 0 w 329184"/>
              <a:gd name="connsiteY4" fmla="*/ 365760 h 365760"/>
              <a:gd name="connsiteX0" fmla="*/ 0 w 298848"/>
              <a:gd name="connsiteY0" fmla="*/ 313756 h 313756"/>
              <a:gd name="connsiteX1" fmla="*/ 262272 w 298848"/>
              <a:gd name="connsiteY1" fmla="*/ 256032 h 313756"/>
              <a:gd name="connsiteX2" fmla="*/ 298848 w 298848"/>
              <a:gd name="connsiteY2" fmla="*/ 0 h 313756"/>
              <a:gd name="connsiteX3" fmla="*/ 24528 w 298848"/>
              <a:gd name="connsiteY3" fmla="*/ 100584 h 313756"/>
              <a:gd name="connsiteX4" fmla="*/ 0 w 298848"/>
              <a:gd name="connsiteY4" fmla="*/ 313756 h 313756"/>
              <a:gd name="connsiteX0" fmla="*/ 0 w 298848"/>
              <a:gd name="connsiteY0" fmla="*/ 313756 h 313756"/>
              <a:gd name="connsiteX1" fmla="*/ 275273 w 298848"/>
              <a:gd name="connsiteY1" fmla="*/ 199695 h 313756"/>
              <a:gd name="connsiteX2" fmla="*/ 298848 w 298848"/>
              <a:gd name="connsiteY2" fmla="*/ 0 h 313756"/>
              <a:gd name="connsiteX3" fmla="*/ 24528 w 298848"/>
              <a:gd name="connsiteY3" fmla="*/ 100584 h 313756"/>
              <a:gd name="connsiteX4" fmla="*/ 0 w 298848"/>
              <a:gd name="connsiteY4" fmla="*/ 313756 h 313756"/>
              <a:gd name="connsiteX0" fmla="*/ 0 w 298848"/>
              <a:gd name="connsiteY0" fmla="*/ 313756 h 313756"/>
              <a:gd name="connsiteX1" fmla="*/ 275273 w 298848"/>
              <a:gd name="connsiteY1" fmla="*/ 199695 h 313756"/>
              <a:gd name="connsiteX2" fmla="*/ 298848 w 298848"/>
              <a:gd name="connsiteY2" fmla="*/ 0 h 313756"/>
              <a:gd name="connsiteX3" fmla="*/ 33196 w 298848"/>
              <a:gd name="connsiteY3" fmla="*/ 83250 h 313756"/>
              <a:gd name="connsiteX4" fmla="*/ 0 w 298848"/>
              <a:gd name="connsiteY4" fmla="*/ 313756 h 313756"/>
              <a:gd name="connsiteX0" fmla="*/ 0 w 298848"/>
              <a:gd name="connsiteY0" fmla="*/ 335424 h 335424"/>
              <a:gd name="connsiteX1" fmla="*/ 275273 w 298848"/>
              <a:gd name="connsiteY1" fmla="*/ 221363 h 335424"/>
              <a:gd name="connsiteX2" fmla="*/ 298848 w 298848"/>
              <a:gd name="connsiteY2" fmla="*/ 0 h 335424"/>
              <a:gd name="connsiteX3" fmla="*/ 33196 w 298848"/>
              <a:gd name="connsiteY3" fmla="*/ 104918 h 335424"/>
              <a:gd name="connsiteX4" fmla="*/ 0 w 298848"/>
              <a:gd name="connsiteY4" fmla="*/ 335424 h 335424"/>
              <a:gd name="connsiteX0" fmla="*/ 0 w 294514"/>
              <a:gd name="connsiteY0" fmla="*/ 313756 h 313756"/>
              <a:gd name="connsiteX1" fmla="*/ 270939 w 294514"/>
              <a:gd name="connsiteY1" fmla="*/ 221363 h 313756"/>
              <a:gd name="connsiteX2" fmla="*/ 294514 w 294514"/>
              <a:gd name="connsiteY2" fmla="*/ 0 h 313756"/>
              <a:gd name="connsiteX3" fmla="*/ 28862 w 294514"/>
              <a:gd name="connsiteY3" fmla="*/ 104918 h 313756"/>
              <a:gd name="connsiteX4" fmla="*/ 0 w 294514"/>
              <a:gd name="connsiteY4" fmla="*/ 313756 h 313756"/>
              <a:gd name="connsiteX0" fmla="*/ 0 w 294514"/>
              <a:gd name="connsiteY0" fmla="*/ 313756 h 313756"/>
              <a:gd name="connsiteX1" fmla="*/ 266606 w 294514"/>
              <a:gd name="connsiteY1" fmla="*/ 208362 h 313756"/>
              <a:gd name="connsiteX2" fmla="*/ 294514 w 294514"/>
              <a:gd name="connsiteY2" fmla="*/ 0 h 313756"/>
              <a:gd name="connsiteX3" fmla="*/ 28862 w 294514"/>
              <a:gd name="connsiteY3" fmla="*/ 104918 h 313756"/>
              <a:gd name="connsiteX4" fmla="*/ 0 w 294514"/>
              <a:gd name="connsiteY4" fmla="*/ 313756 h 3137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94514" h="313756">
                <a:moveTo>
                  <a:pt x="0" y="313756"/>
                </a:moveTo>
                <a:lnTo>
                  <a:pt x="266606" y="208362"/>
                </a:lnTo>
                <a:lnTo>
                  <a:pt x="294514" y="0"/>
                </a:lnTo>
                <a:lnTo>
                  <a:pt x="28862" y="104918"/>
                </a:lnTo>
                <a:lnTo>
                  <a:pt x="0" y="313756"/>
                </a:lnTo>
                <a:close/>
              </a:path>
            </a:pathLst>
          </a:custGeom>
          <a:pattFill prst="dkDnDiag">
            <a:fgClr>
              <a:schemeClr val="tx2">
                <a:lumMod val="60000"/>
                <a:lumOff val="40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21" name="AutoShape 310"/>
          <p:cNvSpPr>
            <a:spLocks/>
          </p:cNvSpPr>
          <p:nvPr/>
        </p:nvSpPr>
        <p:spPr bwMode="auto">
          <a:xfrm>
            <a:off x="7143115" y="3682816"/>
            <a:ext cx="767865" cy="255198"/>
          </a:xfrm>
          <a:prstGeom prst="callout2">
            <a:avLst>
              <a:gd name="adj1" fmla="val 41170"/>
              <a:gd name="adj2" fmla="val -2461"/>
              <a:gd name="adj3" fmla="val 41170"/>
              <a:gd name="adj4" fmla="val -9871"/>
              <a:gd name="adj5" fmla="val -91151"/>
              <a:gd name="adj6" fmla="val -50765"/>
            </a:avLst>
          </a:prstGeom>
          <a:noFill/>
          <a:ln w="6350">
            <a:solidFill>
              <a:schemeClr val="tx1"/>
            </a:solidFill>
            <a:miter lim="800000"/>
            <a:headEnd type="none" w="lg" len="lg"/>
            <a:tailEnd type="triangle" w="sm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rIns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323" b="1" dirty="0">
                <a:latin typeface="Arial Narrow" pitchFamily="34" charset="0"/>
                <a:ea typeface="ＭＳ Ｐゴシック" charset="-128"/>
                <a:sym typeface="Symbol"/>
              </a:rPr>
              <a:t>ROOT RIB</a:t>
            </a:r>
          </a:p>
        </p:txBody>
      </p:sp>
      <p:sp>
        <p:nvSpPr>
          <p:cNvPr id="23" name="AutoShape 310"/>
          <p:cNvSpPr>
            <a:spLocks/>
          </p:cNvSpPr>
          <p:nvPr/>
        </p:nvSpPr>
        <p:spPr bwMode="auto">
          <a:xfrm>
            <a:off x="7001281" y="1767829"/>
            <a:ext cx="909698" cy="418063"/>
          </a:xfrm>
          <a:prstGeom prst="callout2">
            <a:avLst>
              <a:gd name="adj1" fmla="val 41170"/>
              <a:gd name="adj2" fmla="val -2461"/>
              <a:gd name="adj3" fmla="val 41170"/>
              <a:gd name="adj4" fmla="val -9871"/>
              <a:gd name="adj5" fmla="val 123874"/>
              <a:gd name="adj6" fmla="val -28307"/>
            </a:avLst>
          </a:prstGeom>
          <a:noFill/>
          <a:ln w="6350">
            <a:solidFill>
              <a:schemeClr val="tx1"/>
            </a:solidFill>
            <a:miter lim="800000"/>
            <a:headEnd type="none" w="lg" len="lg"/>
            <a:tailEnd type="triangle" w="sm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rIns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323" b="1" dirty="0">
                <a:latin typeface="Arial Narrow" pitchFamily="34" charset="0"/>
                <a:ea typeface="ＭＳ Ｐゴシック" charset="-128"/>
                <a:sym typeface="Symbol"/>
              </a:rPr>
              <a:t>SKIN PANEL</a:t>
            </a:r>
            <a:endParaRPr lang="en-US" sz="1158" b="1" i="1" dirty="0">
              <a:solidFill>
                <a:srgbClr val="0070C0"/>
              </a:solidFill>
              <a:latin typeface="Arial Narrow" pitchFamily="34" charset="0"/>
              <a:ea typeface="ＭＳ Ｐゴシック" charset="-128"/>
            </a:endParaRPr>
          </a:p>
          <a:p>
            <a:pPr>
              <a:lnSpc>
                <a:spcPct val="80000"/>
              </a:lnSpc>
            </a:pPr>
            <a:endParaRPr lang="en-US" sz="1323" b="1" dirty="0">
              <a:latin typeface="Arial Narrow" pitchFamily="34" charset="0"/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564583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2052704" y="4379005"/>
            <a:ext cx="1907984" cy="298415"/>
          </a:xfrm>
          <a:solidFill>
            <a:srgbClr val="CCFF33"/>
          </a:solidFill>
        </p:spPr>
        <p:txBody>
          <a:bodyPr>
            <a:spAutoFit/>
          </a:bodyPr>
          <a:lstStyle/>
          <a:p>
            <a:r>
              <a:rPr lang="en-US" sz="1488" dirty="0" err="1" smtClean="0">
                <a:latin typeface="Arial Narrow" panose="020B0606020202030204" pitchFamily="34" charset="0"/>
              </a:rPr>
              <a:t>Configurazione</a:t>
            </a:r>
            <a:r>
              <a:rPr lang="en-US" sz="1488" dirty="0" smtClean="0">
                <a:latin typeface="Arial Narrow" panose="020B0606020202030204" pitchFamily="34" charset="0"/>
              </a:rPr>
              <a:t> </a:t>
            </a:r>
            <a:r>
              <a:rPr lang="en-US" sz="1488" dirty="0" err="1" smtClean="0">
                <a:latin typeface="Arial Narrow" panose="020B0606020202030204" pitchFamily="34" charset="0"/>
              </a:rPr>
              <a:t>teorica</a:t>
            </a:r>
            <a:endParaRPr lang="en-US" sz="1488" dirty="0">
              <a:latin typeface="Arial Narrow" panose="020B0606020202030204" pitchFamily="34" charset="0"/>
            </a:endParaRPr>
          </a:p>
        </p:txBody>
      </p:sp>
      <p:sp>
        <p:nvSpPr>
          <p:cNvPr id="87" name="Rettangolo 86"/>
          <p:cNvSpPr/>
          <p:nvPr/>
        </p:nvSpPr>
        <p:spPr>
          <a:xfrm rot="10800000" flipV="1">
            <a:off x="1921567" y="1655829"/>
            <a:ext cx="262273" cy="1474757"/>
          </a:xfrm>
          <a:prstGeom prst="rect">
            <a:avLst/>
          </a:prstGeom>
          <a:pattFill prst="pct70">
            <a:fgClr>
              <a:srgbClr val="EE7713"/>
            </a:fgClr>
            <a:bgClr>
              <a:srgbClr val="FFFF00"/>
            </a:bgClr>
          </a:patt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488" dirty="0"/>
          </a:p>
        </p:txBody>
      </p:sp>
      <p:sp>
        <p:nvSpPr>
          <p:cNvPr id="86" name="Rettangolo 85"/>
          <p:cNvSpPr/>
          <p:nvPr/>
        </p:nvSpPr>
        <p:spPr>
          <a:xfrm rot="10800000" flipV="1">
            <a:off x="1735580" y="157223"/>
            <a:ext cx="116403" cy="3208408"/>
          </a:xfrm>
          <a:prstGeom prst="rect">
            <a:avLst/>
          </a:prstGeom>
          <a:pattFill prst="pct70">
            <a:fgClr>
              <a:srgbClr val="EE7713"/>
            </a:fgClr>
            <a:bgClr>
              <a:srgbClr val="FFFF00"/>
            </a:bgClr>
          </a:patt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488" dirty="0"/>
          </a:p>
        </p:txBody>
      </p:sp>
      <p:sp>
        <p:nvSpPr>
          <p:cNvPr id="60" name="Rettangolo 59"/>
          <p:cNvSpPr/>
          <p:nvPr/>
        </p:nvSpPr>
        <p:spPr>
          <a:xfrm rot="10800000" flipV="1">
            <a:off x="2571932" y="3564782"/>
            <a:ext cx="806441" cy="162853"/>
          </a:xfrm>
          <a:prstGeom prst="rect">
            <a:avLst/>
          </a:prstGeom>
          <a:pattFill prst="pct70">
            <a:fgClr>
              <a:srgbClr val="EE7713"/>
            </a:fgClr>
            <a:bgClr>
              <a:srgbClr val="FFFF00"/>
            </a:bgClr>
          </a:patt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 sz="1488" dirty="0"/>
          </a:p>
        </p:txBody>
      </p:sp>
      <p:sp>
        <p:nvSpPr>
          <p:cNvPr id="3" name="Freccia curva 2"/>
          <p:cNvSpPr/>
          <p:nvPr/>
        </p:nvSpPr>
        <p:spPr>
          <a:xfrm flipV="1">
            <a:off x="2183343" y="1646686"/>
            <a:ext cx="2198386" cy="1964998"/>
          </a:xfrm>
          <a:custGeom>
            <a:avLst/>
            <a:gdLst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404499 h 2651760"/>
              <a:gd name="connsiteX6" fmla="*/ 4432678 w 4432678"/>
              <a:gd name="connsiteY6" fmla="*/ 808999 h 2651760"/>
              <a:gd name="connsiteX7" fmla="*/ 4432678 w 4432678"/>
              <a:gd name="connsiteY7" fmla="*/ 533720 h 2651760"/>
              <a:gd name="connsiteX8" fmla="*/ 575856 w 4432678"/>
              <a:gd name="connsiteY8" fmla="*/ 533720 h 2651760"/>
              <a:gd name="connsiteX9" fmla="*/ 258440 w 4432678"/>
              <a:gd name="connsiteY9" fmla="*/ 851136 h 2651760"/>
              <a:gd name="connsiteX10" fmla="*/ 258441 w 4432678"/>
              <a:gd name="connsiteY10" fmla="*/ 2651760 h 2651760"/>
              <a:gd name="connsiteX11" fmla="*/ 0 w 4432678"/>
              <a:gd name="connsiteY11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808999 h 2651760"/>
              <a:gd name="connsiteX6" fmla="*/ 4432678 w 4432678"/>
              <a:gd name="connsiteY6" fmla="*/ 533720 h 2651760"/>
              <a:gd name="connsiteX7" fmla="*/ 575856 w 4432678"/>
              <a:gd name="connsiteY7" fmla="*/ 533720 h 2651760"/>
              <a:gd name="connsiteX8" fmla="*/ 258440 w 4432678"/>
              <a:gd name="connsiteY8" fmla="*/ 851136 h 2651760"/>
              <a:gd name="connsiteX9" fmla="*/ 258441 w 4432678"/>
              <a:gd name="connsiteY9" fmla="*/ 2651760 h 2651760"/>
              <a:gd name="connsiteX10" fmla="*/ 0 w 4432678"/>
              <a:gd name="connsiteY10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533720 h 2651760"/>
              <a:gd name="connsiteX6" fmla="*/ 575856 w 4432678"/>
              <a:gd name="connsiteY6" fmla="*/ 533720 h 2651760"/>
              <a:gd name="connsiteX7" fmla="*/ 258440 w 4432678"/>
              <a:gd name="connsiteY7" fmla="*/ 851136 h 2651760"/>
              <a:gd name="connsiteX8" fmla="*/ 258441 w 4432678"/>
              <a:gd name="connsiteY8" fmla="*/ 2651760 h 2651760"/>
              <a:gd name="connsiteX9" fmla="*/ 0 w 4432678"/>
              <a:gd name="connsiteY9" fmla="*/ 2651760 h 2651760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4432678 w 4432678"/>
              <a:gd name="connsiteY3" fmla="*/ 0 h 2376481"/>
              <a:gd name="connsiteX4" fmla="*/ 4432678 w 4432678"/>
              <a:gd name="connsiteY4" fmla="*/ 258441 h 2376481"/>
              <a:gd name="connsiteX5" fmla="*/ 575856 w 4432678"/>
              <a:gd name="connsiteY5" fmla="*/ 258441 h 2376481"/>
              <a:gd name="connsiteX6" fmla="*/ 258440 w 4432678"/>
              <a:gd name="connsiteY6" fmla="*/ 575857 h 2376481"/>
              <a:gd name="connsiteX7" fmla="*/ 258441 w 4432678"/>
              <a:gd name="connsiteY7" fmla="*/ 2376481 h 2376481"/>
              <a:gd name="connsiteX8" fmla="*/ 0 w 4432678"/>
              <a:gd name="connsiteY8" fmla="*/ 2376481 h 2376481"/>
              <a:gd name="connsiteX0" fmla="*/ 0 w 4432703"/>
              <a:gd name="connsiteY0" fmla="*/ 2376481 h 2376481"/>
              <a:gd name="connsiteX1" fmla="*/ 0 w 4432703"/>
              <a:gd name="connsiteY1" fmla="*/ 575856 h 2376481"/>
              <a:gd name="connsiteX2" fmla="*/ 575856 w 4432703"/>
              <a:gd name="connsiteY2" fmla="*/ 0 h 2376481"/>
              <a:gd name="connsiteX3" fmla="*/ 4432678 w 4432703"/>
              <a:gd name="connsiteY3" fmla="*/ 0 h 2376481"/>
              <a:gd name="connsiteX4" fmla="*/ 4390707 w 4432703"/>
              <a:gd name="connsiteY4" fmla="*/ 154488 h 2376481"/>
              <a:gd name="connsiteX5" fmla="*/ 4432678 w 4432703"/>
              <a:gd name="connsiteY5" fmla="*/ 258441 h 2376481"/>
              <a:gd name="connsiteX6" fmla="*/ 575856 w 4432703"/>
              <a:gd name="connsiteY6" fmla="*/ 258441 h 2376481"/>
              <a:gd name="connsiteX7" fmla="*/ 258440 w 4432703"/>
              <a:gd name="connsiteY7" fmla="*/ 575857 h 2376481"/>
              <a:gd name="connsiteX8" fmla="*/ 258441 w 4432703"/>
              <a:gd name="connsiteY8" fmla="*/ 2376481 h 2376481"/>
              <a:gd name="connsiteX9" fmla="*/ 0 w 4432703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43907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25619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2658742"/>
              <a:gd name="connsiteY0" fmla="*/ 2376481 h 2376481"/>
              <a:gd name="connsiteX1" fmla="*/ 0 w 2658742"/>
              <a:gd name="connsiteY1" fmla="*/ 575856 h 2376481"/>
              <a:gd name="connsiteX2" fmla="*/ 575856 w 2658742"/>
              <a:gd name="connsiteY2" fmla="*/ 0 h 2376481"/>
              <a:gd name="connsiteX3" fmla="*/ 2567302 w 2658742"/>
              <a:gd name="connsiteY3" fmla="*/ 0 h 2376481"/>
              <a:gd name="connsiteX4" fmla="*/ 2561907 w 2658742"/>
              <a:gd name="connsiteY4" fmla="*/ 154488 h 2376481"/>
              <a:gd name="connsiteX5" fmla="*/ 2658742 w 2658742"/>
              <a:gd name="connsiteY5" fmla="*/ 249297 h 2376481"/>
              <a:gd name="connsiteX6" fmla="*/ 575856 w 2658742"/>
              <a:gd name="connsiteY6" fmla="*/ 258441 h 2376481"/>
              <a:gd name="connsiteX7" fmla="*/ 258440 w 2658742"/>
              <a:gd name="connsiteY7" fmla="*/ 575857 h 2376481"/>
              <a:gd name="connsiteX8" fmla="*/ 258441 w 2658742"/>
              <a:gd name="connsiteY8" fmla="*/ 2376481 h 2376481"/>
              <a:gd name="connsiteX9" fmla="*/ 0 w 2658742"/>
              <a:gd name="connsiteY9" fmla="*/ 2376481 h 23764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658742" h="2376481">
                <a:moveTo>
                  <a:pt x="0" y="2376481"/>
                </a:moveTo>
                <a:lnTo>
                  <a:pt x="0" y="575856"/>
                </a:lnTo>
                <a:cubicBezTo>
                  <a:pt x="0" y="257820"/>
                  <a:pt x="257820" y="0"/>
                  <a:pt x="575856" y="0"/>
                </a:cubicBezTo>
                <a:lnTo>
                  <a:pt x="2567302" y="0"/>
                </a:lnTo>
                <a:cubicBezTo>
                  <a:pt x="2568552" y="42352"/>
                  <a:pt x="2560657" y="112136"/>
                  <a:pt x="2561907" y="154488"/>
                </a:cubicBezTo>
                <a:lnTo>
                  <a:pt x="2658742" y="249297"/>
                </a:lnTo>
                <a:lnTo>
                  <a:pt x="575856" y="258441"/>
                </a:lnTo>
                <a:cubicBezTo>
                  <a:pt x="400552" y="258441"/>
                  <a:pt x="258440" y="400553"/>
                  <a:pt x="258440" y="575857"/>
                </a:cubicBezTo>
                <a:cubicBezTo>
                  <a:pt x="258440" y="1176065"/>
                  <a:pt x="258441" y="1776273"/>
                  <a:pt x="258441" y="2376481"/>
                </a:cubicBezTo>
                <a:lnTo>
                  <a:pt x="0" y="2376481"/>
                </a:lnTo>
                <a:close/>
              </a:path>
            </a:pathLst>
          </a:custGeom>
          <a:pattFill prst="dkDnDiag">
            <a:fgClr>
              <a:schemeClr val="accent4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5" name="Freccia curva 4"/>
          <p:cNvSpPr/>
          <p:nvPr/>
        </p:nvSpPr>
        <p:spPr>
          <a:xfrm flipV="1">
            <a:off x="1235238" y="97353"/>
            <a:ext cx="2138902" cy="4879049"/>
          </a:xfrm>
          <a:custGeom>
            <a:avLst/>
            <a:gdLst>
              <a:gd name="connsiteX0" fmla="*/ 0 w 1042416"/>
              <a:gd name="connsiteY0" fmla="*/ 1993392 h 1993392"/>
              <a:gd name="connsiteX1" fmla="*/ 0 w 1042416"/>
              <a:gd name="connsiteY1" fmla="*/ 456057 h 1993392"/>
              <a:gd name="connsiteX2" fmla="*/ 456057 w 1042416"/>
              <a:gd name="connsiteY2" fmla="*/ 0 h 1993392"/>
              <a:gd name="connsiteX3" fmla="*/ 1042416 w 1042416"/>
              <a:gd name="connsiteY3" fmla="*/ 0 h 1993392"/>
              <a:gd name="connsiteX4" fmla="*/ 1042416 w 1042416"/>
              <a:gd name="connsiteY4" fmla="*/ 0 h 1993392"/>
              <a:gd name="connsiteX5" fmla="*/ 1042416 w 1042416"/>
              <a:gd name="connsiteY5" fmla="*/ 108140 h 1993392"/>
              <a:gd name="connsiteX6" fmla="*/ 1042416 w 1042416"/>
              <a:gd name="connsiteY6" fmla="*/ 216280 h 1993392"/>
              <a:gd name="connsiteX7" fmla="*/ 1042416 w 1042416"/>
              <a:gd name="connsiteY7" fmla="*/ 216280 h 1993392"/>
              <a:gd name="connsiteX8" fmla="*/ 456057 w 1042416"/>
              <a:gd name="connsiteY8" fmla="*/ 216280 h 1993392"/>
              <a:gd name="connsiteX9" fmla="*/ 216280 w 1042416"/>
              <a:gd name="connsiteY9" fmla="*/ 456057 h 1993392"/>
              <a:gd name="connsiteX10" fmla="*/ 216280 w 1042416"/>
              <a:gd name="connsiteY10" fmla="*/ 1993392 h 1993392"/>
              <a:gd name="connsiteX11" fmla="*/ 0 w 1042416"/>
              <a:gd name="connsiteY11" fmla="*/ 1993392 h 1993392"/>
              <a:gd name="connsiteX0" fmla="*/ 0 w 1042416"/>
              <a:gd name="connsiteY0" fmla="*/ 1993392 h 1993392"/>
              <a:gd name="connsiteX1" fmla="*/ 0 w 1042416"/>
              <a:gd name="connsiteY1" fmla="*/ 456057 h 1993392"/>
              <a:gd name="connsiteX2" fmla="*/ 456057 w 1042416"/>
              <a:gd name="connsiteY2" fmla="*/ 0 h 1993392"/>
              <a:gd name="connsiteX3" fmla="*/ 1042416 w 1042416"/>
              <a:gd name="connsiteY3" fmla="*/ 0 h 1993392"/>
              <a:gd name="connsiteX4" fmla="*/ 1042416 w 1042416"/>
              <a:gd name="connsiteY4" fmla="*/ 0 h 1993392"/>
              <a:gd name="connsiteX5" fmla="*/ 1042416 w 1042416"/>
              <a:gd name="connsiteY5" fmla="*/ 216280 h 1993392"/>
              <a:gd name="connsiteX6" fmla="*/ 1042416 w 1042416"/>
              <a:gd name="connsiteY6" fmla="*/ 216280 h 1993392"/>
              <a:gd name="connsiteX7" fmla="*/ 456057 w 1042416"/>
              <a:gd name="connsiteY7" fmla="*/ 216280 h 1993392"/>
              <a:gd name="connsiteX8" fmla="*/ 216280 w 1042416"/>
              <a:gd name="connsiteY8" fmla="*/ 456057 h 1993392"/>
              <a:gd name="connsiteX9" fmla="*/ 216280 w 1042416"/>
              <a:gd name="connsiteY9" fmla="*/ 1993392 h 1993392"/>
              <a:gd name="connsiteX10" fmla="*/ 0 w 1042416"/>
              <a:gd name="connsiteY10" fmla="*/ 1993392 h 1993392"/>
              <a:gd name="connsiteX0" fmla="*/ 0 w 1042416"/>
              <a:gd name="connsiteY0" fmla="*/ 2154155 h 2154155"/>
              <a:gd name="connsiteX1" fmla="*/ 0 w 1042416"/>
              <a:gd name="connsiteY1" fmla="*/ 616820 h 2154155"/>
              <a:gd name="connsiteX2" fmla="*/ 237744 w 1042416"/>
              <a:gd name="connsiteY2" fmla="*/ 14459 h 2154155"/>
              <a:gd name="connsiteX3" fmla="*/ 456057 w 1042416"/>
              <a:gd name="connsiteY3" fmla="*/ 160763 h 2154155"/>
              <a:gd name="connsiteX4" fmla="*/ 1042416 w 1042416"/>
              <a:gd name="connsiteY4" fmla="*/ 160763 h 2154155"/>
              <a:gd name="connsiteX5" fmla="*/ 1042416 w 1042416"/>
              <a:gd name="connsiteY5" fmla="*/ 160763 h 2154155"/>
              <a:gd name="connsiteX6" fmla="*/ 1042416 w 1042416"/>
              <a:gd name="connsiteY6" fmla="*/ 377043 h 2154155"/>
              <a:gd name="connsiteX7" fmla="*/ 1042416 w 1042416"/>
              <a:gd name="connsiteY7" fmla="*/ 377043 h 2154155"/>
              <a:gd name="connsiteX8" fmla="*/ 456057 w 1042416"/>
              <a:gd name="connsiteY8" fmla="*/ 377043 h 2154155"/>
              <a:gd name="connsiteX9" fmla="*/ 216280 w 1042416"/>
              <a:gd name="connsiteY9" fmla="*/ 616820 h 2154155"/>
              <a:gd name="connsiteX10" fmla="*/ 216280 w 1042416"/>
              <a:gd name="connsiteY10" fmla="*/ 2154155 h 2154155"/>
              <a:gd name="connsiteX11" fmla="*/ 0 w 1042416"/>
              <a:gd name="connsiteY11" fmla="*/ 2154155 h 2154155"/>
              <a:gd name="connsiteX0" fmla="*/ 0 w 1042416"/>
              <a:gd name="connsiteY0" fmla="*/ 2707689 h 2707689"/>
              <a:gd name="connsiteX1" fmla="*/ 0 w 1042416"/>
              <a:gd name="connsiteY1" fmla="*/ 1170354 h 2707689"/>
              <a:gd name="connsiteX2" fmla="*/ 265176 w 1042416"/>
              <a:gd name="connsiteY2" fmla="*/ 10209 h 2707689"/>
              <a:gd name="connsiteX3" fmla="*/ 237744 w 1042416"/>
              <a:gd name="connsiteY3" fmla="*/ 567993 h 2707689"/>
              <a:gd name="connsiteX4" fmla="*/ 456057 w 1042416"/>
              <a:gd name="connsiteY4" fmla="*/ 714297 h 2707689"/>
              <a:gd name="connsiteX5" fmla="*/ 1042416 w 1042416"/>
              <a:gd name="connsiteY5" fmla="*/ 714297 h 2707689"/>
              <a:gd name="connsiteX6" fmla="*/ 1042416 w 1042416"/>
              <a:gd name="connsiteY6" fmla="*/ 714297 h 2707689"/>
              <a:gd name="connsiteX7" fmla="*/ 1042416 w 1042416"/>
              <a:gd name="connsiteY7" fmla="*/ 930577 h 2707689"/>
              <a:gd name="connsiteX8" fmla="*/ 1042416 w 1042416"/>
              <a:gd name="connsiteY8" fmla="*/ 930577 h 2707689"/>
              <a:gd name="connsiteX9" fmla="*/ 456057 w 1042416"/>
              <a:gd name="connsiteY9" fmla="*/ 930577 h 2707689"/>
              <a:gd name="connsiteX10" fmla="*/ 216280 w 1042416"/>
              <a:gd name="connsiteY10" fmla="*/ 1170354 h 2707689"/>
              <a:gd name="connsiteX11" fmla="*/ 216280 w 1042416"/>
              <a:gd name="connsiteY11" fmla="*/ 2707689 h 2707689"/>
              <a:gd name="connsiteX12" fmla="*/ 0 w 1042416"/>
              <a:gd name="connsiteY12" fmla="*/ 2707689 h 2707689"/>
              <a:gd name="connsiteX0" fmla="*/ 192024 w 1234440"/>
              <a:gd name="connsiteY0" fmla="*/ 2776488 h 2776488"/>
              <a:gd name="connsiteX1" fmla="*/ 0 w 1234440"/>
              <a:gd name="connsiteY1" fmla="*/ 132729 h 2776488"/>
              <a:gd name="connsiteX2" fmla="*/ 457200 w 1234440"/>
              <a:gd name="connsiteY2" fmla="*/ 79008 h 2776488"/>
              <a:gd name="connsiteX3" fmla="*/ 429768 w 1234440"/>
              <a:gd name="connsiteY3" fmla="*/ 636792 h 2776488"/>
              <a:gd name="connsiteX4" fmla="*/ 648081 w 1234440"/>
              <a:gd name="connsiteY4" fmla="*/ 783096 h 2776488"/>
              <a:gd name="connsiteX5" fmla="*/ 1234440 w 1234440"/>
              <a:gd name="connsiteY5" fmla="*/ 783096 h 2776488"/>
              <a:gd name="connsiteX6" fmla="*/ 1234440 w 1234440"/>
              <a:gd name="connsiteY6" fmla="*/ 783096 h 2776488"/>
              <a:gd name="connsiteX7" fmla="*/ 1234440 w 1234440"/>
              <a:gd name="connsiteY7" fmla="*/ 999376 h 2776488"/>
              <a:gd name="connsiteX8" fmla="*/ 1234440 w 1234440"/>
              <a:gd name="connsiteY8" fmla="*/ 999376 h 2776488"/>
              <a:gd name="connsiteX9" fmla="*/ 648081 w 1234440"/>
              <a:gd name="connsiteY9" fmla="*/ 999376 h 2776488"/>
              <a:gd name="connsiteX10" fmla="*/ 408304 w 1234440"/>
              <a:gd name="connsiteY10" fmla="*/ 1239153 h 2776488"/>
              <a:gd name="connsiteX11" fmla="*/ 408304 w 1234440"/>
              <a:gd name="connsiteY11" fmla="*/ 2776488 h 2776488"/>
              <a:gd name="connsiteX12" fmla="*/ 192024 w 1234440"/>
              <a:gd name="connsiteY12" fmla="*/ 2776488 h 2776488"/>
              <a:gd name="connsiteX0" fmla="*/ 192024 w 1234440"/>
              <a:gd name="connsiteY0" fmla="*/ 2776488 h 2776488"/>
              <a:gd name="connsiteX1" fmla="*/ 0 w 1234440"/>
              <a:gd name="connsiteY1" fmla="*/ 1688353 h 2776488"/>
              <a:gd name="connsiteX2" fmla="*/ 0 w 1234440"/>
              <a:gd name="connsiteY2" fmla="*/ 132729 h 2776488"/>
              <a:gd name="connsiteX3" fmla="*/ 457200 w 1234440"/>
              <a:gd name="connsiteY3" fmla="*/ 79008 h 2776488"/>
              <a:gd name="connsiteX4" fmla="*/ 429768 w 1234440"/>
              <a:gd name="connsiteY4" fmla="*/ 636792 h 2776488"/>
              <a:gd name="connsiteX5" fmla="*/ 648081 w 1234440"/>
              <a:gd name="connsiteY5" fmla="*/ 783096 h 2776488"/>
              <a:gd name="connsiteX6" fmla="*/ 1234440 w 1234440"/>
              <a:gd name="connsiteY6" fmla="*/ 783096 h 2776488"/>
              <a:gd name="connsiteX7" fmla="*/ 1234440 w 1234440"/>
              <a:gd name="connsiteY7" fmla="*/ 783096 h 2776488"/>
              <a:gd name="connsiteX8" fmla="*/ 1234440 w 1234440"/>
              <a:gd name="connsiteY8" fmla="*/ 999376 h 2776488"/>
              <a:gd name="connsiteX9" fmla="*/ 1234440 w 1234440"/>
              <a:gd name="connsiteY9" fmla="*/ 999376 h 2776488"/>
              <a:gd name="connsiteX10" fmla="*/ 648081 w 1234440"/>
              <a:gd name="connsiteY10" fmla="*/ 999376 h 2776488"/>
              <a:gd name="connsiteX11" fmla="*/ 408304 w 1234440"/>
              <a:gd name="connsiteY11" fmla="*/ 1239153 h 2776488"/>
              <a:gd name="connsiteX12" fmla="*/ 408304 w 1234440"/>
              <a:gd name="connsiteY12" fmla="*/ 2776488 h 2776488"/>
              <a:gd name="connsiteX13" fmla="*/ 192024 w 1234440"/>
              <a:gd name="connsiteY13" fmla="*/ 2776488 h 2776488"/>
              <a:gd name="connsiteX0" fmla="*/ 192024 w 1234440"/>
              <a:gd name="connsiteY0" fmla="*/ 2776488 h 2776488"/>
              <a:gd name="connsiteX1" fmla="*/ 155448 w 1234440"/>
              <a:gd name="connsiteY1" fmla="*/ 1889521 h 2776488"/>
              <a:gd name="connsiteX2" fmla="*/ 0 w 1234440"/>
              <a:gd name="connsiteY2" fmla="*/ 1688353 h 2776488"/>
              <a:gd name="connsiteX3" fmla="*/ 0 w 1234440"/>
              <a:gd name="connsiteY3" fmla="*/ 132729 h 2776488"/>
              <a:gd name="connsiteX4" fmla="*/ 457200 w 1234440"/>
              <a:gd name="connsiteY4" fmla="*/ 79008 h 2776488"/>
              <a:gd name="connsiteX5" fmla="*/ 429768 w 1234440"/>
              <a:gd name="connsiteY5" fmla="*/ 636792 h 2776488"/>
              <a:gd name="connsiteX6" fmla="*/ 648081 w 1234440"/>
              <a:gd name="connsiteY6" fmla="*/ 783096 h 2776488"/>
              <a:gd name="connsiteX7" fmla="*/ 1234440 w 1234440"/>
              <a:gd name="connsiteY7" fmla="*/ 783096 h 2776488"/>
              <a:gd name="connsiteX8" fmla="*/ 1234440 w 1234440"/>
              <a:gd name="connsiteY8" fmla="*/ 783096 h 2776488"/>
              <a:gd name="connsiteX9" fmla="*/ 1234440 w 1234440"/>
              <a:gd name="connsiteY9" fmla="*/ 999376 h 2776488"/>
              <a:gd name="connsiteX10" fmla="*/ 1234440 w 1234440"/>
              <a:gd name="connsiteY10" fmla="*/ 999376 h 2776488"/>
              <a:gd name="connsiteX11" fmla="*/ 648081 w 1234440"/>
              <a:gd name="connsiteY11" fmla="*/ 999376 h 2776488"/>
              <a:gd name="connsiteX12" fmla="*/ 408304 w 1234440"/>
              <a:gd name="connsiteY12" fmla="*/ 1239153 h 2776488"/>
              <a:gd name="connsiteX13" fmla="*/ 408304 w 1234440"/>
              <a:gd name="connsiteY13" fmla="*/ 2776488 h 2776488"/>
              <a:gd name="connsiteX14" fmla="*/ 192024 w 1234440"/>
              <a:gd name="connsiteY14" fmla="*/ 2776488 h 2776488"/>
              <a:gd name="connsiteX0" fmla="*/ 192024 w 1234440"/>
              <a:gd name="connsiteY0" fmla="*/ 2776488 h 2867929"/>
              <a:gd name="connsiteX1" fmla="*/ 155448 w 1234440"/>
              <a:gd name="connsiteY1" fmla="*/ 1889521 h 2867929"/>
              <a:gd name="connsiteX2" fmla="*/ 0 w 1234440"/>
              <a:gd name="connsiteY2" fmla="*/ 1688353 h 2867929"/>
              <a:gd name="connsiteX3" fmla="*/ 0 w 1234440"/>
              <a:gd name="connsiteY3" fmla="*/ 132729 h 2867929"/>
              <a:gd name="connsiteX4" fmla="*/ 457200 w 1234440"/>
              <a:gd name="connsiteY4" fmla="*/ 79008 h 2867929"/>
              <a:gd name="connsiteX5" fmla="*/ 429768 w 1234440"/>
              <a:gd name="connsiteY5" fmla="*/ 636792 h 2867929"/>
              <a:gd name="connsiteX6" fmla="*/ 648081 w 1234440"/>
              <a:gd name="connsiteY6" fmla="*/ 783096 h 2867929"/>
              <a:gd name="connsiteX7" fmla="*/ 1234440 w 1234440"/>
              <a:gd name="connsiteY7" fmla="*/ 783096 h 2867929"/>
              <a:gd name="connsiteX8" fmla="*/ 1234440 w 1234440"/>
              <a:gd name="connsiteY8" fmla="*/ 783096 h 2867929"/>
              <a:gd name="connsiteX9" fmla="*/ 1234440 w 1234440"/>
              <a:gd name="connsiteY9" fmla="*/ 999376 h 2867929"/>
              <a:gd name="connsiteX10" fmla="*/ 1234440 w 1234440"/>
              <a:gd name="connsiteY10" fmla="*/ 999376 h 2867929"/>
              <a:gd name="connsiteX11" fmla="*/ 648081 w 1234440"/>
              <a:gd name="connsiteY11" fmla="*/ 999376 h 2867929"/>
              <a:gd name="connsiteX12" fmla="*/ 408304 w 1234440"/>
              <a:gd name="connsiteY12" fmla="*/ 1239153 h 2867929"/>
              <a:gd name="connsiteX13" fmla="*/ 408304 w 1234440"/>
              <a:gd name="connsiteY13" fmla="*/ 2776488 h 2867929"/>
              <a:gd name="connsiteX14" fmla="*/ 274320 w 1234440"/>
              <a:gd name="connsiteY14" fmla="*/ 2867929 h 2867929"/>
              <a:gd name="connsiteX15" fmla="*/ 192024 w 1234440"/>
              <a:gd name="connsiteY15" fmla="*/ 2776488 h 2867929"/>
              <a:gd name="connsiteX0" fmla="*/ 192024 w 1234440"/>
              <a:gd name="connsiteY0" fmla="*/ 2776488 h 4989336"/>
              <a:gd name="connsiteX1" fmla="*/ 155448 w 1234440"/>
              <a:gd name="connsiteY1" fmla="*/ 1889521 h 4989336"/>
              <a:gd name="connsiteX2" fmla="*/ 0 w 1234440"/>
              <a:gd name="connsiteY2" fmla="*/ 1688353 h 4989336"/>
              <a:gd name="connsiteX3" fmla="*/ 0 w 1234440"/>
              <a:gd name="connsiteY3" fmla="*/ 132729 h 4989336"/>
              <a:gd name="connsiteX4" fmla="*/ 457200 w 1234440"/>
              <a:gd name="connsiteY4" fmla="*/ 79008 h 4989336"/>
              <a:gd name="connsiteX5" fmla="*/ 429768 w 1234440"/>
              <a:gd name="connsiteY5" fmla="*/ 636792 h 4989336"/>
              <a:gd name="connsiteX6" fmla="*/ 648081 w 1234440"/>
              <a:gd name="connsiteY6" fmla="*/ 783096 h 4989336"/>
              <a:gd name="connsiteX7" fmla="*/ 1234440 w 1234440"/>
              <a:gd name="connsiteY7" fmla="*/ 783096 h 4989336"/>
              <a:gd name="connsiteX8" fmla="*/ 1234440 w 1234440"/>
              <a:gd name="connsiteY8" fmla="*/ 783096 h 4989336"/>
              <a:gd name="connsiteX9" fmla="*/ 1234440 w 1234440"/>
              <a:gd name="connsiteY9" fmla="*/ 999376 h 4989336"/>
              <a:gd name="connsiteX10" fmla="*/ 1234440 w 1234440"/>
              <a:gd name="connsiteY10" fmla="*/ 999376 h 4989336"/>
              <a:gd name="connsiteX11" fmla="*/ 648081 w 1234440"/>
              <a:gd name="connsiteY11" fmla="*/ 999376 h 4989336"/>
              <a:gd name="connsiteX12" fmla="*/ 408304 w 1234440"/>
              <a:gd name="connsiteY12" fmla="*/ 1239153 h 4989336"/>
              <a:gd name="connsiteX13" fmla="*/ 463168 w 1234440"/>
              <a:gd name="connsiteY13" fmla="*/ 4989336 h 4989336"/>
              <a:gd name="connsiteX14" fmla="*/ 274320 w 1234440"/>
              <a:gd name="connsiteY14" fmla="*/ 2867929 h 4989336"/>
              <a:gd name="connsiteX15" fmla="*/ 192024 w 1234440"/>
              <a:gd name="connsiteY15" fmla="*/ 2776488 h 4989336"/>
              <a:gd name="connsiteX0" fmla="*/ 192024 w 1234440"/>
              <a:gd name="connsiteY0" fmla="*/ 2776488 h 5100439"/>
              <a:gd name="connsiteX1" fmla="*/ 155448 w 1234440"/>
              <a:gd name="connsiteY1" fmla="*/ 1889521 h 5100439"/>
              <a:gd name="connsiteX2" fmla="*/ 0 w 1234440"/>
              <a:gd name="connsiteY2" fmla="*/ 1688353 h 5100439"/>
              <a:gd name="connsiteX3" fmla="*/ 0 w 1234440"/>
              <a:gd name="connsiteY3" fmla="*/ 132729 h 5100439"/>
              <a:gd name="connsiteX4" fmla="*/ 457200 w 1234440"/>
              <a:gd name="connsiteY4" fmla="*/ 79008 h 5100439"/>
              <a:gd name="connsiteX5" fmla="*/ 429768 w 1234440"/>
              <a:gd name="connsiteY5" fmla="*/ 636792 h 5100439"/>
              <a:gd name="connsiteX6" fmla="*/ 648081 w 1234440"/>
              <a:gd name="connsiteY6" fmla="*/ 783096 h 5100439"/>
              <a:gd name="connsiteX7" fmla="*/ 1234440 w 1234440"/>
              <a:gd name="connsiteY7" fmla="*/ 783096 h 5100439"/>
              <a:gd name="connsiteX8" fmla="*/ 1234440 w 1234440"/>
              <a:gd name="connsiteY8" fmla="*/ 783096 h 5100439"/>
              <a:gd name="connsiteX9" fmla="*/ 1234440 w 1234440"/>
              <a:gd name="connsiteY9" fmla="*/ 999376 h 5100439"/>
              <a:gd name="connsiteX10" fmla="*/ 1234440 w 1234440"/>
              <a:gd name="connsiteY10" fmla="*/ 999376 h 5100439"/>
              <a:gd name="connsiteX11" fmla="*/ 648081 w 1234440"/>
              <a:gd name="connsiteY11" fmla="*/ 999376 h 5100439"/>
              <a:gd name="connsiteX12" fmla="*/ 408304 w 1234440"/>
              <a:gd name="connsiteY12" fmla="*/ 1239153 h 5100439"/>
              <a:gd name="connsiteX13" fmla="*/ 463168 w 1234440"/>
              <a:gd name="connsiteY13" fmla="*/ 4989336 h 5100439"/>
              <a:gd name="connsiteX14" fmla="*/ 320040 w 1234440"/>
              <a:gd name="connsiteY14" fmla="*/ 3882912 h 5100439"/>
              <a:gd name="connsiteX15" fmla="*/ 274320 w 1234440"/>
              <a:gd name="connsiteY15" fmla="*/ 2867929 h 5100439"/>
              <a:gd name="connsiteX16" fmla="*/ 192024 w 1234440"/>
              <a:gd name="connsiteY16" fmla="*/ 2776488 h 5100439"/>
              <a:gd name="connsiteX0" fmla="*/ 192024 w 1234440"/>
              <a:gd name="connsiteY0" fmla="*/ 2776488 h 5272752"/>
              <a:gd name="connsiteX1" fmla="*/ 155448 w 1234440"/>
              <a:gd name="connsiteY1" fmla="*/ 1889521 h 5272752"/>
              <a:gd name="connsiteX2" fmla="*/ 0 w 1234440"/>
              <a:gd name="connsiteY2" fmla="*/ 1688353 h 5272752"/>
              <a:gd name="connsiteX3" fmla="*/ 0 w 1234440"/>
              <a:gd name="connsiteY3" fmla="*/ 132729 h 5272752"/>
              <a:gd name="connsiteX4" fmla="*/ 457200 w 1234440"/>
              <a:gd name="connsiteY4" fmla="*/ 79008 h 5272752"/>
              <a:gd name="connsiteX5" fmla="*/ 429768 w 1234440"/>
              <a:gd name="connsiteY5" fmla="*/ 636792 h 5272752"/>
              <a:gd name="connsiteX6" fmla="*/ 648081 w 1234440"/>
              <a:gd name="connsiteY6" fmla="*/ 783096 h 5272752"/>
              <a:gd name="connsiteX7" fmla="*/ 1234440 w 1234440"/>
              <a:gd name="connsiteY7" fmla="*/ 783096 h 5272752"/>
              <a:gd name="connsiteX8" fmla="*/ 1234440 w 1234440"/>
              <a:gd name="connsiteY8" fmla="*/ 783096 h 5272752"/>
              <a:gd name="connsiteX9" fmla="*/ 1234440 w 1234440"/>
              <a:gd name="connsiteY9" fmla="*/ 999376 h 5272752"/>
              <a:gd name="connsiteX10" fmla="*/ 1234440 w 1234440"/>
              <a:gd name="connsiteY10" fmla="*/ 999376 h 5272752"/>
              <a:gd name="connsiteX11" fmla="*/ 648081 w 1234440"/>
              <a:gd name="connsiteY11" fmla="*/ 999376 h 5272752"/>
              <a:gd name="connsiteX12" fmla="*/ 408304 w 1234440"/>
              <a:gd name="connsiteY12" fmla="*/ 1239153 h 5272752"/>
              <a:gd name="connsiteX13" fmla="*/ 463168 w 1234440"/>
              <a:gd name="connsiteY13" fmla="*/ 4989336 h 5272752"/>
              <a:gd name="connsiteX14" fmla="*/ 384048 w 1234440"/>
              <a:gd name="connsiteY14" fmla="*/ 4943615 h 5272752"/>
              <a:gd name="connsiteX15" fmla="*/ 320040 w 1234440"/>
              <a:gd name="connsiteY15" fmla="*/ 3882912 h 5272752"/>
              <a:gd name="connsiteX16" fmla="*/ 274320 w 1234440"/>
              <a:gd name="connsiteY16" fmla="*/ 2867929 h 5272752"/>
              <a:gd name="connsiteX17" fmla="*/ 192024 w 1234440"/>
              <a:gd name="connsiteY17" fmla="*/ 2776488 h 5272752"/>
              <a:gd name="connsiteX0" fmla="*/ 192024 w 1234440"/>
              <a:gd name="connsiteY0" fmla="*/ 2776488 h 5272752"/>
              <a:gd name="connsiteX1" fmla="*/ 155448 w 1234440"/>
              <a:gd name="connsiteY1" fmla="*/ 1889521 h 5272752"/>
              <a:gd name="connsiteX2" fmla="*/ 0 w 1234440"/>
              <a:gd name="connsiteY2" fmla="*/ 1688353 h 5272752"/>
              <a:gd name="connsiteX3" fmla="*/ 0 w 1234440"/>
              <a:gd name="connsiteY3" fmla="*/ 132729 h 5272752"/>
              <a:gd name="connsiteX4" fmla="*/ 457200 w 1234440"/>
              <a:gd name="connsiteY4" fmla="*/ 79008 h 5272752"/>
              <a:gd name="connsiteX5" fmla="*/ 429768 w 1234440"/>
              <a:gd name="connsiteY5" fmla="*/ 636792 h 5272752"/>
              <a:gd name="connsiteX6" fmla="*/ 648081 w 1234440"/>
              <a:gd name="connsiteY6" fmla="*/ 783096 h 5272752"/>
              <a:gd name="connsiteX7" fmla="*/ 1234440 w 1234440"/>
              <a:gd name="connsiteY7" fmla="*/ 783096 h 5272752"/>
              <a:gd name="connsiteX8" fmla="*/ 1234440 w 1234440"/>
              <a:gd name="connsiteY8" fmla="*/ 783096 h 5272752"/>
              <a:gd name="connsiteX9" fmla="*/ 1234440 w 1234440"/>
              <a:gd name="connsiteY9" fmla="*/ 999376 h 5272752"/>
              <a:gd name="connsiteX10" fmla="*/ 1234440 w 1234440"/>
              <a:gd name="connsiteY10" fmla="*/ 999376 h 5272752"/>
              <a:gd name="connsiteX11" fmla="*/ 648081 w 1234440"/>
              <a:gd name="connsiteY11" fmla="*/ 999376 h 5272752"/>
              <a:gd name="connsiteX12" fmla="*/ 408304 w 1234440"/>
              <a:gd name="connsiteY12" fmla="*/ 1239153 h 5272752"/>
              <a:gd name="connsiteX13" fmla="*/ 463168 w 1234440"/>
              <a:gd name="connsiteY13" fmla="*/ 4989336 h 5272752"/>
              <a:gd name="connsiteX14" fmla="*/ 384048 w 1234440"/>
              <a:gd name="connsiteY14" fmla="*/ 4943615 h 5272752"/>
              <a:gd name="connsiteX15" fmla="*/ 320040 w 1234440"/>
              <a:gd name="connsiteY15" fmla="*/ 3882912 h 5272752"/>
              <a:gd name="connsiteX16" fmla="*/ 274320 w 1234440"/>
              <a:gd name="connsiteY16" fmla="*/ 2867929 h 5272752"/>
              <a:gd name="connsiteX17" fmla="*/ 192024 w 1234440"/>
              <a:gd name="connsiteY17" fmla="*/ 2776488 h 5272752"/>
              <a:gd name="connsiteX0" fmla="*/ 192024 w 1234440"/>
              <a:gd name="connsiteY0" fmla="*/ 2707690 h 5203954"/>
              <a:gd name="connsiteX1" fmla="*/ 155448 w 1234440"/>
              <a:gd name="connsiteY1" fmla="*/ 1820723 h 5203954"/>
              <a:gd name="connsiteX2" fmla="*/ 0 w 1234440"/>
              <a:gd name="connsiteY2" fmla="*/ 1619555 h 5203954"/>
              <a:gd name="connsiteX3" fmla="*/ 0 w 1234440"/>
              <a:gd name="connsiteY3" fmla="*/ 63931 h 5203954"/>
              <a:gd name="connsiteX4" fmla="*/ 457200 w 1234440"/>
              <a:gd name="connsiteY4" fmla="*/ 10210 h 5203954"/>
              <a:gd name="connsiteX5" fmla="*/ 429768 w 1234440"/>
              <a:gd name="connsiteY5" fmla="*/ 567994 h 5203954"/>
              <a:gd name="connsiteX6" fmla="*/ 648081 w 1234440"/>
              <a:gd name="connsiteY6" fmla="*/ 714298 h 5203954"/>
              <a:gd name="connsiteX7" fmla="*/ 1234440 w 1234440"/>
              <a:gd name="connsiteY7" fmla="*/ 714298 h 5203954"/>
              <a:gd name="connsiteX8" fmla="*/ 1234440 w 1234440"/>
              <a:gd name="connsiteY8" fmla="*/ 714298 h 5203954"/>
              <a:gd name="connsiteX9" fmla="*/ 1234440 w 1234440"/>
              <a:gd name="connsiteY9" fmla="*/ 930578 h 5203954"/>
              <a:gd name="connsiteX10" fmla="*/ 1234440 w 1234440"/>
              <a:gd name="connsiteY10" fmla="*/ 930578 h 5203954"/>
              <a:gd name="connsiteX11" fmla="*/ 648081 w 1234440"/>
              <a:gd name="connsiteY11" fmla="*/ 930578 h 5203954"/>
              <a:gd name="connsiteX12" fmla="*/ 408304 w 1234440"/>
              <a:gd name="connsiteY12" fmla="*/ 1170355 h 5203954"/>
              <a:gd name="connsiteX13" fmla="*/ 463168 w 1234440"/>
              <a:gd name="connsiteY13" fmla="*/ 4920538 h 5203954"/>
              <a:gd name="connsiteX14" fmla="*/ 384048 w 1234440"/>
              <a:gd name="connsiteY14" fmla="*/ 4874817 h 5203954"/>
              <a:gd name="connsiteX15" fmla="*/ 320040 w 1234440"/>
              <a:gd name="connsiteY15" fmla="*/ 3814114 h 5203954"/>
              <a:gd name="connsiteX16" fmla="*/ 274320 w 1234440"/>
              <a:gd name="connsiteY16" fmla="*/ 2799131 h 5203954"/>
              <a:gd name="connsiteX17" fmla="*/ 192024 w 1234440"/>
              <a:gd name="connsiteY17" fmla="*/ 2707690 h 5203954"/>
              <a:gd name="connsiteX0" fmla="*/ 192024 w 1234440"/>
              <a:gd name="connsiteY0" fmla="*/ 2697480 h 5193744"/>
              <a:gd name="connsiteX1" fmla="*/ 155448 w 1234440"/>
              <a:gd name="connsiteY1" fmla="*/ 1810513 h 5193744"/>
              <a:gd name="connsiteX2" fmla="*/ 0 w 1234440"/>
              <a:gd name="connsiteY2" fmla="*/ 1609345 h 5193744"/>
              <a:gd name="connsiteX3" fmla="*/ 0 w 1234440"/>
              <a:gd name="connsiteY3" fmla="*/ 53721 h 5193744"/>
              <a:gd name="connsiteX4" fmla="*/ 457200 w 1234440"/>
              <a:gd name="connsiteY4" fmla="*/ 0 h 5193744"/>
              <a:gd name="connsiteX5" fmla="*/ 429768 w 1234440"/>
              <a:gd name="connsiteY5" fmla="*/ 557784 h 5193744"/>
              <a:gd name="connsiteX6" fmla="*/ 648081 w 1234440"/>
              <a:gd name="connsiteY6" fmla="*/ 704088 h 5193744"/>
              <a:gd name="connsiteX7" fmla="*/ 1234440 w 1234440"/>
              <a:gd name="connsiteY7" fmla="*/ 704088 h 5193744"/>
              <a:gd name="connsiteX8" fmla="*/ 1234440 w 1234440"/>
              <a:gd name="connsiteY8" fmla="*/ 704088 h 5193744"/>
              <a:gd name="connsiteX9" fmla="*/ 1234440 w 1234440"/>
              <a:gd name="connsiteY9" fmla="*/ 920368 h 5193744"/>
              <a:gd name="connsiteX10" fmla="*/ 1234440 w 1234440"/>
              <a:gd name="connsiteY10" fmla="*/ 920368 h 5193744"/>
              <a:gd name="connsiteX11" fmla="*/ 648081 w 1234440"/>
              <a:gd name="connsiteY11" fmla="*/ 920368 h 5193744"/>
              <a:gd name="connsiteX12" fmla="*/ 408304 w 1234440"/>
              <a:gd name="connsiteY12" fmla="*/ 1160145 h 5193744"/>
              <a:gd name="connsiteX13" fmla="*/ 463168 w 1234440"/>
              <a:gd name="connsiteY13" fmla="*/ 4910328 h 5193744"/>
              <a:gd name="connsiteX14" fmla="*/ 384048 w 1234440"/>
              <a:gd name="connsiteY14" fmla="*/ 4864607 h 5193744"/>
              <a:gd name="connsiteX15" fmla="*/ 320040 w 1234440"/>
              <a:gd name="connsiteY15" fmla="*/ 3803904 h 5193744"/>
              <a:gd name="connsiteX16" fmla="*/ 274320 w 1234440"/>
              <a:gd name="connsiteY16" fmla="*/ 2788921 h 5193744"/>
              <a:gd name="connsiteX17" fmla="*/ 192024 w 1234440"/>
              <a:gd name="connsiteY17" fmla="*/ 2697480 h 5193744"/>
              <a:gd name="connsiteX0" fmla="*/ 192024 w 1234440"/>
              <a:gd name="connsiteY0" fmla="*/ 2697480 h 5193744"/>
              <a:gd name="connsiteX1" fmla="*/ 155448 w 1234440"/>
              <a:gd name="connsiteY1" fmla="*/ 1810513 h 5193744"/>
              <a:gd name="connsiteX2" fmla="*/ 0 w 1234440"/>
              <a:gd name="connsiteY2" fmla="*/ 1609345 h 5193744"/>
              <a:gd name="connsiteX3" fmla="*/ 0 w 1234440"/>
              <a:gd name="connsiteY3" fmla="*/ 53721 h 5193744"/>
              <a:gd name="connsiteX4" fmla="*/ 457200 w 1234440"/>
              <a:gd name="connsiteY4" fmla="*/ 0 h 5193744"/>
              <a:gd name="connsiteX5" fmla="*/ 429768 w 1234440"/>
              <a:gd name="connsiteY5" fmla="*/ 557784 h 5193744"/>
              <a:gd name="connsiteX6" fmla="*/ 648081 w 1234440"/>
              <a:gd name="connsiteY6" fmla="*/ 704088 h 5193744"/>
              <a:gd name="connsiteX7" fmla="*/ 1234440 w 1234440"/>
              <a:gd name="connsiteY7" fmla="*/ 704088 h 5193744"/>
              <a:gd name="connsiteX8" fmla="*/ 1234440 w 1234440"/>
              <a:gd name="connsiteY8" fmla="*/ 704088 h 5193744"/>
              <a:gd name="connsiteX9" fmla="*/ 1234440 w 1234440"/>
              <a:gd name="connsiteY9" fmla="*/ 920368 h 5193744"/>
              <a:gd name="connsiteX10" fmla="*/ 1234440 w 1234440"/>
              <a:gd name="connsiteY10" fmla="*/ 920368 h 5193744"/>
              <a:gd name="connsiteX11" fmla="*/ 648081 w 1234440"/>
              <a:gd name="connsiteY11" fmla="*/ 920368 h 5193744"/>
              <a:gd name="connsiteX12" fmla="*/ 408304 w 1234440"/>
              <a:gd name="connsiteY12" fmla="*/ 1160145 h 5193744"/>
              <a:gd name="connsiteX13" fmla="*/ 463168 w 1234440"/>
              <a:gd name="connsiteY13" fmla="*/ 4910328 h 5193744"/>
              <a:gd name="connsiteX14" fmla="*/ 384048 w 1234440"/>
              <a:gd name="connsiteY14" fmla="*/ 4864607 h 5193744"/>
              <a:gd name="connsiteX15" fmla="*/ 320040 w 1234440"/>
              <a:gd name="connsiteY15" fmla="*/ 3803904 h 5193744"/>
              <a:gd name="connsiteX16" fmla="*/ 274320 w 1234440"/>
              <a:gd name="connsiteY16" fmla="*/ 2788921 h 5193744"/>
              <a:gd name="connsiteX17" fmla="*/ 192024 w 1234440"/>
              <a:gd name="connsiteY17" fmla="*/ 2697480 h 5193744"/>
              <a:gd name="connsiteX0" fmla="*/ 192024 w 1234440"/>
              <a:gd name="connsiteY0" fmla="*/ 2697480 h 4910328"/>
              <a:gd name="connsiteX1" fmla="*/ 155448 w 1234440"/>
              <a:gd name="connsiteY1" fmla="*/ 1810513 h 4910328"/>
              <a:gd name="connsiteX2" fmla="*/ 0 w 1234440"/>
              <a:gd name="connsiteY2" fmla="*/ 1609345 h 4910328"/>
              <a:gd name="connsiteX3" fmla="*/ 0 w 1234440"/>
              <a:gd name="connsiteY3" fmla="*/ 53721 h 4910328"/>
              <a:gd name="connsiteX4" fmla="*/ 457200 w 1234440"/>
              <a:gd name="connsiteY4" fmla="*/ 0 h 4910328"/>
              <a:gd name="connsiteX5" fmla="*/ 429768 w 1234440"/>
              <a:gd name="connsiteY5" fmla="*/ 557784 h 4910328"/>
              <a:gd name="connsiteX6" fmla="*/ 648081 w 1234440"/>
              <a:gd name="connsiteY6" fmla="*/ 704088 h 4910328"/>
              <a:gd name="connsiteX7" fmla="*/ 1234440 w 1234440"/>
              <a:gd name="connsiteY7" fmla="*/ 704088 h 4910328"/>
              <a:gd name="connsiteX8" fmla="*/ 1234440 w 1234440"/>
              <a:gd name="connsiteY8" fmla="*/ 704088 h 4910328"/>
              <a:gd name="connsiteX9" fmla="*/ 1234440 w 1234440"/>
              <a:gd name="connsiteY9" fmla="*/ 920368 h 4910328"/>
              <a:gd name="connsiteX10" fmla="*/ 1234440 w 1234440"/>
              <a:gd name="connsiteY10" fmla="*/ 920368 h 4910328"/>
              <a:gd name="connsiteX11" fmla="*/ 648081 w 1234440"/>
              <a:gd name="connsiteY11" fmla="*/ 920368 h 4910328"/>
              <a:gd name="connsiteX12" fmla="*/ 408304 w 1234440"/>
              <a:gd name="connsiteY12" fmla="*/ 1160145 h 4910328"/>
              <a:gd name="connsiteX13" fmla="*/ 463168 w 1234440"/>
              <a:gd name="connsiteY13" fmla="*/ 4910328 h 4910328"/>
              <a:gd name="connsiteX14" fmla="*/ 384048 w 1234440"/>
              <a:gd name="connsiteY14" fmla="*/ 4864607 h 4910328"/>
              <a:gd name="connsiteX15" fmla="*/ 320040 w 1234440"/>
              <a:gd name="connsiteY15" fmla="*/ 3803904 h 4910328"/>
              <a:gd name="connsiteX16" fmla="*/ 274320 w 1234440"/>
              <a:gd name="connsiteY16" fmla="*/ 2788921 h 4910328"/>
              <a:gd name="connsiteX17" fmla="*/ 192024 w 1234440"/>
              <a:gd name="connsiteY17" fmla="*/ 2697480 h 4910328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57200 w 1234440"/>
              <a:gd name="connsiteY4" fmla="*/ 65151 h 4975479"/>
              <a:gd name="connsiteX5" fmla="*/ 429768 w 1234440"/>
              <a:gd name="connsiteY5" fmla="*/ 622935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70632 h 4983480"/>
              <a:gd name="connsiteX1" fmla="*/ 155448 w 1234440"/>
              <a:gd name="connsiteY1" fmla="*/ 1883665 h 4983480"/>
              <a:gd name="connsiteX2" fmla="*/ 0 w 1234440"/>
              <a:gd name="connsiteY2" fmla="*/ 1682497 h 4983480"/>
              <a:gd name="connsiteX3" fmla="*/ 9144 w 1234440"/>
              <a:gd name="connsiteY3" fmla="*/ 8001 h 4983480"/>
              <a:gd name="connsiteX4" fmla="*/ 484632 w 1234440"/>
              <a:gd name="connsiteY4" fmla="*/ 0 h 4983480"/>
              <a:gd name="connsiteX5" fmla="*/ 429768 w 1234440"/>
              <a:gd name="connsiteY5" fmla="*/ 630936 h 4983480"/>
              <a:gd name="connsiteX6" fmla="*/ 648081 w 1234440"/>
              <a:gd name="connsiteY6" fmla="*/ 777240 h 4983480"/>
              <a:gd name="connsiteX7" fmla="*/ 1234440 w 1234440"/>
              <a:gd name="connsiteY7" fmla="*/ 777240 h 4983480"/>
              <a:gd name="connsiteX8" fmla="*/ 1234440 w 1234440"/>
              <a:gd name="connsiteY8" fmla="*/ 777240 h 4983480"/>
              <a:gd name="connsiteX9" fmla="*/ 1234440 w 1234440"/>
              <a:gd name="connsiteY9" fmla="*/ 993520 h 4983480"/>
              <a:gd name="connsiteX10" fmla="*/ 1234440 w 1234440"/>
              <a:gd name="connsiteY10" fmla="*/ 993520 h 4983480"/>
              <a:gd name="connsiteX11" fmla="*/ 648081 w 1234440"/>
              <a:gd name="connsiteY11" fmla="*/ 993520 h 4983480"/>
              <a:gd name="connsiteX12" fmla="*/ 408304 w 1234440"/>
              <a:gd name="connsiteY12" fmla="*/ 1233297 h 4983480"/>
              <a:gd name="connsiteX13" fmla="*/ 463168 w 1234440"/>
              <a:gd name="connsiteY13" fmla="*/ 4983480 h 4983480"/>
              <a:gd name="connsiteX14" fmla="*/ 384048 w 1234440"/>
              <a:gd name="connsiteY14" fmla="*/ 4937759 h 4983480"/>
              <a:gd name="connsiteX15" fmla="*/ 320040 w 1234440"/>
              <a:gd name="connsiteY15" fmla="*/ 3877056 h 4983480"/>
              <a:gd name="connsiteX16" fmla="*/ 274320 w 1234440"/>
              <a:gd name="connsiteY16" fmla="*/ 2862073 h 4983480"/>
              <a:gd name="connsiteX17" fmla="*/ 192024 w 1234440"/>
              <a:gd name="connsiteY17" fmla="*/ 2770632 h 4983480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29768 w 1234440"/>
              <a:gd name="connsiteY4" fmla="*/ 1143 h 4975479"/>
              <a:gd name="connsiteX5" fmla="*/ 429768 w 1234440"/>
              <a:gd name="connsiteY5" fmla="*/ 622935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29768 w 1234440"/>
              <a:gd name="connsiteY4" fmla="*/ 1143 h 4975479"/>
              <a:gd name="connsiteX5" fmla="*/ 469962 w 1234440"/>
              <a:gd name="connsiteY5" fmla="*/ 632984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69962 w 1234440"/>
              <a:gd name="connsiteY5" fmla="*/ 632984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607863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583149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583149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69961 w 1234440"/>
              <a:gd name="connsiteY4" fmla="*/ 16215 h 4975479"/>
              <a:gd name="connsiteX5" fmla="*/ 474986 w 1234440"/>
              <a:gd name="connsiteY5" fmla="*/ 565497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62631 h 4975479"/>
              <a:gd name="connsiteX1" fmla="*/ 155448 w 1234440"/>
              <a:gd name="connsiteY1" fmla="*/ 1875664 h 4975479"/>
              <a:gd name="connsiteX2" fmla="*/ 0 w 1234440"/>
              <a:gd name="connsiteY2" fmla="*/ 1674496 h 4975479"/>
              <a:gd name="connsiteX3" fmla="*/ 9144 w 1234440"/>
              <a:gd name="connsiteY3" fmla="*/ 0 h 4975479"/>
              <a:gd name="connsiteX4" fmla="*/ 480553 w 1234440"/>
              <a:gd name="connsiteY4" fmla="*/ 5623 h 4975479"/>
              <a:gd name="connsiteX5" fmla="*/ 474986 w 1234440"/>
              <a:gd name="connsiteY5" fmla="*/ 565497 h 4975479"/>
              <a:gd name="connsiteX6" fmla="*/ 648081 w 1234440"/>
              <a:gd name="connsiteY6" fmla="*/ 769239 h 4975479"/>
              <a:gd name="connsiteX7" fmla="*/ 1234440 w 1234440"/>
              <a:gd name="connsiteY7" fmla="*/ 769239 h 4975479"/>
              <a:gd name="connsiteX8" fmla="*/ 1234440 w 1234440"/>
              <a:gd name="connsiteY8" fmla="*/ 769239 h 4975479"/>
              <a:gd name="connsiteX9" fmla="*/ 1234440 w 1234440"/>
              <a:gd name="connsiteY9" fmla="*/ 985519 h 4975479"/>
              <a:gd name="connsiteX10" fmla="*/ 1234440 w 1234440"/>
              <a:gd name="connsiteY10" fmla="*/ 985519 h 4975479"/>
              <a:gd name="connsiteX11" fmla="*/ 648081 w 1234440"/>
              <a:gd name="connsiteY11" fmla="*/ 985519 h 4975479"/>
              <a:gd name="connsiteX12" fmla="*/ 408304 w 1234440"/>
              <a:gd name="connsiteY12" fmla="*/ 1225296 h 4975479"/>
              <a:gd name="connsiteX13" fmla="*/ 463168 w 1234440"/>
              <a:gd name="connsiteY13" fmla="*/ 4975479 h 4975479"/>
              <a:gd name="connsiteX14" fmla="*/ 384048 w 1234440"/>
              <a:gd name="connsiteY14" fmla="*/ 4929758 h 4975479"/>
              <a:gd name="connsiteX15" fmla="*/ 320040 w 1234440"/>
              <a:gd name="connsiteY15" fmla="*/ 3869055 h 4975479"/>
              <a:gd name="connsiteX16" fmla="*/ 274320 w 1234440"/>
              <a:gd name="connsiteY16" fmla="*/ 2854072 h 4975479"/>
              <a:gd name="connsiteX17" fmla="*/ 192024 w 1234440"/>
              <a:gd name="connsiteY17" fmla="*/ 2762631 h 4975479"/>
              <a:gd name="connsiteX0" fmla="*/ 192024 w 1234440"/>
              <a:gd name="connsiteY0" fmla="*/ 2757008 h 4969856"/>
              <a:gd name="connsiteX1" fmla="*/ 155448 w 1234440"/>
              <a:gd name="connsiteY1" fmla="*/ 1870041 h 4969856"/>
              <a:gd name="connsiteX2" fmla="*/ 0 w 1234440"/>
              <a:gd name="connsiteY2" fmla="*/ 1668873 h 4969856"/>
              <a:gd name="connsiteX3" fmla="*/ 9144 w 1234440"/>
              <a:gd name="connsiteY3" fmla="*/ 1438 h 4969856"/>
              <a:gd name="connsiteX4" fmla="*/ 480553 w 1234440"/>
              <a:gd name="connsiteY4" fmla="*/ 0 h 4969856"/>
              <a:gd name="connsiteX5" fmla="*/ 474986 w 1234440"/>
              <a:gd name="connsiteY5" fmla="*/ 559874 h 4969856"/>
              <a:gd name="connsiteX6" fmla="*/ 648081 w 1234440"/>
              <a:gd name="connsiteY6" fmla="*/ 763616 h 4969856"/>
              <a:gd name="connsiteX7" fmla="*/ 1234440 w 1234440"/>
              <a:gd name="connsiteY7" fmla="*/ 763616 h 4969856"/>
              <a:gd name="connsiteX8" fmla="*/ 1234440 w 1234440"/>
              <a:gd name="connsiteY8" fmla="*/ 763616 h 4969856"/>
              <a:gd name="connsiteX9" fmla="*/ 1234440 w 1234440"/>
              <a:gd name="connsiteY9" fmla="*/ 979896 h 4969856"/>
              <a:gd name="connsiteX10" fmla="*/ 1234440 w 1234440"/>
              <a:gd name="connsiteY10" fmla="*/ 979896 h 4969856"/>
              <a:gd name="connsiteX11" fmla="*/ 648081 w 1234440"/>
              <a:gd name="connsiteY11" fmla="*/ 979896 h 4969856"/>
              <a:gd name="connsiteX12" fmla="*/ 408304 w 1234440"/>
              <a:gd name="connsiteY12" fmla="*/ 1219673 h 4969856"/>
              <a:gd name="connsiteX13" fmla="*/ 463168 w 1234440"/>
              <a:gd name="connsiteY13" fmla="*/ 4969856 h 4969856"/>
              <a:gd name="connsiteX14" fmla="*/ 384048 w 1234440"/>
              <a:gd name="connsiteY14" fmla="*/ 4924135 h 4969856"/>
              <a:gd name="connsiteX15" fmla="*/ 320040 w 1234440"/>
              <a:gd name="connsiteY15" fmla="*/ 3863432 h 4969856"/>
              <a:gd name="connsiteX16" fmla="*/ 274320 w 1234440"/>
              <a:gd name="connsiteY16" fmla="*/ 2848449 h 4969856"/>
              <a:gd name="connsiteX17" fmla="*/ 192024 w 1234440"/>
              <a:gd name="connsiteY17" fmla="*/ 2757008 h 4969856"/>
              <a:gd name="connsiteX0" fmla="*/ 182880 w 1225296"/>
              <a:gd name="connsiteY0" fmla="*/ 2757008 h 4969856"/>
              <a:gd name="connsiteX1" fmla="*/ 146304 w 1225296"/>
              <a:gd name="connsiteY1" fmla="*/ 1870041 h 4969856"/>
              <a:gd name="connsiteX2" fmla="*/ 132076 w 1225296"/>
              <a:gd name="connsiteY2" fmla="*/ 1637099 h 4969856"/>
              <a:gd name="connsiteX3" fmla="*/ 0 w 1225296"/>
              <a:gd name="connsiteY3" fmla="*/ 1438 h 4969856"/>
              <a:gd name="connsiteX4" fmla="*/ 471409 w 1225296"/>
              <a:gd name="connsiteY4" fmla="*/ 0 h 4969856"/>
              <a:gd name="connsiteX5" fmla="*/ 465842 w 1225296"/>
              <a:gd name="connsiteY5" fmla="*/ 559874 h 4969856"/>
              <a:gd name="connsiteX6" fmla="*/ 638937 w 1225296"/>
              <a:gd name="connsiteY6" fmla="*/ 763616 h 4969856"/>
              <a:gd name="connsiteX7" fmla="*/ 1225296 w 1225296"/>
              <a:gd name="connsiteY7" fmla="*/ 763616 h 4969856"/>
              <a:gd name="connsiteX8" fmla="*/ 1225296 w 1225296"/>
              <a:gd name="connsiteY8" fmla="*/ 763616 h 4969856"/>
              <a:gd name="connsiteX9" fmla="*/ 1225296 w 1225296"/>
              <a:gd name="connsiteY9" fmla="*/ 979896 h 4969856"/>
              <a:gd name="connsiteX10" fmla="*/ 1225296 w 1225296"/>
              <a:gd name="connsiteY10" fmla="*/ 979896 h 4969856"/>
              <a:gd name="connsiteX11" fmla="*/ 638937 w 1225296"/>
              <a:gd name="connsiteY11" fmla="*/ 979896 h 4969856"/>
              <a:gd name="connsiteX12" fmla="*/ 399160 w 1225296"/>
              <a:gd name="connsiteY12" fmla="*/ 1219673 h 4969856"/>
              <a:gd name="connsiteX13" fmla="*/ 454024 w 1225296"/>
              <a:gd name="connsiteY13" fmla="*/ 4969856 h 4969856"/>
              <a:gd name="connsiteX14" fmla="*/ 374904 w 1225296"/>
              <a:gd name="connsiteY14" fmla="*/ 4924135 h 4969856"/>
              <a:gd name="connsiteX15" fmla="*/ 310896 w 1225296"/>
              <a:gd name="connsiteY15" fmla="*/ 3863432 h 4969856"/>
              <a:gd name="connsiteX16" fmla="*/ 265176 w 1225296"/>
              <a:gd name="connsiteY16" fmla="*/ 2848449 h 4969856"/>
              <a:gd name="connsiteX17" fmla="*/ 182880 w 1225296"/>
              <a:gd name="connsiteY17" fmla="*/ 2757008 h 4969856"/>
              <a:gd name="connsiteX0" fmla="*/ 188494 w 1230910"/>
              <a:gd name="connsiteY0" fmla="*/ 2757008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88494 w 1230910"/>
              <a:gd name="connsiteY17" fmla="*/ 2757008 h 4969856"/>
              <a:gd name="connsiteX0" fmla="*/ 188494 w 1230910"/>
              <a:gd name="connsiteY0" fmla="*/ 2757008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88494 w 1230910"/>
              <a:gd name="connsiteY17" fmla="*/ 2757008 h 4969856"/>
              <a:gd name="connsiteX0" fmla="*/ 234391 w 1230910"/>
              <a:gd name="connsiteY0" fmla="*/ 2636971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234391 w 1230910"/>
              <a:gd name="connsiteY17" fmla="*/ 2636971 h 4969856"/>
              <a:gd name="connsiteX0" fmla="*/ 170842 w 1230910"/>
              <a:gd name="connsiteY0" fmla="*/ 2545178 h 4969856"/>
              <a:gd name="connsiteX1" fmla="*/ 151918 w 1230910"/>
              <a:gd name="connsiteY1" fmla="*/ 1870041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0790 w 1230910"/>
              <a:gd name="connsiteY16" fmla="*/ 2848449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306095 w 1230910"/>
              <a:gd name="connsiteY16" fmla="*/ 2834327 h 4969856"/>
              <a:gd name="connsiteX17" fmla="*/ 170842 w 1230910"/>
              <a:gd name="connsiteY17" fmla="*/ 2545178 h 4969856"/>
              <a:gd name="connsiteX0" fmla="*/ 170842 w 1230910"/>
              <a:gd name="connsiteY0" fmla="*/ 2545178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7851 w 1230910"/>
              <a:gd name="connsiteY16" fmla="*/ 2728411 h 4969856"/>
              <a:gd name="connsiteX17" fmla="*/ 170842 w 1230910"/>
              <a:gd name="connsiteY17" fmla="*/ 2545178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316510 w 1230910"/>
              <a:gd name="connsiteY15" fmla="*/ 3863432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447139 w 1230910"/>
              <a:gd name="connsiteY15" fmla="*/ 3701028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88266 w 1230910"/>
              <a:gd name="connsiteY15" fmla="*/ 3665723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88266 w 1230910"/>
              <a:gd name="connsiteY15" fmla="*/ 3665723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88266 w 1230910"/>
              <a:gd name="connsiteY15" fmla="*/ 3665723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74144 w 1230910"/>
              <a:gd name="connsiteY15" fmla="*/ 3658662 h 4969856"/>
              <a:gd name="connsiteX16" fmla="*/ 277851 w 1230910"/>
              <a:gd name="connsiteY16" fmla="*/ 2728411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74144 w 1230910"/>
              <a:gd name="connsiteY15" fmla="*/ 3658662 h 4969856"/>
              <a:gd name="connsiteX16" fmla="*/ 270790 w 1230910"/>
              <a:gd name="connsiteY16" fmla="*/ 2742533 h 4969856"/>
              <a:gd name="connsiteX17" fmla="*/ 170842 w 1230910"/>
              <a:gd name="connsiteY17" fmla="*/ 2580483 h 4969856"/>
              <a:gd name="connsiteX0" fmla="*/ 170842 w 1230910"/>
              <a:gd name="connsiteY0" fmla="*/ 2580483 h 4969856"/>
              <a:gd name="connsiteX1" fmla="*/ 169571 w 1230910"/>
              <a:gd name="connsiteY1" fmla="*/ 1873572 h 4969856"/>
              <a:gd name="connsiteX2" fmla="*/ 0 w 1230910"/>
              <a:gd name="connsiteY2" fmla="*/ 1640630 h 4969856"/>
              <a:gd name="connsiteX3" fmla="*/ 5614 w 1230910"/>
              <a:gd name="connsiteY3" fmla="*/ 1438 h 4969856"/>
              <a:gd name="connsiteX4" fmla="*/ 477023 w 1230910"/>
              <a:gd name="connsiteY4" fmla="*/ 0 h 4969856"/>
              <a:gd name="connsiteX5" fmla="*/ 471456 w 1230910"/>
              <a:gd name="connsiteY5" fmla="*/ 559874 h 4969856"/>
              <a:gd name="connsiteX6" fmla="*/ 644551 w 1230910"/>
              <a:gd name="connsiteY6" fmla="*/ 763616 h 4969856"/>
              <a:gd name="connsiteX7" fmla="*/ 1230910 w 1230910"/>
              <a:gd name="connsiteY7" fmla="*/ 763616 h 4969856"/>
              <a:gd name="connsiteX8" fmla="*/ 1230910 w 1230910"/>
              <a:gd name="connsiteY8" fmla="*/ 763616 h 4969856"/>
              <a:gd name="connsiteX9" fmla="*/ 1230910 w 1230910"/>
              <a:gd name="connsiteY9" fmla="*/ 979896 h 4969856"/>
              <a:gd name="connsiteX10" fmla="*/ 1230910 w 1230910"/>
              <a:gd name="connsiteY10" fmla="*/ 979896 h 4969856"/>
              <a:gd name="connsiteX11" fmla="*/ 644551 w 1230910"/>
              <a:gd name="connsiteY11" fmla="*/ 979896 h 4969856"/>
              <a:gd name="connsiteX12" fmla="*/ 404774 w 1230910"/>
              <a:gd name="connsiteY12" fmla="*/ 1219673 h 4969856"/>
              <a:gd name="connsiteX13" fmla="*/ 459638 w 1230910"/>
              <a:gd name="connsiteY13" fmla="*/ 4969856 h 4969856"/>
              <a:gd name="connsiteX14" fmla="*/ 380518 w 1230910"/>
              <a:gd name="connsiteY14" fmla="*/ 4924135 h 4969856"/>
              <a:gd name="connsiteX15" fmla="*/ 274144 w 1230910"/>
              <a:gd name="connsiteY15" fmla="*/ 3658662 h 4969856"/>
              <a:gd name="connsiteX16" fmla="*/ 270790 w 1230910"/>
              <a:gd name="connsiteY16" fmla="*/ 2742533 h 4969856"/>
              <a:gd name="connsiteX17" fmla="*/ 170842 w 1230910"/>
              <a:gd name="connsiteY17" fmla="*/ 2580483 h 4969856"/>
              <a:gd name="connsiteX0" fmla="*/ 170842 w 1230910"/>
              <a:gd name="connsiteY0" fmla="*/ 2580483 h 4960712"/>
              <a:gd name="connsiteX1" fmla="*/ 169571 w 1230910"/>
              <a:gd name="connsiteY1" fmla="*/ 1873572 h 4960712"/>
              <a:gd name="connsiteX2" fmla="*/ 0 w 1230910"/>
              <a:gd name="connsiteY2" fmla="*/ 1640630 h 4960712"/>
              <a:gd name="connsiteX3" fmla="*/ 5614 w 1230910"/>
              <a:gd name="connsiteY3" fmla="*/ 1438 h 4960712"/>
              <a:gd name="connsiteX4" fmla="*/ 477023 w 1230910"/>
              <a:gd name="connsiteY4" fmla="*/ 0 h 4960712"/>
              <a:gd name="connsiteX5" fmla="*/ 471456 w 1230910"/>
              <a:gd name="connsiteY5" fmla="*/ 559874 h 4960712"/>
              <a:gd name="connsiteX6" fmla="*/ 644551 w 1230910"/>
              <a:gd name="connsiteY6" fmla="*/ 763616 h 4960712"/>
              <a:gd name="connsiteX7" fmla="*/ 1230910 w 1230910"/>
              <a:gd name="connsiteY7" fmla="*/ 763616 h 4960712"/>
              <a:gd name="connsiteX8" fmla="*/ 1230910 w 1230910"/>
              <a:gd name="connsiteY8" fmla="*/ 763616 h 4960712"/>
              <a:gd name="connsiteX9" fmla="*/ 1230910 w 1230910"/>
              <a:gd name="connsiteY9" fmla="*/ 979896 h 4960712"/>
              <a:gd name="connsiteX10" fmla="*/ 1230910 w 1230910"/>
              <a:gd name="connsiteY10" fmla="*/ 979896 h 4960712"/>
              <a:gd name="connsiteX11" fmla="*/ 644551 w 1230910"/>
              <a:gd name="connsiteY11" fmla="*/ 979896 h 4960712"/>
              <a:gd name="connsiteX12" fmla="*/ 404774 w 1230910"/>
              <a:gd name="connsiteY12" fmla="*/ 1219673 h 4960712"/>
              <a:gd name="connsiteX13" fmla="*/ 368198 w 1230910"/>
              <a:gd name="connsiteY13" fmla="*/ 4960712 h 4960712"/>
              <a:gd name="connsiteX14" fmla="*/ 380518 w 1230910"/>
              <a:gd name="connsiteY14" fmla="*/ 4924135 h 4960712"/>
              <a:gd name="connsiteX15" fmla="*/ 274144 w 1230910"/>
              <a:gd name="connsiteY15" fmla="*/ 3658662 h 4960712"/>
              <a:gd name="connsiteX16" fmla="*/ 270790 w 1230910"/>
              <a:gd name="connsiteY16" fmla="*/ 2742533 h 4960712"/>
              <a:gd name="connsiteX17" fmla="*/ 170842 w 1230910"/>
              <a:gd name="connsiteY17" fmla="*/ 2580483 h 4960712"/>
              <a:gd name="connsiteX0" fmla="*/ 170842 w 1230910"/>
              <a:gd name="connsiteY0" fmla="*/ 2580483 h 4924136"/>
              <a:gd name="connsiteX1" fmla="*/ 169571 w 1230910"/>
              <a:gd name="connsiteY1" fmla="*/ 1873572 h 4924136"/>
              <a:gd name="connsiteX2" fmla="*/ 0 w 1230910"/>
              <a:gd name="connsiteY2" fmla="*/ 1640630 h 4924136"/>
              <a:gd name="connsiteX3" fmla="*/ 5614 w 1230910"/>
              <a:gd name="connsiteY3" fmla="*/ 1438 h 4924136"/>
              <a:gd name="connsiteX4" fmla="*/ 477023 w 1230910"/>
              <a:gd name="connsiteY4" fmla="*/ 0 h 4924136"/>
              <a:gd name="connsiteX5" fmla="*/ 471456 w 1230910"/>
              <a:gd name="connsiteY5" fmla="*/ 559874 h 4924136"/>
              <a:gd name="connsiteX6" fmla="*/ 644551 w 1230910"/>
              <a:gd name="connsiteY6" fmla="*/ 763616 h 4924136"/>
              <a:gd name="connsiteX7" fmla="*/ 1230910 w 1230910"/>
              <a:gd name="connsiteY7" fmla="*/ 763616 h 4924136"/>
              <a:gd name="connsiteX8" fmla="*/ 1230910 w 1230910"/>
              <a:gd name="connsiteY8" fmla="*/ 763616 h 4924136"/>
              <a:gd name="connsiteX9" fmla="*/ 1230910 w 1230910"/>
              <a:gd name="connsiteY9" fmla="*/ 979896 h 4924136"/>
              <a:gd name="connsiteX10" fmla="*/ 1230910 w 1230910"/>
              <a:gd name="connsiteY10" fmla="*/ 979896 h 4924136"/>
              <a:gd name="connsiteX11" fmla="*/ 644551 w 1230910"/>
              <a:gd name="connsiteY11" fmla="*/ 979896 h 4924136"/>
              <a:gd name="connsiteX12" fmla="*/ 404774 w 1230910"/>
              <a:gd name="connsiteY12" fmla="*/ 1219673 h 4924136"/>
              <a:gd name="connsiteX13" fmla="*/ 267614 w 1230910"/>
              <a:gd name="connsiteY13" fmla="*/ 4924136 h 4924136"/>
              <a:gd name="connsiteX14" fmla="*/ 380518 w 1230910"/>
              <a:gd name="connsiteY14" fmla="*/ 4924135 h 4924136"/>
              <a:gd name="connsiteX15" fmla="*/ 274144 w 1230910"/>
              <a:gd name="connsiteY15" fmla="*/ 3658662 h 4924136"/>
              <a:gd name="connsiteX16" fmla="*/ 270790 w 1230910"/>
              <a:gd name="connsiteY16" fmla="*/ 2742533 h 4924136"/>
              <a:gd name="connsiteX17" fmla="*/ 170842 w 1230910"/>
              <a:gd name="connsiteY17" fmla="*/ 2580483 h 4924136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468782 w 1230910"/>
              <a:gd name="connsiteY13" fmla="*/ 4860128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377342 w 1230910"/>
              <a:gd name="connsiteY13" fmla="*/ 3643976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349910 w 1230910"/>
              <a:gd name="connsiteY13" fmla="*/ 3643976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4924135"/>
              <a:gd name="connsiteX1" fmla="*/ 169571 w 1230910"/>
              <a:gd name="connsiteY1" fmla="*/ 1873572 h 4924135"/>
              <a:gd name="connsiteX2" fmla="*/ 0 w 1230910"/>
              <a:gd name="connsiteY2" fmla="*/ 1640630 h 4924135"/>
              <a:gd name="connsiteX3" fmla="*/ 5614 w 1230910"/>
              <a:gd name="connsiteY3" fmla="*/ 1438 h 4924135"/>
              <a:gd name="connsiteX4" fmla="*/ 477023 w 1230910"/>
              <a:gd name="connsiteY4" fmla="*/ 0 h 4924135"/>
              <a:gd name="connsiteX5" fmla="*/ 471456 w 1230910"/>
              <a:gd name="connsiteY5" fmla="*/ 559874 h 4924135"/>
              <a:gd name="connsiteX6" fmla="*/ 644551 w 1230910"/>
              <a:gd name="connsiteY6" fmla="*/ 763616 h 4924135"/>
              <a:gd name="connsiteX7" fmla="*/ 1230910 w 1230910"/>
              <a:gd name="connsiteY7" fmla="*/ 763616 h 4924135"/>
              <a:gd name="connsiteX8" fmla="*/ 1230910 w 1230910"/>
              <a:gd name="connsiteY8" fmla="*/ 763616 h 4924135"/>
              <a:gd name="connsiteX9" fmla="*/ 1230910 w 1230910"/>
              <a:gd name="connsiteY9" fmla="*/ 979896 h 4924135"/>
              <a:gd name="connsiteX10" fmla="*/ 1230910 w 1230910"/>
              <a:gd name="connsiteY10" fmla="*/ 979896 h 4924135"/>
              <a:gd name="connsiteX11" fmla="*/ 644551 w 1230910"/>
              <a:gd name="connsiteY11" fmla="*/ 979896 h 4924135"/>
              <a:gd name="connsiteX12" fmla="*/ 404774 w 1230910"/>
              <a:gd name="connsiteY12" fmla="*/ 1219673 h 4924135"/>
              <a:gd name="connsiteX13" fmla="*/ 368198 w 1230910"/>
              <a:gd name="connsiteY13" fmla="*/ 3643976 h 4924135"/>
              <a:gd name="connsiteX14" fmla="*/ 380518 w 1230910"/>
              <a:gd name="connsiteY14" fmla="*/ 4924135 h 4924135"/>
              <a:gd name="connsiteX15" fmla="*/ 274144 w 1230910"/>
              <a:gd name="connsiteY15" fmla="*/ 3658662 h 4924135"/>
              <a:gd name="connsiteX16" fmla="*/ 270790 w 1230910"/>
              <a:gd name="connsiteY16" fmla="*/ 2742533 h 4924135"/>
              <a:gd name="connsiteX17" fmla="*/ 170842 w 1230910"/>
              <a:gd name="connsiteY17" fmla="*/ 2580483 h 4924135"/>
              <a:gd name="connsiteX0" fmla="*/ 170842 w 1230910"/>
              <a:gd name="connsiteY0" fmla="*/ 2580483 h 3868108"/>
              <a:gd name="connsiteX1" fmla="*/ 169571 w 1230910"/>
              <a:gd name="connsiteY1" fmla="*/ 1873572 h 3868108"/>
              <a:gd name="connsiteX2" fmla="*/ 0 w 1230910"/>
              <a:gd name="connsiteY2" fmla="*/ 1640630 h 3868108"/>
              <a:gd name="connsiteX3" fmla="*/ 5614 w 1230910"/>
              <a:gd name="connsiteY3" fmla="*/ 1438 h 3868108"/>
              <a:gd name="connsiteX4" fmla="*/ 477023 w 1230910"/>
              <a:gd name="connsiteY4" fmla="*/ 0 h 3868108"/>
              <a:gd name="connsiteX5" fmla="*/ 471456 w 1230910"/>
              <a:gd name="connsiteY5" fmla="*/ 559874 h 3868108"/>
              <a:gd name="connsiteX6" fmla="*/ 644551 w 1230910"/>
              <a:gd name="connsiteY6" fmla="*/ 763616 h 3868108"/>
              <a:gd name="connsiteX7" fmla="*/ 1230910 w 1230910"/>
              <a:gd name="connsiteY7" fmla="*/ 763616 h 3868108"/>
              <a:gd name="connsiteX8" fmla="*/ 1230910 w 1230910"/>
              <a:gd name="connsiteY8" fmla="*/ 763616 h 3868108"/>
              <a:gd name="connsiteX9" fmla="*/ 1230910 w 1230910"/>
              <a:gd name="connsiteY9" fmla="*/ 979896 h 3868108"/>
              <a:gd name="connsiteX10" fmla="*/ 1230910 w 1230910"/>
              <a:gd name="connsiteY10" fmla="*/ 979896 h 3868108"/>
              <a:gd name="connsiteX11" fmla="*/ 644551 w 1230910"/>
              <a:gd name="connsiteY11" fmla="*/ 979896 h 3868108"/>
              <a:gd name="connsiteX12" fmla="*/ 404774 w 1230910"/>
              <a:gd name="connsiteY12" fmla="*/ 1219673 h 3868108"/>
              <a:gd name="connsiteX13" fmla="*/ 368198 w 1230910"/>
              <a:gd name="connsiteY13" fmla="*/ 3643976 h 3868108"/>
              <a:gd name="connsiteX14" fmla="*/ 274144 w 1230910"/>
              <a:gd name="connsiteY14" fmla="*/ 3658662 h 3868108"/>
              <a:gd name="connsiteX15" fmla="*/ 270790 w 1230910"/>
              <a:gd name="connsiteY15" fmla="*/ 2742533 h 3868108"/>
              <a:gd name="connsiteX16" fmla="*/ 170842 w 1230910"/>
              <a:gd name="connsiteY16" fmla="*/ 2580483 h 3868108"/>
              <a:gd name="connsiteX0" fmla="*/ 170842 w 1230910"/>
              <a:gd name="connsiteY0" fmla="*/ 2580483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368198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70842 w 1230910"/>
              <a:gd name="connsiteY16" fmla="*/ 2580483 h 3658662"/>
              <a:gd name="connsiteX0" fmla="*/ 170842 w 1230910"/>
              <a:gd name="connsiteY0" fmla="*/ 2580483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13918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70842 w 1230910"/>
              <a:gd name="connsiteY16" fmla="*/ 2580483 h 3658662"/>
              <a:gd name="connsiteX0" fmla="*/ 170842 w 1230910"/>
              <a:gd name="connsiteY0" fmla="*/ 2580483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4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70842 w 1230910"/>
              <a:gd name="connsiteY16" fmla="*/ 2580483 h 3658662"/>
              <a:gd name="connsiteX0" fmla="*/ 161698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4 w 1230910"/>
              <a:gd name="connsiteY13" fmla="*/ 3643976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61698 w 1230910"/>
              <a:gd name="connsiteY16" fmla="*/ 2562195 h 3658662"/>
              <a:gd name="connsiteX0" fmla="*/ 161698 w 1230910"/>
              <a:gd name="connsiteY0" fmla="*/ 2562195 h 3674121"/>
              <a:gd name="connsiteX1" fmla="*/ 169571 w 1230910"/>
              <a:gd name="connsiteY1" fmla="*/ 1873572 h 3674121"/>
              <a:gd name="connsiteX2" fmla="*/ 0 w 1230910"/>
              <a:gd name="connsiteY2" fmla="*/ 1640630 h 3674121"/>
              <a:gd name="connsiteX3" fmla="*/ 5614 w 1230910"/>
              <a:gd name="connsiteY3" fmla="*/ 1438 h 3674121"/>
              <a:gd name="connsiteX4" fmla="*/ 477023 w 1230910"/>
              <a:gd name="connsiteY4" fmla="*/ 0 h 3674121"/>
              <a:gd name="connsiteX5" fmla="*/ 471456 w 1230910"/>
              <a:gd name="connsiteY5" fmla="*/ 559874 h 3674121"/>
              <a:gd name="connsiteX6" fmla="*/ 644551 w 1230910"/>
              <a:gd name="connsiteY6" fmla="*/ 763616 h 3674121"/>
              <a:gd name="connsiteX7" fmla="*/ 1230910 w 1230910"/>
              <a:gd name="connsiteY7" fmla="*/ 763616 h 3674121"/>
              <a:gd name="connsiteX8" fmla="*/ 1230910 w 1230910"/>
              <a:gd name="connsiteY8" fmla="*/ 763616 h 3674121"/>
              <a:gd name="connsiteX9" fmla="*/ 1230910 w 1230910"/>
              <a:gd name="connsiteY9" fmla="*/ 979896 h 3674121"/>
              <a:gd name="connsiteX10" fmla="*/ 1230910 w 1230910"/>
              <a:gd name="connsiteY10" fmla="*/ 979896 h 3674121"/>
              <a:gd name="connsiteX11" fmla="*/ 644551 w 1230910"/>
              <a:gd name="connsiteY11" fmla="*/ 979896 h 3674121"/>
              <a:gd name="connsiteX12" fmla="*/ 404774 w 1230910"/>
              <a:gd name="connsiteY12" fmla="*/ 1219673 h 3674121"/>
              <a:gd name="connsiteX13" fmla="*/ 409798 w 1230910"/>
              <a:gd name="connsiteY13" fmla="*/ 3674121 h 3674121"/>
              <a:gd name="connsiteX14" fmla="*/ 274144 w 1230910"/>
              <a:gd name="connsiteY14" fmla="*/ 3658662 h 3674121"/>
              <a:gd name="connsiteX15" fmla="*/ 270790 w 1230910"/>
              <a:gd name="connsiteY15" fmla="*/ 2742533 h 3674121"/>
              <a:gd name="connsiteX16" fmla="*/ 161698 w 1230910"/>
              <a:gd name="connsiteY16" fmla="*/ 2562195 h 3674121"/>
              <a:gd name="connsiteX0" fmla="*/ 161698 w 1230910"/>
              <a:gd name="connsiteY0" fmla="*/ 2562195 h 3669097"/>
              <a:gd name="connsiteX1" fmla="*/ 169571 w 1230910"/>
              <a:gd name="connsiteY1" fmla="*/ 1873572 h 3669097"/>
              <a:gd name="connsiteX2" fmla="*/ 0 w 1230910"/>
              <a:gd name="connsiteY2" fmla="*/ 1640630 h 3669097"/>
              <a:gd name="connsiteX3" fmla="*/ 5614 w 1230910"/>
              <a:gd name="connsiteY3" fmla="*/ 1438 h 3669097"/>
              <a:gd name="connsiteX4" fmla="*/ 477023 w 1230910"/>
              <a:gd name="connsiteY4" fmla="*/ 0 h 3669097"/>
              <a:gd name="connsiteX5" fmla="*/ 471456 w 1230910"/>
              <a:gd name="connsiteY5" fmla="*/ 559874 h 3669097"/>
              <a:gd name="connsiteX6" fmla="*/ 644551 w 1230910"/>
              <a:gd name="connsiteY6" fmla="*/ 763616 h 3669097"/>
              <a:gd name="connsiteX7" fmla="*/ 1230910 w 1230910"/>
              <a:gd name="connsiteY7" fmla="*/ 763616 h 3669097"/>
              <a:gd name="connsiteX8" fmla="*/ 1230910 w 1230910"/>
              <a:gd name="connsiteY8" fmla="*/ 763616 h 3669097"/>
              <a:gd name="connsiteX9" fmla="*/ 1230910 w 1230910"/>
              <a:gd name="connsiteY9" fmla="*/ 979896 h 3669097"/>
              <a:gd name="connsiteX10" fmla="*/ 1230910 w 1230910"/>
              <a:gd name="connsiteY10" fmla="*/ 979896 h 3669097"/>
              <a:gd name="connsiteX11" fmla="*/ 644551 w 1230910"/>
              <a:gd name="connsiteY11" fmla="*/ 979896 h 3669097"/>
              <a:gd name="connsiteX12" fmla="*/ 404774 w 1230910"/>
              <a:gd name="connsiteY12" fmla="*/ 1219673 h 3669097"/>
              <a:gd name="connsiteX13" fmla="*/ 409798 w 1230910"/>
              <a:gd name="connsiteY13" fmla="*/ 3669097 h 3669097"/>
              <a:gd name="connsiteX14" fmla="*/ 274144 w 1230910"/>
              <a:gd name="connsiteY14" fmla="*/ 3658662 h 3669097"/>
              <a:gd name="connsiteX15" fmla="*/ 270790 w 1230910"/>
              <a:gd name="connsiteY15" fmla="*/ 2742533 h 3669097"/>
              <a:gd name="connsiteX16" fmla="*/ 161698 w 1230910"/>
              <a:gd name="connsiteY16" fmla="*/ 2562195 h 3669097"/>
              <a:gd name="connsiteX0" fmla="*/ 161698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274144 w 1230910"/>
              <a:gd name="connsiteY14" fmla="*/ 3658662 h 3658662"/>
              <a:gd name="connsiteX15" fmla="*/ 270790 w 1230910"/>
              <a:gd name="connsiteY15" fmla="*/ 2742533 h 3658662"/>
              <a:gd name="connsiteX16" fmla="*/ 161698 w 1230910"/>
              <a:gd name="connsiteY16" fmla="*/ 2562195 h 3658662"/>
              <a:gd name="connsiteX0" fmla="*/ 161698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1698 w 1230910"/>
              <a:gd name="connsiteY17" fmla="*/ 2562195 h 3658662"/>
              <a:gd name="connsiteX0" fmla="*/ 156674 w 1230910"/>
              <a:gd name="connsiteY0" fmla="*/ 2562195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56674 w 1230910"/>
              <a:gd name="connsiteY17" fmla="*/ 2562195 h 3658662"/>
              <a:gd name="connsiteX0" fmla="*/ 176770 w 1230910"/>
              <a:gd name="connsiteY0" fmla="*/ 2557171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76770 w 1230910"/>
              <a:gd name="connsiteY17" fmla="*/ 2557171 h 3658662"/>
              <a:gd name="connsiteX0" fmla="*/ 166722 w 1230910"/>
              <a:gd name="connsiteY0" fmla="*/ 2567220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77023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6722 w 1230910"/>
              <a:gd name="connsiteY17" fmla="*/ 2567220 h 3658662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77023 w 1230910"/>
              <a:gd name="connsiteY4" fmla="*/ 18659 h 3657224"/>
              <a:gd name="connsiteX5" fmla="*/ 471456 w 1230910"/>
              <a:gd name="connsiteY5" fmla="*/ 5584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61950 w 1230910"/>
              <a:gd name="connsiteY4" fmla="*/ 8610 h 3657224"/>
              <a:gd name="connsiteX5" fmla="*/ 471456 w 1230910"/>
              <a:gd name="connsiteY5" fmla="*/ 5584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7220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61950 w 1230910"/>
              <a:gd name="connsiteY4" fmla="*/ 0 h 3658662"/>
              <a:gd name="connsiteX5" fmla="*/ 471456 w 1230910"/>
              <a:gd name="connsiteY5" fmla="*/ 5598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6722 w 1230910"/>
              <a:gd name="connsiteY17" fmla="*/ 2567220 h 3658662"/>
              <a:gd name="connsiteX0" fmla="*/ 166722 w 1230910"/>
              <a:gd name="connsiteY0" fmla="*/ 2567220 h 3658662"/>
              <a:gd name="connsiteX1" fmla="*/ 169571 w 1230910"/>
              <a:gd name="connsiteY1" fmla="*/ 1873572 h 3658662"/>
              <a:gd name="connsiteX2" fmla="*/ 0 w 1230910"/>
              <a:gd name="connsiteY2" fmla="*/ 1640630 h 3658662"/>
              <a:gd name="connsiteX3" fmla="*/ 5614 w 1230910"/>
              <a:gd name="connsiteY3" fmla="*/ 1438 h 3658662"/>
              <a:gd name="connsiteX4" fmla="*/ 461950 w 1230910"/>
              <a:gd name="connsiteY4" fmla="*/ 0 h 3658662"/>
              <a:gd name="connsiteX5" fmla="*/ 471456 w 1230910"/>
              <a:gd name="connsiteY5" fmla="*/ 597974 h 3658662"/>
              <a:gd name="connsiteX6" fmla="*/ 644551 w 1230910"/>
              <a:gd name="connsiteY6" fmla="*/ 763616 h 3658662"/>
              <a:gd name="connsiteX7" fmla="*/ 1230910 w 1230910"/>
              <a:gd name="connsiteY7" fmla="*/ 763616 h 3658662"/>
              <a:gd name="connsiteX8" fmla="*/ 1230910 w 1230910"/>
              <a:gd name="connsiteY8" fmla="*/ 763616 h 3658662"/>
              <a:gd name="connsiteX9" fmla="*/ 1230910 w 1230910"/>
              <a:gd name="connsiteY9" fmla="*/ 979896 h 3658662"/>
              <a:gd name="connsiteX10" fmla="*/ 1230910 w 1230910"/>
              <a:gd name="connsiteY10" fmla="*/ 979896 h 3658662"/>
              <a:gd name="connsiteX11" fmla="*/ 644551 w 1230910"/>
              <a:gd name="connsiteY11" fmla="*/ 979896 h 3658662"/>
              <a:gd name="connsiteX12" fmla="*/ 404774 w 1230910"/>
              <a:gd name="connsiteY12" fmla="*/ 1219673 h 3658662"/>
              <a:gd name="connsiteX13" fmla="*/ 404773 w 1230910"/>
              <a:gd name="connsiteY13" fmla="*/ 3649001 h 3658662"/>
              <a:gd name="connsiteX14" fmla="*/ 342736 w 1230910"/>
              <a:gd name="connsiteY14" fmla="*/ 3611620 h 3658662"/>
              <a:gd name="connsiteX15" fmla="*/ 274144 w 1230910"/>
              <a:gd name="connsiteY15" fmla="*/ 3658662 h 3658662"/>
              <a:gd name="connsiteX16" fmla="*/ 270790 w 1230910"/>
              <a:gd name="connsiteY16" fmla="*/ 2742533 h 3658662"/>
              <a:gd name="connsiteX17" fmla="*/ 166722 w 1230910"/>
              <a:gd name="connsiteY17" fmla="*/ 2567220 h 3658662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69570 w 1230910"/>
              <a:gd name="connsiteY4" fmla="*/ 2372 h 3657224"/>
              <a:gd name="connsiteX5" fmla="*/ 471456 w 1230910"/>
              <a:gd name="connsiteY5" fmla="*/ 5965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473380 w 1230910"/>
              <a:gd name="connsiteY4" fmla="*/ 6182 h 3657224"/>
              <a:gd name="connsiteX5" fmla="*/ 471456 w 1230910"/>
              <a:gd name="connsiteY5" fmla="*/ 596536 h 3657224"/>
              <a:gd name="connsiteX6" fmla="*/ 644551 w 1230910"/>
              <a:gd name="connsiteY6" fmla="*/ 762178 h 3657224"/>
              <a:gd name="connsiteX7" fmla="*/ 1230910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978458 h 3657224"/>
              <a:gd name="connsiteX10" fmla="*/ 1230910 w 1230910"/>
              <a:gd name="connsiteY10" fmla="*/ 978458 h 3657224"/>
              <a:gd name="connsiteX11" fmla="*/ 644551 w 1230910"/>
              <a:gd name="connsiteY11" fmla="*/ 978458 h 3657224"/>
              <a:gd name="connsiteX12" fmla="*/ 404774 w 1230910"/>
              <a:gd name="connsiteY12" fmla="*/ 1218235 h 3657224"/>
              <a:gd name="connsiteX13" fmla="*/ 404773 w 1230910"/>
              <a:gd name="connsiteY13" fmla="*/ 3647563 h 3657224"/>
              <a:gd name="connsiteX14" fmla="*/ 342736 w 1230910"/>
              <a:gd name="connsiteY14" fmla="*/ 3610182 h 3657224"/>
              <a:gd name="connsiteX15" fmla="*/ 274144 w 1230910"/>
              <a:gd name="connsiteY15" fmla="*/ 3657224 h 3657224"/>
              <a:gd name="connsiteX16" fmla="*/ 270790 w 1230910"/>
              <a:gd name="connsiteY16" fmla="*/ 2741095 h 3657224"/>
              <a:gd name="connsiteX17" fmla="*/ 166722 w 1230910"/>
              <a:gd name="connsiteY17" fmla="*/ 2565782 h 3657224"/>
              <a:gd name="connsiteX0" fmla="*/ 166722 w 1230910"/>
              <a:gd name="connsiteY0" fmla="*/ 2565782 h 3657224"/>
              <a:gd name="connsiteX1" fmla="*/ 169571 w 1230910"/>
              <a:gd name="connsiteY1" fmla="*/ 1872134 h 3657224"/>
              <a:gd name="connsiteX2" fmla="*/ 0 w 1230910"/>
              <a:gd name="connsiteY2" fmla="*/ 1639192 h 3657224"/>
              <a:gd name="connsiteX3" fmla="*/ 5614 w 1230910"/>
              <a:gd name="connsiteY3" fmla="*/ 0 h 3657224"/>
              <a:gd name="connsiteX4" fmla="*/ 196114 w 1230910"/>
              <a:gd name="connsiteY4" fmla="*/ 31420 h 3657224"/>
              <a:gd name="connsiteX5" fmla="*/ 473380 w 1230910"/>
              <a:gd name="connsiteY5" fmla="*/ 6182 h 3657224"/>
              <a:gd name="connsiteX6" fmla="*/ 471456 w 1230910"/>
              <a:gd name="connsiteY6" fmla="*/ 596536 h 3657224"/>
              <a:gd name="connsiteX7" fmla="*/ 644551 w 1230910"/>
              <a:gd name="connsiteY7" fmla="*/ 762178 h 3657224"/>
              <a:gd name="connsiteX8" fmla="*/ 1230910 w 1230910"/>
              <a:gd name="connsiteY8" fmla="*/ 762178 h 3657224"/>
              <a:gd name="connsiteX9" fmla="*/ 1230910 w 1230910"/>
              <a:gd name="connsiteY9" fmla="*/ 762178 h 3657224"/>
              <a:gd name="connsiteX10" fmla="*/ 1230910 w 1230910"/>
              <a:gd name="connsiteY10" fmla="*/ 978458 h 3657224"/>
              <a:gd name="connsiteX11" fmla="*/ 1230910 w 1230910"/>
              <a:gd name="connsiteY11" fmla="*/ 978458 h 3657224"/>
              <a:gd name="connsiteX12" fmla="*/ 644551 w 1230910"/>
              <a:gd name="connsiteY12" fmla="*/ 978458 h 3657224"/>
              <a:gd name="connsiteX13" fmla="*/ 404774 w 1230910"/>
              <a:gd name="connsiteY13" fmla="*/ 1218235 h 3657224"/>
              <a:gd name="connsiteX14" fmla="*/ 404773 w 1230910"/>
              <a:gd name="connsiteY14" fmla="*/ 3647563 h 3657224"/>
              <a:gd name="connsiteX15" fmla="*/ 342736 w 1230910"/>
              <a:gd name="connsiteY15" fmla="*/ 3610182 h 3657224"/>
              <a:gd name="connsiteX16" fmla="*/ 274144 w 1230910"/>
              <a:gd name="connsiteY16" fmla="*/ 3657224 h 3657224"/>
              <a:gd name="connsiteX17" fmla="*/ 270790 w 1230910"/>
              <a:gd name="connsiteY17" fmla="*/ 2741095 h 3657224"/>
              <a:gd name="connsiteX18" fmla="*/ 166722 w 1230910"/>
              <a:gd name="connsiteY18" fmla="*/ 2565782 h 3657224"/>
              <a:gd name="connsiteX0" fmla="*/ 166722 w 1230910"/>
              <a:gd name="connsiteY0" fmla="*/ 2572462 h 3663904"/>
              <a:gd name="connsiteX1" fmla="*/ 169571 w 1230910"/>
              <a:gd name="connsiteY1" fmla="*/ 1878814 h 3663904"/>
              <a:gd name="connsiteX2" fmla="*/ 0 w 1230910"/>
              <a:gd name="connsiteY2" fmla="*/ 1645872 h 3663904"/>
              <a:gd name="connsiteX3" fmla="*/ 5614 w 1230910"/>
              <a:gd name="connsiteY3" fmla="*/ 6680 h 3663904"/>
              <a:gd name="connsiteX4" fmla="*/ 196114 w 1230910"/>
              <a:gd name="connsiteY4" fmla="*/ 38100 h 3663904"/>
              <a:gd name="connsiteX5" fmla="*/ 310414 w 1230910"/>
              <a:gd name="connsiteY5" fmla="*/ 0 h 3663904"/>
              <a:gd name="connsiteX6" fmla="*/ 473380 w 1230910"/>
              <a:gd name="connsiteY6" fmla="*/ 12862 h 3663904"/>
              <a:gd name="connsiteX7" fmla="*/ 471456 w 1230910"/>
              <a:gd name="connsiteY7" fmla="*/ 603216 h 3663904"/>
              <a:gd name="connsiteX8" fmla="*/ 644551 w 1230910"/>
              <a:gd name="connsiteY8" fmla="*/ 768858 h 3663904"/>
              <a:gd name="connsiteX9" fmla="*/ 1230910 w 1230910"/>
              <a:gd name="connsiteY9" fmla="*/ 768858 h 3663904"/>
              <a:gd name="connsiteX10" fmla="*/ 1230910 w 1230910"/>
              <a:gd name="connsiteY10" fmla="*/ 768858 h 3663904"/>
              <a:gd name="connsiteX11" fmla="*/ 1230910 w 1230910"/>
              <a:gd name="connsiteY11" fmla="*/ 985138 h 3663904"/>
              <a:gd name="connsiteX12" fmla="*/ 1230910 w 1230910"/>
              <a:gd name="connsiteY12" fmla="*/ 985138 h 3663904"/>
              <a:gd name="connsiteX13" fmla="*/ 644551 w 1230910"/>
              <a:gd name="connsiteY13" fmla="*/ 985138 h 3663904"/>
              <a:gd name="connsiteX14" fmla="*/ 404774 w 1230910"/>
              <a:gd name="connsiteY14" fmla="*/ 1224915 h 3663904"/>
              <a:gd name="connsiteX15" fmla="*/ 404773 w 1230910"/>
              <a:gd name="connsiteY15" fmla="*/ 3654243 h 3663904"/>
              <a:gd name="connsiteX16" fmla="*/ 342736 w 1230910"/>
              <a:gd name="connsiteY16" fmla="*/ 3616862 h 3663904"/>
              <a:gd name="connsiteX17" fmla="*/ 274144 w 1230910"/>
              <a:gd name="connsiteY17" fmla="*/ 3663904 h 3663904"/>
              <a:gd name="connsiteX18" fmla="*/ 270790 w 1230910"/>
              <a:gd name="connsiteY18" fmla="*/ 2747775 h 3663904"/>
              <a:gd name="connsiteX19" fmla="*/ 166722 w 1230910"/>
              <a:gd name="connsiteY19" fmla="*/ 2572462 h 3663904"/>
              <a:gd name="connsiteX0" fmla="*/ 166722 w 1486407"/>
              <a:gd name="connsiteY0" fmla="*/ 2572462 h 3663904"/>
              <a:gd name="connsiteX1" fmla="*/ 169571 w 1486407"/>
              <a:gd name="connsiteY1" fmla="*/ 1878814 h 3663904"/>
              <a:gd name="connsiteX2" fmla="*/ 0 w 1486407"/>
              <a:gd name="connsiteY2" fmla="*/ 1645872 h 3663904"/>
              <a:gd name="connsiteX3" fmla="*/ 5614 w 1486407"/>
              <a:gd name="connsiteY3" fmla="*/ 6680 h 3663904"/>
              <a:gd name="connsiteX4" fmla="*/ 196114 w 1486407"/>
              <a:gd name="connsiteY4" fmla="*/ 38100 h 3663904"/>
              <a:gd name="connsiteX5" fmla="*/ 310414 w 1486407"/>
              <a:gd name="connsiteY5" fmla="*/ 0 h 3663904"/>
              <a:gd name="connsiteX6" fmla="*/ 473380 w 1486407"/>
              <a:gd name="connsiteY6" fmla="*/ 12862 h 3663904"/>
              <a:gd name="connsiteX7" fmla="*/ 471456 w 1486407"/>
              <a:gd name="connsiteY7" fmla="*/ 603216 h 3663904"/>
              <a:gd name="connsiteX8" fmla="*/ 644551 w 1486407"/>
              <a:gd name="connsiteY8" fmla="*/ 768858 h 3663904"/>
              <a:gd name="connsiteX9" fmla="*/ 1230910 w 1486407"/>
              <a:gd name="connsiteY9" fmla="*/ 768858 h 3663904"/>
              <a:gd name="connsiteX10" fmla="*/ 1230910 w 1486407"/>
              <a:gd name="connsiteY10" fmla="*/ 768858 h 3663904"/>
              <a:gd name="connsiteX11" fmla="*/ 1230910 w 1486407"/>
              <a:gd name="connsiteY11" fmla="*/ 985138 h 3663904"/>
              <a:gd name="connsiteX12" fmla="*/ 1486407 w 1486407"/>
              <a:gd name="connsiteY12" fmla="*/ 990816 h 3663904"/>
              <a:gd name="connsiteX13" fmla="*/ 644551 w 1486407"/>
              <a:gd name="connsiteY13" fmla="*/ 985138 h 3663904"/>
              <a:gd name="connsiteX14" fmla="*/ 404774 w 1486407"/>
              <a:gd name="connsiteY14" fmla="*/ 1224915 h 3663904"/>
              <a:gd name="connsiteX15" fmla="*/ 404773 w 1486407"/>
              <a:gd name="connsiteY15" fmla="*/ 3654243 h 3663904"/>
              <a:gd name="connsiteX16" fmla="*/ 342736 w 1486407"/>
              <a:gd name="connsiteY16" fmla="*/ 3616862 h 3663904"/>
              <a:gd name="connsiteX17" fmla="*/ 274144 w 1486407"/>
              <a:gd name="connsiteY17" fmla="*/ 3663904 h 3663904"/>
              <a:gd name="connsiteX18" fmla="*/ 270790 w 1486407"/>
              <a:gd name="connsiteY18" fmla="*/ 2747775 h 3663904"/>
              <a:gd name="connsiteX19" fmla="*/ 166722 w 1486407"/>
              <a:gd name="connsiteY19" fmla="*/ 2572462 h 3663904"/>
              <a:gd name="connsiteX0" fmla="*/ 166722 w 1486407"/>
              <a:gd name="connsiteY0" fmla="*/ 2572462 h 3663904"/>
              <a:gd name="connsiteX1" fmla="*/ 169571 w 1486407"/>
              <a:gd name="connsiteY1" fmla="*/ 1878814 h 3663904"/>
              <a:gd name="connsiteX2" fmla="*/ 0 w 1486407"/>
              <a:gd name="connsiteY2" fmla="*/ 1645872 h 3663904"/>
              <a:gd name="connsiteX3" fmla="*/ 5614 w 1486407"/>
              <a:gd name="connsiteY3" fmla="*/ 6680 h 3663904"/>
              <a:gd name="connsiteX4" fmla="*/ 196114 w 1486407"/>
              <a:gd name="connsiteY4" fmla="*/ 38100 h 3663904"/>
              <a:gd name="connsiteX5" fmla="*/ 310414 w 1486407"/>
              <a:gd name="connsiteY5" fmla="*/ 0 h 3663904"/>
              <a:gd name="connsiteX6" fmla="*/ 473380 w 1486407"/>
              <a:gd name="connsiteY6" fmla="*/ 12862 h 3663904"/>
              <a:gd name="connsiteX7" fmla="*/ 471456 w 1486407"/>
              <a:gd name="connsiteY7" fmla="*/ 603216 h 3663904"/>
              <a:gd name="connsiteX8" fmla="*/ 644551 w 1486407"/>
              <a:gd name="connsiteY8" fmla="*/ 768858 h 3663904"/>
              <a:gd name="connsiteX9" fmla="*/ 1230910 w 1486407"/>
              <a:gd name="connsiteY9" fmla="*/ 768858 h 3663904"/>
              <a:gd name="connsiteX10" fmla="*/ 1230910 w 1486407"/>
              <a:gd name="connsiteY10" fmla="*/ 768858 h 3663904"/>
              <a:gd name="connsiteX11" fmla="*/ 1486407 w 1486407"/>
              <a:gd name="connsiteY11" fmla="*/ 990816 h 3663904"/>
              <a:gd name="connsiteX12" fmla="*/ 644551 w 1486407"/>
              <a:gd name="connsiteY12" fmla="*/ 985138 h 3663904"/>
              <a:gd name="connsiteX13" fmla="*/ 404774 w 1486407"/>
              <a:gd name="connsiteY13" fmla="*/ 1224915 h 3663904"/>
              <a:gd name="connsiteX14" fmla="*/ 404773 w 1486407"/>
              <a:gd name="connsiteY14" fmla="*/ 3654243 h 3663904"/>
              <a:gd name="connsiteX15" fmla="*/ 342736 w 1486407"/>
              <a:gd name="connsiteY15" fmla="*/ 3616862 h 3663904"/>
              <a:gd name="connsiteX16" fmla="*/ 274144 w 1486407"/>
              <a:gd name="connsiteY16" fmla="*/ 3663904 h 3663904"/>
              <a:gd name="connsiteX17" fmla="*/ 270790 w 1486407"/>
              <a:gd name="connsiteY17" fmla="*/ 2747775 h 3663904"/>
              <a:gd name="connsiteX18" fmla="*/ 166722 w 1486407"/>
              <a:gd name="connsiteY18" fmla="*/ 2572462 h 3663904"/>
              <a:gd name="connsiteX0" fmla="*/ 166722 w 1543184"/>
              <a:gd name="connsiteY0" fmla="*/ 2572462 h 3663904"/>
              <a:gd name="connsiteX1" fmla="*/ 169571 w 1543184"/>
              <a:gd name="connsiteY1" fmla="*/ 1878814 h 3663904"/>
              <a:gd name="connsiteX2" fmla="*/ 0 w 1543184"/>
              <a:gd name="connsiteY2" fmla="*/ 1645872 h 3663904"/>
              <a:gd name="connsiteX3" fmla="*/ 5614 w 1543184"/>
              <a:gd name="connsiteY3" fmla="*/ 6680 h 3663904"/>
              <a:gd name="connsiteX4" fmla="*/ 196114 w 1543184"/>
              <a:gd name="connsiteY4" fmla="*/ 38100 h 3663904"/>
              <a:gd name="connsiteX5" fmla="*/ 310414 w 1543184"/>
              <a:gd name="connsiteY5" fmla="*/ 0 h 3663904"/>
              <a:gd name="connsiteX6" fmla="*/ 473380 w 1543184"/>
              <a:gd name="connsiteY6" fmla="*/ 12862 h 3663904"/>
              <a:gd name="connsiteX7" fmla="*/ 471456 w 1543184"/>
              <a:gd name="connsiteY7" fmla="*/ 603216 h 3663904"/>
              <a:gd name="connsiteX8" fmla="*/ 644551 w 1543184"/>
              <a:gd name="connsiteY8" fmla="*/ 768858 h 3663904"/>
              <a:gd name="connsiteX9" fmla="*/ 1230910 w 1543184"/>
              <a:gd name="connsiteY9" fmla="*/ 768858 h 3663904"/>
              <a:gd name="connsiteX10" fmla="*/ 1543184 w 1543184"/>
              <a:gd name="connsiteY10" fmla="*/ 780213 h 3663904"/>
              <a:gd name="connsiteX11" fmla="*/ 1486407 w 1543184"/>
              <a:gd name="connsiteY11" fmla="*/ 990816 h 3663904"/>
              <a:gd name="connsiteX12" fmla="*/ 644551 w 1543184"/>
              <a:gd name="connsiteY12" fmla="*/ 985138 h 3663904"/>
              <a:gd name="connsiteX13" fmla="*/ 404774 w 1543184"/>
              <a:gd name="connsiteY13" fmla="*/ 1224915 h 3663904"/>
              <a:gd name="connsiteX14" fmla="*/ 404773 w 1543184"/>
              <a:gd name="connsiteY14" fmla="*/ 3654243 h 3663904"/>
              <a:gd name="connsiteX15" fmla="*/ 342736 w 1543184"/>
              <a:gd name="connsiteY15" fmla="*/ 3616862 h 3663904"/>
              <a:gd name="connsiteX16" fmla="*/ 274144 w 1543184"/>
              <a:gd name="connsiteY16" fmla="*/ 3663904 h 3663904"/>
              <a:gd name="connsiteX17" fmla="*/ 270790 w 1543184"/>
              <a:gd name="connsiteY17" fmla="*/ 2747775 h 3663904"/>
              <a:gd name="connsiteX18" fmla="*/ 166722 w 1543184"/>
              <a:gd name="connsiteY18" fmla="*/ 2572462 h 3663904"/>
              <a:gd name="connsiteX0" fmla="*/ 166722 w 1543184"/>
              <a:gd name="connsiteY0" fmla="*/ 2572462 h 3663904"/>
              <a:gd name="connsiteX1" fmla="*/ 169571 w 1543184"/>
              <a:gd name="connsiteY1" fmla="*/ 1878814 h 3663904"/>
              <a:gd name="connsiteX2" fmla="*/ 0 w 1543184"/>
              <a:gd name="connsiteY2" fmla="*/ 1645872 h 3663904"/>
              <a:gd name="connsiteX3" fmla="*/ 5614 w 1543184"/>
              <a:gd name="connsiteY3" fmla="*/ 6680 h 3663904"/>
              <a:gd name="connsiteX4" fmla="*/ 196114 w 1543184"/>
              <a:gd name="connsiteY4" fmla="*/ 38100 h 3663904"/>
              <a:gd name="connsiteX5" fmla="*/ 310414 w 1543184"/>
              <a:gd name="connsiteY5" fmla="*/ 0 h 3663904"/>
              <a:gd name="connsiteX6" fmla="*/ 473380 w 1543184"/>
              <a:gd name="connsiteY6" fmla="*/ 12862 h 3663904"/>
              <a:gd name="connsiteX7" fmla="*/ 471456 w 1543184"/>
              <a:gd name="connsiteY7" fmla="*/ 603216 h 3663904"/>
              <a:gd name="connsiteX8" fmla="*/ 644551 w 1543184"/>
              <a:gd name="connsiteY8" fmla="*/ 768858 h 3663904"/>
              <a:gd name="connsiteX9" fmla="*/ 1230910 w 1543184"/>
              <a:gd name="connsiteY9" fmla="*/ 768858 h 3663904"/>
              <a:gd name="connsiteX10" fmla="*/ 1543184 w 1543184"/>
              <a:gd name="connsiteY10" fmla="*/ 780213 h 3663904"/>
              <a:gd name="connsiteX11" fmla="*/ 1537506 w 1543184"/>
              <a:gd name="connsiteY11" fmla="*/ 985138 h 3663904"/>
              <a:gd name="connsiteX12" fmla="*/ 644551 w 1543184"/>
              <a:gd name="connsiteY12" fmla="*/ 985138 h 3663904"/>
              <a:gd name="connsiteX13" fmla="*/ 404774 w 1543184"/>
              <a:gd name="connsiteY13" fmla="*/ 1224915 h 3663904"/>
              <a:gd name="connsiteX14" fmla="*/ 404773 w 1543184"/>
              <a:gd name="connsiteY14" fmla="*/ 3654243 h 3663904"/>
              <a:gd name="connsiteX15" fmla="*/ 342736 w 1543184"/>
              <a:gd name="connsiteY15" fmla="*/ 3616862 h 3663904"/>
              <a:gd name="connsiteX16" fmla="*/ 274144 w 1543184"/>
              <a:gd name="connsiteY16" fmla="*/ 3663904 h 3663904"/>
              <a:gd name="connsiteX17" fmla="*/ 270790 w 1543184"/>
              <a:gd name="connsiteY17" fmla="*/ 2747775 h 3663904"/>
              <a:gd name="connsiteX18" fmla="*/ 166722 w 1543184"/>
              <a:gd name="connsiteY18" fmla="*/ 2572462 h 3663904"/>
              <a:gd name="connsiteX0" fmla="*/ 166722 w 1543184"/>
              <a:gd name="connsiteY0" fmla="*/ 2572462 h 3663904"/>
              <a:gd name="connsiteX1" fmla="*/ 169571 w 1543184"/>
              <a:gd name="connsiteY1" fmla="*/ 1878814 h 3663904"/>
              <a:gd name="connsiteX2" fmla="*/ 0 w 1543184"/>
              <a:gd name="connsiteY2" fmla="*/ 1645872 h 3663904"/>
              <a:gd name="connsiteX3" fmla="*/ 5614 w 1543184"/>
              <a:gd name="connsiteY3" fmla="*/ 6680 h 3663904"/>
              <a:gd name="connsiteX4" fmla="*/ 196114 w 1543184"/>
              <a:gd name="connsiteY4" fmla="*/ 38100 h 3663904"/>
              <a:gd name="connsiteX5" fmla="*/ 310414 w 1543184"/>
              <a:gd name="connsiteY5" fmla="*/ 0 h 3663904"/>
              <a:gd name="connsiteX6" fmla="*/ 473380 w 1543184"/>
              <a:gd name="connsiteY6" fmla="*/ 12862 h 3663904"/>
              <a:gd name="connsiteX7" fmla="*/ 471456 w 1543184"/>
              <a:gd name="connsiteY7" fmla="*/ 603216 h 3663904"/>
              <a:gd name="connsiteX8" fmla="*/ 644551 w 1543184"/>
              <a:gd name="connsiteY8" fmla="*/ 768858 h 3663904"/>
              <a:gd name="connsiteX9" fmla="*/ 1543184 w 1543184"/>
              <a:gd name="connsiteY9" fmla="*/ 780213 h 3663904"/>
              <a:gd name="connsiteX10" fmla="*/ 1537506 w 1543184"/>
              <a:gd name="connsiteY10" fmla="*/ 985138 h 3663904"/>
              <a:gd name="connsiteX11" fmla="*/ 644551 w 1543184"/>
              <a:gd name="connsiteY11" fmla="*/ 985138 h 3663904"/>
              <a:gd name="connsiteX12" fmla="*/ 404774 w 1543184"/>
              <a:gd name="connsiteY12" fmla="*/ 1224915 h 3663904"/>
              <a:gd name="connsiteX13" fmla="*/ 404773 w 1543184"/>
              <a:gd name="connsiteY13" fmla="*/ 3654243 h 3663904"/>
              <a:gd name="connsiteX14" fmla="*/ 342736 w 1543184"/>
              <a:gd name="connsiteY14" fmla="*/ 3616862 h 3663904"/>
              <a:gd name="connsiteX15" fmla="*/ 274144 w 1543184"/>
              <a:gd name="connsiteY15" fmla="*/ 3663904 h 3663904"/>
              <a:gd name="connsiteX16" fmla="*/ 270790 w 1543184"/>
              <a:gd name="connsiteY16" fmla="*/ 2747775 h 3663904"/>
              <a:gd name="connsiteX17" fmla="*/ 166722 w 1543184"/>
              <a:gd name="connsiteY17" fmla="*/ 2572462 h 3663904"/>
              <a:gd name="connsiteX0" fmla="*/ 166722 w 1537506"/>
              <a:gd name="connsiteY0" fmla="*/ 2572462 h 3663904"/>
              <a:gd name="connsiteX1" fmla="*/ 169571 w 1537506"/>
              <a:gd name="connsiteY1" fmla="*/ 1878814 h 3663904"/>
              <a:gd name="connsiteX2" fmla="*/ 0 w 1537506"/>
              <a:gd name="connsiteY2" fmla="*/ 1645872 h 3663904"/>
              <a:gd name="connsiteX3" fmla="*/ 5614 w 1537506"/>
              <a:gd name="connsiteY3" fmla="*/ 6680 h 3663904"/>
              <a:gd name="connsiteX4" fmla="*/ 196114 w 1537506"/>
              <a:gd name="connsiteY4" fmla="*/ 38100 h 3663904"/>
              <a:gd name="connsiteX5" fmla="*/ 310414 w 1537506"/>
              <a:gd name="connsiteY5" fmla="*/ 0 h 3663904"/>
              <a:gd name="connsiteX6" fmla="*/ 473380 w 1537506"/>
              <a:gd name="connsiteY6" fmla="*/ 12862 h 3663904"/>
              <a:gd name="connsiteX7" fmla="*/ 471456 w 1537506"/>
              <a:gd name="connsiteY7" fmla="*/ 603216 h 3663904"/>
              <a:gd name="connsiteX8" fmla="*/ 644551 w 1537506"/>
              <a:gd name="connsiteY8" fmla="*/ 768858 h 3663904"/>
              <a:gd name="connsiteX9" fmla="*/ 1537506 w 1537506"/>
              <a:gd name="connsiteY9" fmla="*/ 768858 h 3663904"/>
              <a:gd name="connsiteX10" fmla="*/ 1537506 w 1537506"/>
              <a:gd name="connsiteY10" fmla="*/ 985138 h 3663904"/>
              <a:gd name="connsiteX11" fmla="*/ 644551 w 1537506"/>
              <a:gd name="connsiteY11" fmla="*/ 985138 h 3663904"/>
              <a:gd name="connsiteX12" fmla="*/ 404774 w 1537506"/>
              <a:gd name="connsiteY12" fmla="*/ 1224915 h 3663904"/>
              <a:gd name="connsiteX13" fmla="*/ 404773 w 1537506"/>
              <a:gd name="connsiteY13" fmla="*/ 3654243 h 3663904"/>
              <a:gd name="connsiteX14" fmla="*/ 342736 w 1537506"/>
              <a:gd name="connsiteY14" fmla="*/ 3616862 h 3663904"/>
              <a:gd name="connsiteX15" fmla="*/ 274144 w 1537506"/>
              <a:gd name="connsiteY15" fmla="*/ 3663904 h 3663904"/>
              <a:gd name="connsiteX16" fmla="*/ 270790 w 1537506"/>
              <a:gd name="connsiteY16" fmla="*/ 2747775 h 3663904"/>
              <a:gd name="connsiteX17" fmla="*/ 166722 w 1537506"/>
              <a:gd name="connsiteY17" fmla="*/ 2572462 h 3663904"/>
              <a:gd name="connsiteX0" fmla="*/ 166722 w 1537506"/>
              <a:gd name="connsiteY0" fmla="*/ 2572462 h 3663904"/>
              <a:gd name="connsiteX1" fmla="*/ 169571 w 1537506"/>
              <a:gd name="connsiteY1" fmla="*/ 1759582 h 3663904"/>
              <a:gd name="connsiteX2" fmla="*/ 0 w 1537506"/>
              <a:gd name="connsiteY2" fmla="*/ 1645872 h 3663904"/>
              <a:gd name="connsiteX3" fmla="*/ 5614 w 1537506"/>
              <a:gd name="connsiteY3" fmla="*/ 6680 h 3663904"/>
              <a:gd name="connsiteX4" fmla="*/ 196114 w 1537506"/>
              <a:gd name="connsiteY4" fmla="*/ 38100 h 3663904"/>
              <a:gd name="connsiteX5" fmla="*/ 310414 w 1537506"/>
              <a:gd name="connsiteY5" fmla="*/ 0 h 3663904"/>
              <a:gd name="connsiteX6" fmla="*/ 473380 w 1537506"/>
              <a:gd name="connsiteY6" fmla="*/ 12862 h 3663904"/>
              <a:gd name="connsiteX7" fmla="*/ 471456 w 1537506"/>
              <a:gd name="connsiteY7" fmla="*/ 603216 h 3663904"/>
              <a:gd name="connsiteX8" fmla="*/ 644551 w 1537506"/>
              <a:gd name="connsiteY8" fmla="*/ 768858 h 3663904"/>
              <a:gd name="connsiteX9" fmla="*/ 1537506 w 1537506"/>
              <a:gd name="connsiteY9" fmla="*/ 768858 h 3663904"/>
              <a:gd name="connsiteX10" fmla="*/ 1537506 w 1537506"/>
              <a:gd name="connsiteY10" fmla="*/ 985138 h 3663904"/>
              <a:gd name="connsiteX11" fmla="*/ 644551 w 1537506"/>
              <a:gd name="connsiteY11" fmla="*/ 985138 h 3663904"/>
              <a:gd name="connsiteX12" fmla="*/ 404774 w 1537506"/>
              <a:gd name="connsiteY12" fmla="*/ 1224915 h 3663904"/>
              <a:gd name="connsiteX13" fmla="*/ 404773 w 1537506"/>
              <a:gd name="connsiteY13" fmla="*/ 3654243 h 3663904"/>
              <a:gd name="connsiteX14" fmla="*/ 342736 w 1537506"/>
              <a:gd name="connsiteY14" fmla="*/ 3616862 h 3663904"/>
              <a:gd name="connsiteX15" fmla="*/ 274144 w 1537506"/>
              <a:gd name="connsiteY15" fmla="*/ 3663904 h 3663904"/>
              <a:gd name="connsiteX16" fmla="*/ 270790 w 1537506"/>
              <a:gd name="connsiteY16" fmla="*/ 2747775 h 3663904"/>
              <a:gd name="connsiteX17" fmla="*/ 166722 w 1537506"/>
              <a:gd name="connsiteY17" fmla="*/ 2572462 h 3663904"/>
              <a:gd name="connsiteX0" fmla="*/ 166722 w 1537506"/>
              <a:gd name="connsiteY0" fmla="*/ 2572462 h 3663904"/>
              <a:gd name="connsiteX1" fmla="*/ 169571 w 1537506"/>
              <a:gd name="connsiteY1" fmla="*/ 1759582 h 3663904"/>
              <a:gd name="connsiteX2" fmla="*/ 0 w 1537506"/>
              <a:gd name="connsiteY2" fmla="*/ 1464186 h 3663904"/>
              <a:gd name="connsiteX3" fmla="*/ 5614 w 1537506"/>
              <a:gd name="connsiteY3" fmla="*/ 6680 h 3663904"/>
              <a:gd name="connsiteX4" fmla="*/ 196114 w 1537506"/>
              <a:gd name="connsiteY4" fmla="*/ 38100 h 3663904"/>
              <a:gd name="connsiteX5" fmla="*/ 310414 w 1537506"/>
              <a:gd name="connsiteY5" fmla="*/ 0 h 3663904"/>
              <a:gd name="connsiteX6" fmla="*/ 473380 w 1537506"/>
              <a:gd name="connsiteY6" fmla="*/ 12862 h 3663904"/>
              <a:gd name="connsiteX7" fmla="*/ 471456 w 1537506"/>
              <a:gd name="connsiteY7" fmla="*/ 603216 h 3663904"/>
              <a:gd name="connsiteX8" fmla="*/ 644551 w 1537506"/>
              <a:gd name="connsiteY8" fmla="*/ 768858 h 3663904"/>
              <a:gd name="connsiteX9" fmla="*/ 1537506 w 1537506"/>
              <a:gd name="connsiteY9" fmla="*/ 768858 h 3663904"/>
              <a:gd name="connsiteX10" fmla="*/ 1537506 w 1537506"/>
              <a:gd name="connsiteY10" fmla="*/ 985138 h 3663904"/>
              <a:gd name="connsiteX11" fmla="*/ 644551 w 1537506"/>
              <a:gd name="connsiteY11" fmla="*/ 985138 h 3663904"/>
              <a:gd name="connsiteX12" fmla="*/ 404774 w 1537506"/>
              <a:gd name="connsiteY12" fmla="*/ 1224915 h 3663904"/>
              <a:gd name="connsiteX13" fmla="*/ 404773 w 1537506"/>
              <a:gd name="connsiteY13" fmla="*/ 3654243 h 3663904"/>
              <a:gd name="connsiteX14" fmla="*/ 342736 w 1537506"/>
              <a:gd name="connsiteY14" fmla="*/ 3616862 h 3663904"/>
              <a:gd name="connsiteX15" fmla="*/ 274144 w 1537506"/>
              <a:gd name="connsiteY15" fmla="*/ 3663904 h 3663904"/>
              <a:gd name="connsiteX16" fmla="*/ 270790 w 1537506"/>
              <a:gd name="connsiteY16" fmla="*/ 2747775 h 3663904"/>
              <a:gd name="connsiteX17" fmla="*/ 166722 w 1537506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44551 w 1605638"/>
              <a:gd name="connsiteY8" fmla="*/ 768858 h 3663904"/>
              <a:gd name="connsiteX9" fmla="*/ 1537506 w 1605638"/>
              <a:gd name="connsiteY9" fmla="*/ 768858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44551 w 1605638"/>
              <a:gd name="connsiteY8" fmla="*/ 768858 h 3663904"/>
              <a:gd name="connsiteX9" fmla="*/ 1594283 w 1605638"/>
              <a:gd name="connsiteY9" fmla="*/ 785891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50229 w 1605638"/>
              <a:gd name="connsiteY8" fmla="*/ 797246 h 3663904"/>
              <a:gd name="connsiteX9" fmla="*/ 1594283 w 1605638"/>
              <a:gd name="connsiteY9" fmla="*/ 785891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16994"/>
              <a:gd name="connsiteY0" fmla="*/ 2572462 h 3663904"/>
              <a:gd name="connsiteX1" fmla="*/ 169571 w 1616994"/>
              <a:gd name="connsiteY1" fmla="*/ 1759582 h 3663904"/>
              <a:gd name="connsiteX2" fmla="*/ 0 w 1616994"/>
              <a:gd name="connsiteY2" fmla="*/ 1464186 h 3663904"/>
              <a:gd name="connsiteX3" fmla="*/ 5614 w 1616994"/>
              <a:gd name="connsiteY3" fmla="*/ 6680 h 3663904"/>
              <a:gd name="connsiteX4" fmla="*/ 196114 w 1616994"/>
              <a:gd name="connsiteY4" fmla="*/ 38100 h 3663904"/>
              <a:gd name="connsiteX5" fmla="*/ 310414 w 1616994"/>
              <a:gd name="connsiteY5" fmla="*/ 0 h 3663904"/>
              <a:gd name="connsiteX6" fmla="*/ 473380 w 1616994"/>
              <a:gd name="connsiteY6" fmla="*/ 12862 h 3663904"/>
              <a:gd name="connsiteX7" fmla="*/ 471456 w 1616994"/>
              <a:gd name="connsiteY7" fmla="*/ 603216 h 3663904"/>
              <a:gd name="connsiteX8" fmla="*/ 650229 w 1616994"/>
              <a:gd name="connsiteY8" fmla="*/ 797246 h 3663904"/>
              <a:gd name="connsiteX9" fmla="*/ 1616994 w 1616994"/>
              <a:gd name="connsiteY9" fmla="*/ 808602 h 3663904"/>
              <a:gd name="connsiteX10" fmla="*/ 1605638 w 1616994"/>
              <a:gd name="connsiteY10" fmla="*/ 985138 h 3663904"/>
              <a:gd name="connsiteX11" fmla="*/ 644551 w 1616994"/>
              <a:gd name="connsiteY11" fmla="*/ 985138 h 3663904"/>
              <a:gd name="connsiteX12" fmla="*/ 404774 w 1616994"/>
              <a:gd name="connsiteY12" fmla="*/ 1224915 h 3663904"/>
              <a:gd name="connsiteX13" fmla="*/ 404773 w 1616994"/>
              <a:gd name="connsiteY13" fmla="*/ 3654243 h 3663904"/>
              <a:gd name="connsiteX14" fmla="*/ 342736 w 1616994"/>
              <a:gd name="connsiteY14" fmla="*/ 3616862 h 3663904"/>
              <a:gd name="connsiteX15" fmla="*/ 274144 w 1616994"/>
              <a:gd name="connsiteY15" fmla="*/ 3663904 h 3663904"/>
              <a:gd name="connsiteX16" fmla="*/ 270790 w 1616994"/>
              <a:gd name="connsiteY16" fmla="*/ 2747775 h 3663904"/>
              <a:gd name="connsiteX17" fmla="*/ 166722 w 1616994"/>
              <a:gd name="connsiteY17" fmla="*/ 2572462 h 3663904"/>
              <a:gd name="connsiteX0" fmla="*/ 166722 w 1605638"/>
              <a:gd name="connsiteY0" fmla="*/ 2572462 h 3663904"/>
              <a:gd name="connsiteX1" fmla="*/ 169571 w 1605638"/>
              <a:gd name="connsiteY1" fmla="*/ 1759582 h 3663904"/>
              <a:gd name="connsiteX2" fmla="*/ 0 w 1605638"/>
              <a:gd name="connsiteY2" fmla="*/ 1464186 h 3663904"/>
              <a:gd name="connsiteX3" fmla="*/ 5614 w 1605638"/>
              <a:gd name="connsiteY3" fmla="*/ 6680 h 3663904"/>
              <a:gd name="connsiteX4" fmla="*/ 196114 w 1605638"/>
              <a:gd name="connsiteY4" fmla="*/ 38100 h 3663904"/>
              <a:gd name="connsiteX5" fmla="*/ 310414 w 1605638"/>
              <a:gd name="connsiteY5" fmla="*/ 0 h 3663904"/>
              <a:gd name="connsiteX6" fmla="*/ 473380 w 1605638"/>
              <a:gd name="connsiteY6" fmla="*/ 12862 h 3663904"/>
              <a:gd name="connsiteX7" fmla="*/ 471456 w 1605638"/>
              <a:gd name="connsiteY7" fmla="*/ 603216 h 3663904"/>
              <a:gd name="connsiteX8" fmla="*/ 650229 w 1605638"/>
              <a:gd name="connsiteY8" fmla="*/ 797246 h 3663904"/>
              <a:gd name="connsiteX9" fmla="*/ 1599961 w 1605638"/>
              <a:gd name="connsiteY9" fmla="*/ 814279 h 3663904"/>
              <a:gd name="connsiteX10" fmla="*/ 1605638 w 1605638"/>
              <a:gd name="connsiteY10" fmla="*/ 985138 h 3663904"/>
              <a:gd name="connsiteX11" fmla="*/ 644551 w 1605638"/>
              <a:gd name="connsiteY11" fmla="*/ 985138 h 3663904"/>
              <a:gd name="connsiteX12" fmla="*/ 404774 w 1605638"/>
              <a:gd name="connsiteY12" fmla="*/ 1224915 h 3663904"/>
              <a:gd name="connsiteX13" fmla="*/ 404773 w 1605638"/>
              <a:gd name="connsiteY13" fmla="*/ 3654243 h 3663904"/>
              <a:gd name="connsiteX14" fmla="*/ 342736 w 1605638"/>
              <a:gd name="connsiteY14" fmla="*/ 3616862 h 3663904"/>
              <a:gd name="connsiteX15" fmla="*/ 274144 w 1605638"/>
              <a:gd name="connsiteY15" fmla="*/ 3663904 h 3663904"/>
              <a:gd name="connsiteX16" fmla="*/ 270790 w 1605638"/>
              <a:gd name="connsiteY16" fmla="*/ 2747775 h 3663904"/>
              <a:gd name="connsiteX17" fmla="*/ 166722 w 1605638"/>
              <a:gd name="connsiteY17" fmla="*/ 2572462 h 3663904"/>
              <a:gd name="connsiteX0" fmla="*/ 166722 w 1609320"/>
              <a:gd name="connsiteY0" fmla="*/ 2572462 h 3663904"/>
              <a:gd name="connsiteX1" fmla="*/ 169571 w 1609320"/>
              <a:gd name="connsiteY1" fmla="*/ 1759582 h 3663904"/>
              <a:gd name="connsiteX2" fmla="*/ 0 w 1609320"/>
              <a:gd name="connsiteY2" fmla="*/ 1464186 h 3663904"/>
              <a:gd name="connsiteX3" fmla="*/ 5614 w 1609320"/>
              <a:gd name="connsiteY3" fmla="*/ 6680 h 3663904"/>
              <a:gd name="connsiteX4" fmla="*/ 196114 w 1609320"/>
              <a:gd name="connsiteY4" fmla="*/ 38100 h 3663904"/>
              <a:gd name="connsiteX5" fmla="*/ 310414 w 1609320"/>
              <a:gd name="connsiteY5" fmla="*/ 0 h 3663904"/>
              <a:gd name="connsiteX6" fmla="*/ 473380 w 1609320"/>
              <a:gd name="connsiteY6" fmla="*/ 12862 h 3663904"/>
              <a:gd name="connsiteX7" fmla="*/ 471456 w 1609320"/>
              <a:gd name="connsiteY7" fmla="*/ 603216 h 3663904"/>
              <a:gd name="connsiteX8" fmla="*/ 650229 w 1609320"/>
              <a:gd name="connsiteY8" fmla="*/ 797246 h 3663904"/>
              <a:gd name="connsiteX9" fmla="*/ 1609320 w 1609320"/>
              <a:gd name="connsiteY9" fmla="*/ 808040 h 3663904"/>
              <a:gd name="connsiteX10" fmla="*/ 1605638 w 1609320"/>
              <a:gd name="connsiteY10" fmla="*/ 985138 h 3663904"/>
              <a:gd name="connsiteX11" fmla="*/ 644551 w 1609320"/>
              <a:gd name="connsiteY11" fmla="*/ 985138 h 3663904"/>
              <a:gd name="connsiteX12" fmla="*/ 404774 w 1609320"/>
              <a:gd name="connsiteY12" fmla="*/ 1224915 h 3663904"/>
              <a:gd name="connsiteX13" fmla="*/ 404773 w 1609320"/>
              <a:gd name="connsiteY13" fmla="*/ 3654243 h 3663904"/>
              <a:gd name="connsiteX14" fmla="*/ 342736 w 1609320"/>
              <a:gd name="connsiteY14" fmla="*/ 3616862 h 3663904"/>
              <a:gd name="connsiteX15" fmla="*/ 274144 w 1609320"/>
              <a:gd name="connsiteY15" fmla="*/ 3663904 h 3663904"/>
              <a:gd name="connsiteX16" fmla="*/ 270790 w 1609320"/>
              <a:gd name="connsiteY16" fmla="*/ 2747775 h 3663904"/>
              <a:gd name="connsiteX17" fmla="*/ 166722 w 1609320"/>
              <a:gd name="connsiteY17" fmla="*/ 2572462 h 3663904"/>
              <a:gd name="connsiteX0" fmla="*/ 166722 w 1606200"/>
              <a:gd name="connsiteY0" fmla="*/ 2572462 h 3663904"/>
              <a:gd name="connsiteX1" fmla="*/ 169571 w 1606200"/>
              <a:gd name="connsiteY1" fmla="*/ 1759582 h 3663904"/>
              <a:gd name="connsiteX2" fmla="*/ 0 w 1606200"/>
              <a:gd name="connsiteY2" fmla="*/ 1464186 h 3663904"/>
              <a:gd name="connsiteX3" fmla="*/ 5614 w 1606200"/>
              <a:gd name="connsiteY3" fmla="*/ 6680 h 3663904"/>
              <a:gd name="connsiteX4" fmla="*/ 196114 w 1606200"/>
              <a:gd name="connsiteY4" fmla="*/ 38100 h 3663904"/>
              <a:gd name="connsiteX5" fmla="*/ 310414 w 1606200"/>
              <a:gd name="connsiteY5" fmla="*/ 0 h 3663904"/>
              <a:gd name="connsiteX6" fmla="*/ 473380 w 1606200"/>
              <a:gd name="connsiteY6" fmla="*/ 12862 h 3663904"/>
              <a:gd name="connsiteX7" fmla="*/ 471456 w 1606200"/>
              <a:gd name="connsiteY7" fmla="*/ 603216 h 3663904"/>
              <a:gd name="connsiteX8" fmla="*/ 650229 w 1606200"/>
              <a:gd name="connsiteY8" fmla="*/ 797246 h 3663904"/>
              <a:gd name="connsiteX9" fmla="*/ 1606200 w 1606200"/>
              <a:gd name="connsiteY9" fmla="*/ 808040 h 3663904"/>
              <a:gd name="connsiteX10" fmla="*/ 1605638 w 1606200"/>
              <a:gd name="connsiteY10" fmla="*/ 985138 h 3663904"/>
              <a:gd name="connsiteX11" fmla="*/ 644551 w 1606200"/>
              <a:gd name="connsiteY11" fmla="*/ 985138 h 3663904"/>
              <a:gd name="connsiteX12" fmla="*/ 404774 w 1606200"/>
              <a:gd name="connsiteY12" fmla="*/ 1224915 h 3663904"/>
              <a:gd name="connsiteX13" fmla="*/ 404773 w 1606200"/>
              <a:gd name="connsiteY13" fmla="*/ 3654243 h 3663904"/>
              <a:gd name="connsiteX14" fmla="*/ 342736 w 1606200"/>
              <a:gd name="connsiteY14" fmla="*/ 3616862 h 3663904"/>
              <a:gd name="connsiteX15" fmla="*/ 274144 w 1606200"/>
              <a:gd name="connsiteY15" fmla="*/ 3663904 h 3663904"/>
              <a:gd name="connsiteX16" fmla="*/ 270790 w 1606200"/>
              <a:gd name="connsiteY16" fmla="*/ 2747775 h 3663904"/>
              <a:gd name="connsiteX17" fmla="*/ 166722 w 1606200"/>
              <a:gd name="connsiteY17" fmla="*/ 2572462 h 366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1606200" h="3663904">
                <a:moveTo>
                  <a:pt x="166722" y="2572462"/>
                </a:moveTo>
                <a:cubicBezTo>
                  <a:pt x="166298" y="2348593"/>
                  <a:pt x="169995" y="1983451"/>
                  <a:pt x="169571" y="1759582"/>
                </a:cubicBezTo>
                <a:cubicBezTo>
                  <a:pt x="169342" y="1613531"/>
                  <a:pt x="82320" y="1505253"/>
                  <a:pt x="0" y="1464186"/>
                </a:cubicBezTo>
                <a:cubicBezTo>
                  <a:pt x="1871" y="917789"/>
                  <a:pt x="3743" y="553077"/>
                  <a:pt x="5614" y="6680"/>
                </a:cubicBezTo>
                <a:cubicBezTo>
                  <a:pt x="69114" y="8263"/>
                  <a:pt x="132614" y="36517"/>
                  <a:pt x="196114" y="38100"/>
                </a:cubicBezTo>
                <a:cubicBezTo>
                  <a:pt x="239294" y="35560"/>
                  <a:pt x="267234" y="2540"/>
                  <a:pt x="310414" y="0"/>
                </a:cubicBezTo>
                <a:lnTo>
                  <a:pt x="473380" y="12862"/>
                </a:lnTo>
                <a:cubicBezTo>
                  <a:pt x="471524" y="199487"/>
                  <a:pt x="473312" y="416591"/>
                  <a:pt x="471456" y="603216"/>
                </a:cubicBezTo>
                <a:cubicBezTo>
                  <a:pt x="474953" y="697558"/>
                  <a:pt x="543499" y="794533"/>
                  <a:pt x="650229" y="797246"/>
                </a:cubicBezTo>
                <a:lnTo>
                  <a:pt x="1606200" y="808040"/>
                </a:lnTo>
                <a:cubicBezTo>
                  <a:pt x="1604973" y="867073"/>
                  <a:pt x="1606865" y="926105"/>
                  <a:pt x="1605638" y="985138"/>
                </a:cubicBezTo>
                <a:lnTo>
                  <a:pt x="644551" y="985138"/>
                </a:lnTo>
                <a:cubicBezTo>
                  <a:pt x="512126" y="985138"/>
                  <a:pt x="404774" y="1092490"/>
                  <a:pt x="404774" y="1224915"/>
                </a:cubicBezTo>
                <a:cubicBezTo>
                  <a:pt x="406449" y="2043064"/>
                  <a:pt x="403098" y="2836094"/>
                  <a:pt x="404773" y="3654243"/>
                </a:cubicBezTo>
                <a:cubicBezTo>
                  <a:pt x="379070" y="3655181"/>
                  <a:pt x="368439" y="3615924"/>
                  <a:pt x="342736" y="3616862"/>
                </a:cubicBezTo>
                <a:lnTo>
                  <a:pt x="274144" y="3663904"/>
                </a:lnTo>
                <a:cubicBezTo>
                  <a:pt x="275380" y="3353820"/>
                  <a:pt x="269554" y="3057859"/>
                  <a:pt x="270790" y="2747775"/>
                </a:cubicBezTo>
                <a:cubicBezTo>
                  <a:pt x="269249" y="2650215"/>
                  <a:pt x="238874" y="2602942"/>
                  <a:pt x="166722" y="2572462"/>
                </a:cubicBezTo>
                <a:close/>
              </a:path>
            </a:pathLst>
          </a:custGeom>
          <a:pattFill prst="dkDnDiag">
            <a:fgClr>
              <a:schemeClr val="tx2">
                <a:lumMod val="60000"/>
                <a:lumOff val="40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7" name="Rettangolo 6"/>
          <p:cNvSpPr/>
          <p:nvPr/>
        </p:nvSpPr>
        <p:spPr>
          <a:xfrm>
            <a:off x="1811937" y="149533"/>
            <a:ext cx="219261" cy="3213440"/>
          </a:xfrm>
          <a:custGeom>
            <a:avLst/>
            <a:gdLst>
              <a:gd name="connsiteX0" fmla="*/ 0 w 265176"/>
              <a:gd name="connsiteY0" fmla="*/ 0 h 3886200"/>
              <a:gd name="connsiteX1" fmla="*/ 265176 w 265176"/>
              <a:gd name="connsiteY1" fmla="*/ 0 h 3886200"/>
              <a:gd name="connsiteX2" fmla="*/ 265176 w 265176"/>
              <a:gd name="connsiteY2" fmla="*/ 3886200 h 3886200"/>
              <a:gd name="connsiteX3" fmla="*/ 0 w 265176"/>
              <a:gd name="connsiteY3" fmla="*/ 3886200 h 3886200"/>
              <a:gd name="connsiteX4" fmla="*/ 0 w 265176"/>
              <a:gd name="connsiteY4" fmla="*/ 0 h 3886200"/>
              <a:gd name="connsiteX0" fmla="*/ 0 w 265176"/>
              <a:gd name="connsiteY0" fmla="*/ 155 h 3886355"/>
              <a:gd name="connsiteX1" fmla="*/ 155448 w 265176"/>
              <a:gd name="connsiteY1" fmla="*/ 36731 h 3886355"/>
              <a:gd name="connsiteX2" fmla="*/ 265176 w 265176"/>
              <a:gd name="connsiteY2" fmla="*/ 155 h 3886355"/>
              <a:gd name="connsiteX3" fmla="*/ 265176 w 265176"/>
              <a:gd name="connsiteY3" fmla="*/ 3886355 h 3886355"/>
              <a:gd name="connsiteX4" fmla="*/ 0 w 265176"/>
              <a:gd name="connsiteY4" fmla="*/ 3886355 h 3886355"/>
              <a:gd name="connsiteX5" fmla="*/ 0 w 265176"/>
              <a:gd name="connsiteY5" fmla="*/ 155 h 38863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65176" h="3886355">
                <a:moveTo>
                  <a:pt x="0" y="155"/>
                </a:moveTo>
                <a:cubicBezTo>
                  <a:pt x="42672" y="-2893"/>
                  <a:pt x="112776" y="39779"/>
                  <a:pt x="155448" y="36731"/>
                </a:cubicBezTo>
                <a:lnTo>
                  <a:pt x="265176" y="155"/>
                </a:lnTo>
                <a:lnTo>
                  <a:pt x="265176" y="3886355"/>
                </a:lnTo>
                <a:lnTo>
                  <a:pt x="0" y="3886355"/>
                </a:lnTo>
                <a:lnTo>
                  <a:pt x="0" y="155"/>
                </a:lnTo>
                <a:close/>
              </a:path>
            </a:pathLst>
          </a:custGeom>
          <a:pattFill prst="dkUpDiag">
            <a:fgClr>
              <a:schemeClr val="accent3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grpSp>
        <p:nvGrpSpPr>
          <p:cNvPr id="9" name="Gruppo 8"/>
          <p:cNvGrpSpPr/>
          <p:nvPr/>
        </p:nvGrpSpPr>
        <p:grpSpPr>
          <a:xfrm>
            <a:off x="2772526" y="3076090"/>
            <a:ext cx="397368" cy="895640"/>
            <a:chOff x="5286591" y="4178422"/>
            <a:chExt cx="480579" cy="1083188"/>
          </a:xfrm>
        </p:grpSpPr>
        <p:sp>
          <p:nvSpPr>
            <p:cNvPr id="39" name="Rectangle 325"/>
            <p:cNvSpPr>
              <a:spLocks noChangeArrowheads="1"/>
            </p:cNvSpPr>
            <p:nvPr/>
          </p:nvSpPr>
          <p:spPr bwMode="auto">
            <a:xfrm rot="5400000">
              <a:off x="5006366" y="4573818"/>
              <a:ext cx="1039713" cy="248921"/>
            </a:xfrm>
            <a:prstGeom prst="rect">
              <a:avLst/>
            </a:prstGeom>
            <a:gradFill rotWithShape="1">
              <a:gsLst>
                <a:gs pos="0">
                  <a:srgbClr val="8F7272"/>
                </a:gs>
                <a:gs pos="50000">
                  <a:srgbClr val="FFCCCC"/>
                </a:gs>
                <a:gs pos="100000">
                  <a:srgbClr val="8F7272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  <p:sp>
          <p:nvSpPr>
            <p:cNvPr id="8" name="Ritaglia angolo stesso lato rettangolo 7"/>
            <p:cNvSpPr/>
            <p:nvPr/>
          </p:nvSpPr>
          <p:spPr>
            <a:xfrm rot="10800000">
              <a:off x="5286591" y="5183030"/>
              <a:ext cx="480579" cy="78580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8F7272"/>
                </a:gs>
                <a:gs pos="50000">
                  <a:srgbClr val="FFCCCC"/>
                </a:gs>
                <a:gs pos="100000">
                  <a:srgbClr val="8F7272"/>
                </a:gs>
              </a:gsLst>
              <a:lin ang="0" scaled="1"/>
              <a:tileRect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58" b="1" dirty="0">
                <a:latin typeface="Arial Narrow" pitchFamily="34" charset="0"/>
              </a:endParaRPr>
            </a:p>
          </p:txBody>
        </p:sp>
      </p:grpSp>
      <p:grpSp>
        <p:nvGrpSpPr>
          <p:cNvPr id="44" name="Group 327"/>
          <p:cNvGrpSpPr>
            <a:grpSpLocks/>
          </p:cNvGrpSpPr>
          <p:nvPr/>
        </p:nvGrpSpPr>
        <p:grpSpPr bwMode="auto">
          <a:xfrm rot="5400000" flipV="1">
            <a:off x="2847792" y="3080604"/>
            <a:ext cx="236756" cy="391061"/>
            <a:chOff x="963" y="1985"/>
            <a:chExt cx="250" cy="318"/>
          </a:xfrm>
        </p:grpSpPr>
        <p:sp>
          <p:nvSpPr>
            <p:cNvPr id="46" name="AutoShape 328"/>
            <p:cNvSpPr>
              <a:spLocks noChangeArrowheads="1"/>
            </p:cNvSpPr>
            <p:nvPr/>
          </p:nvSpPr>
          <p:spPr bwMode="auto">
            <a:xfrm rot="5400000" flipH="1">
              <a:off x="974" y="2117"/>
              <a:ext cx="314" cy="53"/>
            </a:xfrm>
            <a:custGeom>
              <a:avLst/>
              <a:gdLst>
                <a:gd name="T0" fmla="*/ 4 w 21600"/>
                <a:gd name="T1" fmla="*/ 0 h 21600"/>
                <a:gd name="T2" fmla="*/ 2 w 21600"/>
                <a:gd name="T3" fmla="*/ 0 h 21600"/>
                <a:gd name="T4" fmla="*/ 0 w 21600"/>
                <a:gd name="T5" fmla="*/ 0 h 21600"/>
                <a:gd name="T6" fmla="*/ 2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20 w 21600"/>
                <a:gd name="T13" fmla="*/ 2853 h 21600"/>
                <a:gd name="T14" fmla="*/ 18780 w 21600"/>
                <a:gd name="T15" fmla="*/ 1874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76" y="21600"/>
                  </a:lnTo>
                  <a:lnTo>
                    <a:pt x="19524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  <p:sp>
          <p:nvSpPr>
            <p:cNvPr id="47" name="Rectangle 329"/>
            <p:cNvSpPr>
              <a:spLocks noChangeArrowheads="1"/>
            </p:cNvSpPr>
            <p:nvPr/>
          </p:nvSpPr>
          <p:spPr bwMode="auto">
            <a:xfrm flipH="1">
              <a:off x="963" y="2017"/>
              <a:ext cx="141" cy="256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  <p:sp>
          <p:nvSpPr>
            <p:cNvPr id="56" name="Rectangle 330"/>
            <p:cNvSpPr>
              <a:spLocks noChangeArrowheads="1"/>
            </p:cNvSpPr>
            <p:nvPr/>
          </p:nvSpPr>
          <p:spPr bwMode="auto">
            <a:xfrm flipH="1">
              <a:off x="1158" y="1985"/>
              <a:ext cx="55" cy="318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</p:grpSp>
      <p:cxnSp>
        <p:nvCxnSpPr>
          <p:cNvPr id="45" name="Connettore 1 44"/>
          <p:cNvCxnSpPr/>
          <p:nvPr/>
        </p:nvCxnSpPr>
        <p:spPr>
          <a:xfrm flipH="1" flipV="1">
            <a:off x="2965254" y="3029802"/>
            <a:ext cx="4495" cy="1013103"/>
          </a:xfrm>
          <a:prstGeom prst="line">
            <a:avLst/>
          </a:prstGeom>
          <a:noFill/>
          <a:ln w="12700">
            <a:solidFill>
              <a:schemeClr val="tx1"/>
            </a:solidFill>
            <a:prstDash val="lg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68" name="Rectangle 325"/>
          <p:cNvSpPr>
            <a:spLocks noChangeArrowheads="1"/>
          </p:cNvSpPr>
          <p:nvPr/>
        </p:nvSpPr>
        <p:spPr bwMode="auto">
          <a:xfrm rot="10800000">
            <a:off x="1576386" y="640553"/>
            <a:ext cx="903140" cy="273948"/>
          </a:xfrm>
          <a:prstGeom prst="rect">
            <a:avLst/>
          </a:prstGeom>
          <a:gradFill rotWithShape="1">
            <a:gsLst>
              <a:gs pos="0">
                <a:srgbClr val="8F7272"/>
              </a:gs>
              <a:gs pos="50000">
                <a:srgbClr val="FFCCCC"/>
              </a:gs>
              <a:gs pos="100000">
                <a:srgbClr val="8F7272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 sz="1158" b="1" dirty="0">
              <a:latin typeface="Arial Narrow" pitchFamily="34" charset="0"/>
            </a:endParaRPr>
          </a:p>
        </p:txBody>
      </p:sp>
      <p:sp>
        <p:nvSpPr>
          <p:cNvPr id="69" name="Ritaglia angolo stesso lato rettangolo 68"/>
          <p:cNvSpPr/>
          <p:nvPr/>
        </p:nvSpPr>
        <p:spPr>
          <a:xfrm rot="16200000">
            <a:off x="1319534" y="735011"/>
            <a:ext cx="437105" cy="86480"/>
          </a:xfrm>
          <a:prstGeom prst="snip2SameRect">
            <a:avLst>
              <a:gd name="adj1" fmla="val 50000"/>
              <a:gd name="adj2" fmla="val 0"/>
            </a:avLst>
          </a:prstGeom>
          <a:gradFill flip="none" rotWithShape="1">
            <a:gsLst>
              <a:gs pos="0">
                <a:srgbClr val="8F7272"/>
              </a:gs>
              <a:gs pos="50000">
                <a:srgbClr val="FFCCCC"/>
              </a:gs>
              <a:gs pos="100000">
                <a:srgbClr val="8F7272"/>
              </a:gs>
            </a:gsLst>
            <a:lin ang="0" scaled="1"/>
            <a:tileRect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US" sz="1158" b="1" dirty="0">
              <a:latin typeface="Arial Narrow" pitchFamily="34" charset="0"/>
            </a:endParaRPr>
          </a:p>
        </p:txBody>
      </p:sp>
      <p:sp>
        <p:nvSpPr>
          <p:cNvPr id="71" name="AutoShape 328"/>
          <p:cNvSpPr>
            <a:spLocks noChangeArrowheads="1"/>
          </p:cNvSpPr>
          <p:nvPr/>
        </p:nvSpPr>
        <p:spPr bwMode="auto">
          <a:xfrm rot="5400000" flipH="1" flipV="1">
            <a:off x="1910150" y="746199"/>
            <a:ext cx="467231" cy="66806"/>
          </a:xfrm>
          <a:custGeom>
            <a:avLst/>
            <a:gdLst>
              <a:gd name="T0" fmla="*/ 4 w 21600"/>
              <a:gd name="T1" fmla="*/ 0 h 21600"/>
              <a:gd name="T2" fmla="*/ 2 w 21600"/>
              <a:gd name="T3" fmla="*/ 0 h 21600"/>
              <a:gd name="T4" fmla="*/ 0 w 21600"/>
              <a:gd name="T5" fmla="*/ 0 h 21600"/>
              <a:gd name="T6" fmla="*/ 2 w 21600"/>
              <a:gd name="T7" fmla="*/ 0 h 21600"/>
              <a:gd name="T8" fmla="*/ 0 60000 65536"/>
              <a:gd name="T9" fmla="*/ 0 60000 65536"/>
              <a:gd name="T10" fmla="*/ 0 60000 65536"/>
              <a:gd name="T11" fmla="*/ 0 60000 65536"/>
              <a:gd name="T12" fmla="*/ 2820 w 21600"/>
              <a:gd name="T13" fmla="*/ 2853 h 21600"/>
              <a:gd name="T14" fmla="*/ 18780 w 21600"/>
              <a:gd name="T15" fmla="*/ 18747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0" y="0"/>
                </a:moveTo>
                <a:lnTo>
                  <a:pt x="2076" y="21600"/>
                </a:lnTo>
                <a:lnTo>
                  <a:pt x="19524" y="21600"/>
                </a:lnTo>
                <a:lnTo>
                  <a:pt x="21600" y="0"/>
                </a:lnTo>
                <a:close/>
              </a:path>
            </a:pathLst>
          </a:custGeom>
          <a:gradFill rotWithShape="1">
            <a:gsLst>
              <a:gs pos="0">
                <a:srgbClr val="5E4776"/>
              </a:gs>
              <a:gs pos="50000">
                <a:srgbClr val="CC99FF"/>
              </a:gs>
              <a:gs pos="100000">
                <a:srgbClr val="5E4776"/>
              </a:gs>
            </a:gsLst>
            <a:lin ang="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 sz="1158" b="1" dirty="0">
              <a:latin typeface="Arial Narrow" pitchFamily="34" charset="0"/>
            </a:endParaRPr>
          </a:p>
        </p:txBody>
      </p:sp>
      <p:sp>
        <p:nvSpPr>
          <p:cNvPr id="72" name="Rectangle 329"/>
          <p:cNvSpPr>
            <a:spLocks noChangeArrowheads="1"/>
          </p:cNvSpPr>
          <p:nvPr/>
        </p:nvSpPr>
        <p:spPr bwMode="auto">
          <a:xfrm rot="10800000" flipH="1" flipV="1">
            <a:off x="2177798" y="591370"/>
            <a:ext cx="177729" cy="380927"/>
          </a:xfrm>
          <a:prstGeom prst="rect">
            <a:avLst/>
          </a:prstGeom>
          <a:gradFill rotWithShape="1">
            <a:gsLst>
              <a:gs pos="0">
                <a:srgbClr val="5E4776"/>
              </a:gs>
              <a:gs pos="50000">
                <a:srgbClr val="CC99FF"/>
              </a:gs>
              <a:gs pos="100000">
                <a:srgbClr val="5E4776"/>
              </a:gs>
            </a:gsLst>
            <a:lin ang="5400000" scaled="1"/>
          </a:gra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 sz="1158" b="1" dirty="0">
              <a:latin typeface="Arial Narrow" pitchFamily="34" charset="0"/>
            </a:endParaRPr>
          </a:p>
        </p:txBody>
      </p:sp>
      <p:sp>
        <p:nvSpPr>
          <p:cNvPr id="73" name="Rectangle 330"/>
          <p:cNvSpPr>
            <a:spLocks noChangeArrowheads="1"/>
          </p:cNvSpPr>
          <p:nvPr/>
        </p:nvSpPr>
        <p:spPr bwMode="auto">
          <a:xfrm rot="10800000" flipH="1" flipV="1">
            <a:off x="2040405" y="543754"/>
            <a:ext cx="69327" cy="473183"/>
          </a:xfrm>
          <a:prstGeom prst="rect">
            <a:avLst/>
          </a:prstGeom>
          <a:gradFill rotWithShape="1">
            <a:gsLst>
              <a:gs pos="0">
                <a:srgbClr val="5E4776"/>
              </a:gs>
              <a:gs pos="50000">
                <a:srgbClr val="CC99FF"/>
              </a:gs>
              <a:gs pos="100000">
                <a:srgbClr val="5E4776"/>
              </a:gs>
            </a:gsLst>
            <a:lin ang="5400000" scaled="1"/>
          </a:gradFill>
          <a:ln w="9525" algn="ctr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en-GB" sz="1158" b="1" dirty="0">
              <a:latin typeface="Arial Narrow" pitchFamily="34" charset="0"/>
            </a:endParaRPr>
          </a:p>
        </p:txBody>
      </p:sp>
      <p:grpSp>
        <p:nvGrpSpPr>
          <p:cNvPr id="74" name="Gruppo 73"/>
          <p:cNvGrpSpPr/>
          <p:nvPr/>
        </p:nvGrpSpPr>
        <p:grpSpPr>
          <a:xfrm rot="16200000">
            <a:off x="1515531" y="1551352"/>
            <a:ext cx="480815" cy="1432714"/>
            <a:chOff x="5308435" y="4079404"/>
            <a:chExt cx="436890" cy="1301807"/>
          </a:xfrm>
        </p:grpSpPr>
        <p:sp>
          <p:nvSpPr>
            <p:cNvPr id="75" name="Rectangle 325"/>
            <p:cNvSpPr>
              <a:spLocks noChangeArrowheads="1"/>
            </p:cNvSpPr>
            <p:nvPr/>
          </p:nvSpPr>
          <p:spPr bwMode="auto">
            <a:xfrm rot="5400000">
              <a:off x="4894950" y="4586216"/>
              <a:ext cx="1262545" cy="248921"/>
            </a:xfrm>
            <a:prstGeom prst="rect">
              <a:avLst/>
            </a:prstGeom>
            <a:gradFill rotWithShape="1">
              <a:gsLst>
                <a:gs pos="0">
                  <a:srgbClr val="8F7272"/>
                </a:gs>
                <a:gs pos="50000">
                  <a:srgbClr val="FFCCCC"/>
                </a:gs>
                <a:gs pos="100000">
                  <a:srgbClr val="8F7272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  <p:sp>
          <p:nvSpPr>
            <p:cNvPr id="76" name="Ritaglia angolo stesso lato rettangolo 75"/>
            <p:cNvSpPr/>
            <p:nvPr/>
          </p:nvSpPr>
          <p:spPr>
            <a:xfrm rot="10800000">
              <a:off x="5308435" y="5302631"/>
              <a:ext cx="436890" cy="78580"/>
            </a:xfrm>
            <a:prstGeom prst="snip2SameRect">
              <a:avLst>
                <a:gd name="adj1" fmla="val 50000"/>
                <a:gd name="adj2" fmla="val 0"/>
              </a:avLst>
            </a:prstGeom>
            <a:gradFill flip="none" rotWithShape="1">
              <a:gsLst>
                <a:gs pos="0">
                  <a:srgbClr val="8F7272"/>
                </a:gs>
                <a:gs pos="50000">
                  <a:srgbClr val="FFCCCC"/>
                </a:gs>
                <a:gs pos="100000">
                  <a:srgbClr val="8F7272"/>
                </a:gs>
              </a:gsLst>
              <a:lin ang="0" scaled="1"/>
              <a:tileRect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158" b="1" dirty="0">
                <a:latin typeface="Arial Narrow" pitchFamily="34" charset="0"/>
              </a:endParaRPr>
            </a:p>
          </p:txBody>
        </p:sp>
      </p:grpSp>
      <p:grpSp>
        <p:nvGrpSpPr>
          <p:cNvPr id="77" name="Group 327"/>
          <p:cNvGrpSpPr>
            <a:grpSpLocks/>
          </p:cNvGrpSpPr>
          <p:nvPr/>
        </p:nvGrpSpPr>
        <p:grpSpPr bwMode="auto">
          <a:xfrm flipV="1">
            <a:off x="1125552" y="2025658"/>
            <a:ext cx="322684" cy="473183"/>
            <a:chOff x="957" y="1985"/>
            <a:chExt cx="256" cy="318"/>
          </a:xfrm>
        </p:grpSpPr>
        <p:sp>
          <p:nvSpPr>
            <p:cNvPr id="78" name="AutoShape 328"/>
            <p:cNvSpPr>
              <a:spLocks noChangeArrowheads="1"/>
            </p:cNvSpPr>
            <p:nvPr/>
          </p:nvSpPr>
          <p:spPr bwMode="auto">
            <a:xfrm rot="5400000" flipH="1">
              <a:off x="974" y="2117"/>
              <a:ext cx="314" cy="53"/>
            </a:xfrm>
            <a:custGeom>
              <a:avLst/>
              <a:gdLst>
                <a:gd name="T0" fmla="*/ 4 w 21600"/>
                <a:gd name="T1" fmla="*/ 0 h 21600"/>
                <a:gd name="T2" fmla="*/ 2 w 21600"/>
                <a:gd name="T3" fmla="*/ 0 h 21600"/>
                <a:gd name="T4" fmla="*/ 0 w 21600"/>
                <a:gd name="T5" fmla="*/ 0 h 21600"/>
                <a:gd name="T6" fmla="*/ 2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20 w 21600"/>
                <a:gd name="T13" fmla="*/ 2853 h 21600"/>
                <a:gd name="T14" fmla="*/ 18780 w 21600"/>
                <a:gd name="T15" fmla="*/ 1874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76" y="21600"/>
                  </a:lnTo>
                  <a:lnTo>
                    <a:pt x="19524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  <p:sp>
          <p:nvSpPr>
            <p:cNvPr id="79" name="Rectangle 329"/>
            <p:cNvSpPr>
              <a:spLocks noChangeArrowheads="1"/>
            </p:cNvSpPr>
            <p:nvPr/>
          </p:nvSpPr>
          <p:spPr bwMode="auto">
            <a:xfrm flipH="1">
              <a:off x="957" y="2017"/>
              <a:ext cx="153" cy="256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  <p:sp>
          <p:nvSpPr>
            <p:cNvPr id="80" name="Rectangle 330"/>
            <p:cNvSpPr>
              <a:spLocks noChangeArrowheads="1"/>
            </p:cNvSpPr>
            <p:nvPr/>
          </p:nvSpPr>
          <p:spPr bwMode="auto">
            <a:xfrm flipH="1">
              <a:off x="1158" y="1985"/>
              <a:ext cx="55" cy="318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158" b="1" dirty="0">
                <a:latin typeface="Arial Narrow" pitchFamily="34" charset="0"/>
              </a:endParaRPr>
            </a:p>
          </p:txBody>
        </p:sp>
      </p:grpSp>
      <p:cxnSp>
        <p:nvCxnSpPr>
          <p:cNvPr id="12" name="Connettore 1 11"/>
          <p:cNvCxnSpPr>
            <a:stCxn id="75" idx="1"/>
            <a:endCxn id="75" idx="3"/>
          </p:cNvCxnSpPr>
          <p:nvPr/>
        </p:nvCxnSpPr>
        <p:spPr>
          <a:xfrm>
            <a:off x="893685" y="2268432"/>
            <a:ext cx="1681263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lg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5" name="Connettore 1 14"/>
          <p:cNvCxnSpPr/>
          <p:nvPr/>
        </p:nvCxnSpPr>
        <p:spPr>
          <a:xfrm flipH="1">
            <a:off x="1356032" y="777202"/>
            <a:ext cx="1218723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lg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83" name="AutoShape 310"/>
          <p:cNvSpPr>
            <a:spLocks/>
          </p:cNvSpPr>
          <p:nvPr/>
        </p:nvSpPr>
        <p:spPr bwMode="auto">
          <a:xfrm>
            <a:off x="2770639" y="1018932"/>
            <a:ext cx="607734" cy="255198"/>
          </a:xfrm>
          <a:prstGeom prst="callout2">
            <a:avLst>
              <a:gd name="adj1" fmla="val 41170"/>
              <a:gd name="adj2" fmla="val -2461"/>
              <a:gd name="adj3" fmla="val 41170"/>
              <a:gd name="adj4" fmla="val -9871"/>
              <a:gd name="adj5" fmla="val 262853"/>
              <a:gd name="adj6" fmla="val -110488"/>
            </a:avLst>
          </a:prstGeom>
          <a:noFill/>
          <a:ln w="6350">
            <a:solidFill>
              <a:schemeClr val="tx1"/>
            </a:solidFill>
            <a:miter lim="800000"/>
            <a:headEnd type="none" w="lg" len="lg"/>
            <a:tailEnd type="triangle" w="sm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rIns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323" b="1" dirty="0">
                <a:latin typeface="Arial Narrow" pitchFamily="34" charset="0"/>
                <a:ea typeface="ＭＳ Ｐゴシック" charset="-128"/>
                <a:sym typeface="Symbol"/>
              </a:rPr>
              <a:t>SHIM</a:t>
            </a:r>
            <a:endParaRPr lang="en-US" sz="1323" b="1" dirty="0">
              <a:latin typeface="Arial Narrow" pitchFamily="34" charset="0"/>
              <a:ea typeface="ＭＳ Ｐゴシック" charset="-128"/>
            </a:endParaRPr>
          </a:p>
        </p:txBody>
      </p:sp>
      <p:grpSp>
        <p:nvGrpSpPr>
          <p:cNvPr id="41" name="Gruppo 40"/>
          <p:cNvGrpSpPr/>
          <p:nvPr/>
        </p:nvGrpSpPr>
        <p:grpSpPr>
          <a:xfrm flipH="1">
            <a:off x="5370014" y="68592"/>
            <a:ext cx="3488043" cy="4879049"/>
            <a:chOff x="6531157" y="-34118"/>
            <a:chExt cx="3488043" cy="4879049"/>
          </a:xfrm>
        </p:grpSpPr>
        <p:grpSp>
          <p:nvGrpSpPr>
            <p:cNvPr id="4" name="Group 3"/>
            <p:cNvGrpSpPr/>
            <p:nvPr/>
          </p:nvGrpSpPr>
          <p:grpSpPr>
            <a:xfrm>
              <a:off x="6531157" y="-34118"/>
              <a:ext cx="3488043" cy="4879049"/>
              <a:chOff x="4570451" y="711169"/>
              <a:chExt cx="4218466" cy="4879049"/>
            </a:xfrm>
          </p:grpSpPr>
          <p:sp>
            <p:nvSpPr>
              <p:cNvPr id="92" name="Rettangolo 91"/>
              <p:cNvSpPr/>
              <p:nvPr/>
            </p:nvSpPr>
            <p:spPr>
              <a:xfrm rot="10800000" flipV="1">
                <a:off x="5976921" y="2269644"/>
                <a:ext cx="138841" cy="1474757"/>
              </a:xfrm>
              <a:prstGeom prst="rect">
                <a:avLst/>
              </a:prstGeom>
              <a:pattFill prst="pct70">
                <a:fgClr>
                  <a:srgbClr val="EE7713"/>
                </a:fgClr>
                <a:bgClr>
                  <a:srgbClr val="FFFF00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488" dirty="0"/>
              </a:p>
            </p:txBody>
          </p:sp>
          <p:sp>
            <p:nvSpPr>
              <p:cNvPr id="93" name="Rettangolo 92"/>
              <p:cNvSpPr/>
              <p:nvPr/>
            </p:nvSpPr>
            <p:spPr>
              <a:xfrm rot="10800000" flipV="1">
                <a:off x="5588647" y="771039"/>
                <a:ext cx="140779" cy="3208409"/>
              </a:xfrm>
              <a:prstGeom prst="rect">
                <a:avLst/>
              </a:prstGeom>
              <a:pattFill prst="pct70">
                <a:fgClr>
                  <a:srgbClr val="EE7713"/>
                </a:fgClr>
                <a:bgClr>
                  <a:srgbClr val="FFFF00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488" dirty="0"/>
              </a:p>
            </p:txBody>
          </p:sp>
          <p:sp>
            <p:nvSpPr>
              <p:cNvPr id="95" name="Rettangolo 94"/>
              <p:cNvSpPr/>
              <p:nvPr/>
            </p:nvSpPr>
            <p:spPr>
              <a:xfrm rot="10800000" flipV="1">
                <a:off x="6600136" y="4178598"/>
                <a:ext cx="975315" cy="162853"/>
              </a:xfrm>
              <a:prstGeom prst="rect">
                <a:avLst/>
              </a:prstGeom>
              <a:pattFill prst="pct70">
                <a:fgClr>
                  <a:srgbClr val="EE7713"/>
                </a:fgClr>
                <a:bgClr>
                  <a:srgbClr val="FFFF00"/>
                </a:bgClr>
              </a:patt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 sz="1488" dirty="0"/>
              </a:p>
            </p:txBody>
          </p:sp>
          <p:sp>
            <p:nvSpPr>
              <p:cNvPr id="96" name="Freccia curva 2"/>
              <p:cNvSpPr/>
              <p:nvPr/>
            </p:nvSpPr>
            <p:spPr>
              <a:xfrm flipV="1">
                <a:off x="6084819" y="2260502"/>
                <a:ext cx="2704098" cy="1975558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04096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777445" y="0"/>
                      <a:pt x="1867932" y="0"/>
                    </a:cubicBezTo>
                    <a:cubicBezTo>
                      <a:pt x="1974295" y="3175"/>
                      <a:pt x="2104469" y="39689"/>
                      <a:pt x="2210832" y="42864"/>
                    </a:cubicBezTo>
                    <a:lnTo>
                      <a:pt x="2612656" y="12772"/>
                    </a:lnTo>
                    <a:cubicBezTo>
                      <a:pt x="2613906" y="55124"/>
                      <a:pt x="2606011" y="124908"/>
                      <a:pt x="2607261" y="167260"/>
                    </a:cubicBezTo>
                    <a:lnTo>
                      <a:pt x="2704096" y="26206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97" name="Freccia curva 4"/>
              <p:cNvSpPr/>
              <p:nvPr/>
            </p:nvSpPr>
            <p:spPr>
              <a:xfrm flipV="1">
                <a:off x="4983529" y="711169"/>
                <a:ext cx="2586803" cy="4879049"/>
              </a:xfrm>
              <a:custGeom>
                <a:avLst/>
                <a:gdLst>
                  <a:gd name="connsiteX0" fmla="*/ 0 w 1042416"/>
                  <a:gd name="connsiteY0" fmla="*/ 1993392 h 1993392"/>
                  <a:gd name="connsiteX1" fmla="*/ 0 w 1042416"/>
                  <a:gd name="connsiteY1" fmla="*/ 456057 h 1993392"/>
                  <a:gd name="connsiteX2" fmla="*/ 456057 w 1042416"/>
                  <a:gd name="connsiteY2" fmla="*/ 0 h 1993392"/>
                  <a:gd name="connsiteX3" fmla="*/ 1042416 w 1042416"/>
                  <a:gd name="connsiteY3" fmla="*/ 0 h 1993392"/>
                  <a:gd name="connsiteX4" fmla="*/ 1042416 w 1042416"/>
                  <a:gd name="connsiteY4" fmla="*/ 0 h 1993392"/>
                  <a:gd name="connsiteX5" fmla="*/ 1042416 w 1042416"/>
                  <a:gd name="connsiteY5" fmla="*/ 108140 h 1993392"/>
                  <a:gd name="connsiteX6" fmla="*/ 1042416 w 1042416"/>
                  <a:gd name="connsiteY6" fmla="*/ 216280 h 1993392"/>
                  <a:gd name="connsiteX7" fmla="*/ 1042416 w 1042416"/>
                  <a:gd name="connsiteY7" fmla="*/ 216280 h 1993392"/>
                  <a:gd name="connsiteX8" fmla="*/ 456057 w 1042416"/>
                  <a:gd name="connsiteY8" fmla="*/ 216280 h 1993392"/>
                  <a:gd name="connsiteX9" fmla="*/ 216280 w 1042416"/>
                  <a:gd name="connsiteY9" fmla="*/ 456057 h 1993392"/>
                  <a:gd name="connsiteX10" fmla="*/ 216280 w 1042416"/>
                  <a:gd name="connsiteY10" fmla="*/ 1993392 h 1993392"/>
                  <a:gd name="connsiteX11" fmla="*/ 0 w 1042416"/>
                  <a:gd name="connsiteY11" fmla="*/ 1993392 h 1993392"/>
                  <a:gd name="connsiteX0" fmla="*/ 0 w 1042416"/>
                  <a:gd name="connsiteY0" fmla="*/ 1993392 h 1993392"/>
                  <a:gd name="connsiteX1" fmla="*/ 0 w 1042416"/>
                  <a:gd name="connsiteY1" fmla="*/ 456057 h 1993392"/>
                  <a:gd name="connsiteX2" fmla="*/ 456057 w 1042416"/>
                  <a:gd name="connsiteY2" fmla="*/ 0 h 1993392"/>
                  <a:gd name="connsiteX3" fmla="*/ 1042416 w 1042416"/>
                  <a:gd name="connsiteY3" fmla="*/ 0 h 1993392"/>
                  <a:gd name="connsiteX4" fmla="*/ 1042416 w 1042416"/>
                  <a:gd name="connsiteY4" fmla="*/ 0 h 1993392"/>
                  <a:gd name="connsiteX5" fmla="*/ 1042416 w 1042416"/>
                  <a:gd name="connsiteY5" fmla="*/ 216280 h 1993392"/>
                  <a:gd name="connsiteX6" fmla="*/ 1042416 w 1042416"/>
                  <a:gd name="connsiteY6" fmla="*/ 216280 h 1993392"/>
                  <a:gd name="connsiteX7" fmla="*/ 456057 w 1042416"/>
                  <a:gd name="connsiteY7" fmla="*/ 216280 h 1993392"/>
                  <a:gd name="connsiteX8" fmla="*/ 216280 w 1042416"/>
                  <a:gd name="connsiteY8" fmla="*/ 456057 h 1993392"/>
                  <a:gd name="connsiteX9" fmla="*/ 216280 w 1042416"/>
                  <a:gd name="connsiteY9" fmla="*/ 1993392 h 1993392"/>
                  <a:gd name="connsiteX10" fmla="*/ 0 w 1042416"/>
                  <a:gd name="connsiteY10" fmla="*/ 1993392 h 1993392"/>
                  <a:gd name="connsiteX0" fmla="*/ 0 w 1042416"/>
                  <a:gd name="connsiteY0" fmla="*/ 2154155 h 2154155"/>
                  <a:gd name="connsiteX1" fmla="*/ 0 w 1042416"/>
                  <a:gd name="connsiteY1" fmla="*/ 616820 h 2154155"/>
                  <a:gd name="connsiteX2" fmla="*/ 237744 w 1042416"/>
                  <a:gd name="connsiteY2" fmla="*/ 14459 h 2154155"/>
                  <a:gd name="connsiteX3" fmla="*/ 456057 w 1042416"/>
                  <a:gd name="connsiteY3" fmla="*/ 160763 h 2154155"/>
                  <a:gd name="connsiteX4" fmla="*/ 1042416 w 1042416"/>
                  <a:gd name="connsiteY4" fmla="*/ 160763 h 2154155"/>
                  <a:gd name="connsiteX5" fmla="*/ 1042416 w 1042416"/>
                  <a:gd name="connsiteY5" fmla="*/ 160763 h 2154155"/>
                  <a:gd name="connsiteX6" fmla="*/ 1042416 w 1042416"/>
                  <a:gd name="connsiteY6" fmla="*/ 377043 h 2154155"/>
                  <a:gd name="connsiteX7" fmla="*/ 1042416 w 1042416"/>
                  <a:gd name="connsiteY7" fmla="*/ 377043 h 2154155"/>
                  <a:gd name="connsiteX8" fmla="*/ 456057 w 1042416"/>
                  <a:gd name="connsiteY8" fmla="*/ 377043 h 2154155"/>
                  <a:gd name="connsiteX9" fmla="*/ 216280 w 1042416"/>
                  <a:gd name="connsiteY9" fmla="*/ 616820 h 2154155"/>
                  <a:gd name="connsiteX10" fmla="*/ 216280 w 1042416"/>
                  <a:gd name="connsiteY10" fmla="*/ 2154155 h 2154155"/>
                  <a:gd name="connsiteX11" fmla="*/ 0 w 1042416"/>
                  <a:gd name="connsiteY11" fmla="*/ 2154155 h 2154155"/>
                  <a:gd name="connsiteX0" fmla="*/ 0 w 1042416"/>
                  <a:gd name="connsiteY0" fmla="*/ 2707689 h 2707689"/>
                  <a:gd name="connsiteX1" fmla="*/ 0 w 1042416"/>
                  <a:gd name="connsiteY1" fmla="*/ 1170354 h 2707689"/>
                  <a:gd name="connsiteX2" fmla="*/ 265176 w 1042416"/>
                  <a:gd name="connsiteY2" fmla="*/ 10209 h 2707689"/>
                  <a:gd name="connsiteX3" fmla="*/ 237744 w 1042416"/>
                  <a:gd name="connsiteY3" fmla="*/ 567993 h 2707689"/>
                  <a:gd name="connsiteX4" fmla="*/ 456057 w 1042416"/>
                  <a:gd name="connsiteY4" fmla="*/ 714297 h 2707689"/>
                  <a:gd name="connsiteX5" fmla="*/ 1042416 w 1042416"/>
                  <a:gd name="connsiteY5" fmla="*/ 714297 h 2707689"/>
                  <a:gd name="connsiteX6" fmla="*/ 1042416 w 1042416"/>
                  <a:gd name="connsiteY6" fmla="*/ 714297 h 2707689"/>
                  <a:gd name="connsiteX7" fmla="*/ 1042416 w 1042416"/>
                  <a:gd name="connsiteY7" fmla="*/ 930577 h 2707689"/>
                  <a:gd name="connsiteX8" fmla="*/ 1042416 w 1042416"/>
                  <a:gd name="connsiteY8" fmla="*/ 930577 h 2707689"/>
                  <a:gd name="connsiteX9" fmla="*/ 456057 w 1042416"/>
                  <a:gd name="connsiteY9" fmla="*/ 930577 h 2707689"/>
                  <a:gd name="connsiteX10" fmla="*/ 216280 w 1042416"/>
                  <a:gd name="connsiteY10" fmla="*/ 1170354 h 2707689"/>
                  <a:gd name="connsiteX11" fmla="*/ 216280 w 1042416"/>
                  <a:gd name="connsiteY11" fmla="*/ 2707689 h 2707689"/>
                  <a:gd name="connsiteX12" fmla="*/ 0 w 1042416"/>
                  <a:gd name="connsiteY12" fmla="*/ 2707689 h 2707689"/>
                  <a:gd name="connsiteX0" fmla="*/ 192024 w 1234440"/>
                  <a:gd name="connsiteY0" fmla="*/ 2776488 h 2776488"/>
                  <a:gd name="connsiteX1" fmla="*/ 0 w 1234440"/>
                  <a:gd name="connsiteY1" fmla="*/ 132729 h 2776488"/>
                  <a:gd name="connsiteX2" fmla="*/ 457200 w 1234440"/>
                  <a:gd name="connsiteY2" fmla="*/ 79008 h 2776488"/>
                  <a:gd name="connsiteX3" fmla="*/ 429768 w 1234440"/>
                  <a:gd name="connsiteY3" fmla="*/ 636792 h 2776488"/>
                  <a:gd name="connsiteX4" fmla="*/ 648081 w 1234440"/>
                  <a:gd name="connsiteY4" fmla="*/ 783096 h 2776488"/>
                  <a:gd name="connsiteX5" fmla="*/ 1234440 w 1234440"/>
                  <a:gd name="connsiteY5" fmla="*/ 783096 h 2776488"/>
                  <a:gd name="connsiteX6" fmla="*/ 1234440 w 1234440"/>
                  <a:gd name="connsiteY6" fmla="*/ 783096 h 2776488"/>
                  <a:gd name="connsiteX7" fmla="*/ 1234440 w 1234440"/>
                  <a:gd name="connsiteY7" fmla="*/ 999376 h 2776488"/>
                  <a:gd name="connsiteX8" fmla="*/ 1234440 w 1234440"/>
                  <a:gd name="connsiteY8" fmla="*/ 999376 h 2776488"/>
                  <a:gd name="connsiteX9" fmla="*/ 648081 w 1234440"/>
                  <a:gd name="connsiteY9" fmla="*/ 999376 h 2776488"/>
                  <a:gd name="connsiteX10" fmla="*/ 408304 w 1234440"/>
                  <a:gd name="connsiteY10" fmla="*/ 1239153 h 2776488"/>
                  <a:gd name="connsiteX11" fmla="*/ 408304 w 1234440"/>
                  <a:gd name="connsiteY11" fmla="*/ 2776488 h 2776488"/>
                  <a:gd name="connsiteX12" fmla="*/ 192024 w 1234440"/>
                  <a:gd name="connsiteY12" fmla="*/ 2776488 h 2776488"/>
                  <a:gd name="connsiteX0" fmla="*/ 192024 w 1234440"/>
                  <a:gd name="connsiteY0" fmla="*/ 2776488 h 2776488"/>
                  <a:gd name="connsiteX1" fmla="*/ 0 w 1234440"/>
                  <a:gd name="connsiteY1" fmla="*/ 1688353 h 2776488"/>
                  <a:gd name="connsiteX2" fmla="*/ 0 w 1234440"/>
                  <a:gd name="connsiteY2" fmla="*/ 132729 h 2776488"/>
                  <a:gd name="connsiteX3" fmla="*/ 457200 w 1234440"/>
                  <a:gd name="connsiteY3" fmla="*/ 79008 h 2776488"/>
                  <a:gd name="connsiteX4" fmla="*/ 429768 w 1234440"/>
                  <a:gd name="connsiteY4" fmla="*/ 636792 h 2776488"/>
                  <a:gd name="connsiteX5" fmla="*/ 648081 w 1234440"/>
                  <a:gd name="connsiteY5" fmla="*/ 783096 h 2776488"/>
                  <a:gd name="connsiteX6" fmla="*/ 1234440 w 1234440"/>
                  <a:gd name="connsiteY6" fmla="*/ 783096 h 2776488"/>
                  <a:gd name="connsiteX7" fmla="*/ 1234440 w 1234440"/>
                  <a:gd name="connsiteY7" fmla="*/ 783096 h 2776488"/>
                  <a:gd name="connsiteX8" fmla="*/ 1234440 w 1234440"/>
                  <a:gd name="connsiteY8" fmla="*/ 999376 h 2776488"/>
                  <a:gd name="connsiteX9" fmla="*/ 1234440 w 1234440"/>
                  <a:gd name="connsiteY9" fmla="*/ 999376 h 2776488"/>
                  <a:gd name="connsiteX10" fmla="*/ 648081 w 1234440"/>
                  <a:gd name="connsiteY10" fmla="*/ 999376 h 2776488"/>
                  <a:gd name="connsiteX11" fmla="*/ 408304 w 1234440"/>
                  <a:gd name="connsiteY11" fmla="*/ 1239153 h 2776488"/>
                  <a:gd name="connsiteX12" fmla="*/ 408304 w 1234440"/>
                  <a:gd name="connsiteY12" fmla="*/ 2776488 h 2776488"/>
                  <a:gd name="connsiteX13" fmla="*/ 192024 w 1234440"/>
                  <a:gd name="connsiteY13" fmla="*/ 2776488 h 2776488"/>
                  <a:gd name="connsiteX0" fmla="*/ 192024 w 1234440"/>
                  <a:gd name="connsiteY0" fmla="*/ 2776488 h 2776488"/>
                  <a:gd name="connsiteX1" fmla="*/ 155448 w 1234440"/>
                  <a:gd name="connsiteY1" fmla="*/ 1889521 h 2776488"/>
                  <a:gd name="connsiteX2" fmla="*/ 0 w 1234440"/>
                  <a:gd name="connsiteY2" fmla="*/ 1688353 h 2776488"/>
                  <a:gd name="connsiteX3" fmla="*/ 0 w 1234440"/>
                  <a:gd name="connsiteY3" fmla="*/ 132729 h 2776488"/>
                  <a:gd name="connsiteX4" fmla="*/ 457200 w 1234440"/>
                  <a:gd name="connsiteY4" fmla="*/ 79008 h 2776488"/>
                  <a:gd name="connsiteX5" fmla="*/ 429768 w 1234440"/>
                  <a:gd name="connsiteY5" fmla="*/ 636792 h 2776488"/>
                  <a:gd name="connsiteX6" fmla="*/ 648081 w 1234440"/>
                  <a:gd name="connsiteY6" fmla="*/ 783096 h 2776488"/>
                  <a:gd name="connsiteX7" fmla="*/ 1234440 w 1234440"/>
                  <a:gd name="connsiteY7" fmla="*/ 783096 h 2776488"/>
                  <a:gd name="connsiteX8" fmla="*/ 1234440 w 1234440"/>
                  <a:gd name="connsiteY8" fmla="*/ 783096 h 2776488"/>
                  <a:gd name="connsiteX9" fmla="*/ 1234440 w 1234440"/>
                  <a:gd name="connsiteY9" fmla="*/ 999376 h 2776488"/>
                  <a:gd name="connsiteX10" fmla="*/ 1234440 w 1234440"/>
                  <a:gd name="connsiteY10" fmla="*/ 999376 h 2776488"/>
                  <a:gd name="connsiteX11" fmla="*/ 648081 w 1234440"/>
                  <a:gd name="connsiteY11" fmla="*/ 999376 h 2776488"/>
                  <a:gd name="connsiteX12" fmla="*/ 408304 w 1234440"/>
                  <a:gd name="connsiteY12" fmla="*/ 1239153 h 2776488"/>
                  <a:gd name="connsiteX13" fmla="*/ 408304 w 1234440"/>
                  <a:gd name="connsiteY13" fmla="*/ 2776488 h 2776488"/>
                  <a:gd name="connsiteX14" fmla="*/ 192024 w 1234440"/>
                  <a:gd name="connsiteY14" fmla="*/ 2776488 h 2776488"/>
                  <a:gd name="connsiteX0" fmla="*/ 192024 w 1234440"/>
                  <a:gd name="connsiteY0" fmla="*/ 2776488 h 2867929"/>
                  <a:gd name="connsiteX1" fmla="*/ 155448 w 1234440"/>
                  <a:gd name="connsiteY1" fmla="*/ 1889521 h 2867929"/>
                  <a:gd name="connsiteX2" fmla="*/ 0 w 1234440"/>
                  <a:gd name="connsiteY2" fmla="*/ 1688353 h 2867929"/>
                  <a:gd name="connsiteX3" fmla="*/ 0 w 1234440"/>
                  <a:gd name="connsiteY3" fmla="*/ 132729 h 2867929"/>
                  <a:gd name="connsiteX4" fmla="*/ 457200 w 1234440"/>
                  <a:gd name="connsiteY4" fmla="*/ 79008 h 2867929"/>
                  <a:gd name="connsiteX5" fmla="*/ 429768 w 1234440"/>
                  <a:gd name="connsiteY5" fmla="*/ 636792 h 2867929"/>
                  <a:gd name="connsiteX6" fmla="*/ 648081 w 1234440"/>
                  <a:gd name="connsiteY6" fmla="*/ 783096 h 2867929"/>
                  <a:gd name="connsiteX7" fmla="*/ 1234440 w 1234440"/>
                  <a:gd name="connsiteY7" fmla="*/ 783096 h 2867929"/>
                  <a:gd name="connsiteX8" fmla="*/ 1234440 w 1234440"/>
                  <a:gd name="connsiteY8" fmla="*/ 783096 h 2867929"/>
                  <a:gd name="connsiteX9" fmla="*/ 1234440 w 1234440"/>
                  <a:gd name="connsiteY9" fmla="*/ 999376 h 2867929"/>
                  <a:gd name="connsiteX10" fmla="*/ 1234440 w 1234440"/>
                  <a:gd name="connsiteY10" fmla="*/ 999376 h 2867929"/>
                  <a:gd name="connsiteX11" fmla="*/ 648081 w 1234440"/>
                  <a:gd name="connsiteY11" fmla="*/ 999376 h 2867929"/>
                  <a:gd name="connsiteX12" fmla="*/ 408304 w 1234440"/>
                  <a:gd name="connsiteY12" fmla="*/ 1239153 h 2867929"/>
                  <a:gd name="connsiteX13" fmla="*/ 408304 w 1234440"/>
                  <a:gd name="connsiteY13" fmla="*/ 2776488 h 2867929"/>
                  <a:gd name="connsiteX14" fmla="*/ 274320 w 1234440"/>
                  <a:gd name="connsiteY14" fmla="*/ 2867929 h 2867929"/>
                  <a:gd name="connsiteX15" fmla="*/ 192024 w 1234440"/>
                  <a:gd name="connsiteY15" fmla="*/ 2776488 h 2867929"/>
                  <a:gd name="connsiteX0" fmla="*/ 192024 w 1234440"/>
                  <a:gd name="connsiteY0" fmla="*/ 2776488 h 4989336"/>
                  <a:gd name="connsiteX1" fmla="*/ 155448 w 1234440"/>
                  <a:gd name="connsiteY1" fmla="*/ 1889521 h 4989336"/>
                  <a:gd name="connsiteX2" fmla="*/ 0 w 1234440"/>
                  <a:gd name="connsiteY2" fmla="*/ 1688353 h 4989336"/>
                  <a:gd name="connsiteX3" fmla="*/ 0 w 1234440"/>
                  <a:gd name="connsiteY3" fmla="*/ 132729 h 4989336"/>
                  <a:gd name="connsiteX4" fmla="*/ 457200 w 1234440"/>
                  <a:gd name="connsiteY4" fmla="*/ 79008 h 4989336"/>
                  <a:gd name="connsiteX5" fmla="*/ 429768 w 1234440"/>
                  <a:gd name="connsiteY5" fmla="*/ 636792 h 4989336"/>
                  <a:gd name="connsiteX6" fmla="*/ 648081 w 1234440"/>
                  <a:gd name="connsiteY6" fmla="*/ 783096 h 4989336"/>
                  <a:gd name="connsiteX7" fmla="*/ 1234440 w 1234440"/>
                  <a:gd name="connsiteY7" fmla="*/ 783096 h 4989336"/>
                  <a:gd name="connsiteX8" fmla="*/ 1234440 w 1234440"/>
                  <a:gd name="connsiteY8" fmla="*/ 783096 h 4989336"/>
                  <a:gd name="connsiteX9" fmla="*/ 1234440 w 1234440"/>
                  <a:gd name="connsiteY9" fmla="*/ 999376 h 4989336"/>
                  <a:gd name="connsiteX10" fmla="*/ 1234440 w 1234440"/>
                  <a:gd name="connsiteY10" fmla="*/ 999376 h 4989336"/>
                  <a:gd name="connsiteX11" fmla="*/ 648081 w 1234440"/>
                  <a:gd name="connsiteY11" fmla="*/ 999376 h 4989336"/>
                  <a:gd name="connsiteX12" fmla="*/ 408304 w 1234440"/>
                  <a:gd name="connsiteY12" fmla="*/ 1239153 h 4989336"/>
                  <a:gd name="connsiteX13" fmla="*/ 463168 w 1234440"/>
                  <a:gd name="connsiteY13" fmla="*/ 4989336 h 4989336"/>
                  <a:gd name="connsiteX14" fmla="*/ 274320 w 1234440"/>
                  <a:gd name="connsiteY14" fmla="*/ 2867929 h 4989336"/>
                  <a:gd name="connsiteX15" fmla="*/ 192024 w 1234440"/>
                  <a:gd name="connsiteY15" fmla="*/ 2776488 h 4989336"/>
                  <a:gd name="connsiteX0" fmla="*/ 192024 w 1234440"/>
                  <a:gd name="connsiteY0" fmla="*/ 2776488 h 5100439"/>
                  <a:gd name="connsiteX1" fmla="*/ 155448 w 1234440"/>
                  <a:gd name="connsiteY1" fmla="*/ 1889521 h 5100439"/>
                  <a:gd name="connsiteX2" fmla="*/ 0 w 1234440"/>
                  <a:gd name="connsiteY2" fmla="*/ 1688353 h 5100439"/>
                  <a:gd name="connsiteX3" fmla="*/ 0 w 1234440"/>
                  <a:gd name="connsiteY3" fmla="*/ 132729 h 5100439"/>
                  <a:gd name="connsiteX4" fmla="*/ 457200 w 1234440"/>
                  <a:gd name="connsiteY4" fmla="*/ 79008 h 5100439"/>
                  <a:gd name="connsiteX5" fmla="*/ 429768 w 1234440"/>
                  <a:gd name="connsiteY5" fmla="*/ 636792 h 5100439"/>
                  <a:gd name="connsiteX6" fmla="*/ 648081 w 1234440"/>
                  <a:gd name="connsiteY6" fmla="*/ 783096 h 5100439"/>
                  <a:gd name="connsiteX7" fmla="*/ 1234440 w 1234440"/>
                  <a:gd name="connsiteY7" fmla="*/ 783096 h 5100439"/>
                  <a:gd name="connsiteX8" fmla="*/ 1234440 w 1234440"/>
                  <a:gd name="connsiteY8" fmla="*/ 783096 h 5100439"/>
                  <a:gd name="connsiteX9" fmla="*/ 1234440 w 1234440"/>
                  <a:gd name="connsiteY9" fmla="*/ 999376 h 5100439"/>
                  <a:gd name="connsiteX10" fmla="*/ 1234440 w 1234440"/>
                  <a:gd name="connsiteY10" fmla="*/ 999376 h 5100439"/>
                  <a:gd name="connsiteX11" fmla="*/ 648081 w 1234440"/>
                  <a:gd name="connsiteY11" fmla="*/ 999376 h 5100439"/>
                  <a:gd name="connsiteX12" fmla="*/ 408304 w 1234440"/>
                  <a:gd name="connsiteY12" fmla="*/ 1239153 h 5100439"/>
                  <a:gd name="connsiteX13" fmla="*/ 463168 w 1234440"/>
                  <a:gd name="connsiteY13" fmla="*/ 4989336 h 5100439"/>
                  <a:gd name="connsiteX14" fmla="*/ 320040 w 1234440"/>
                  <a:gd name="connsiteY14" fmla="*/ 3882912 h 5100439"/>
                  <a:gd name="connsiteX15" fmla="*/ 274320 w 1234440"/>
                  <a:gd name="connsiteY15" fmla="*/ 2867929 h 5100439"/>
                  <a:gd name="connsiteX16" fmla="*/ 192024 w 1234440"/>
                  <a:gd name="connsiteY16" fmla="*/ 2776488 h 5100439"/>
                  <a:gd name="connsiteX0" fmla="*/ 192024 w 1234440"/>
                  <a:gd name="connsiteY0" fmla="*/ 2776488 h 5272752"/>
                  <a:gd name="connsiteX1" fmla="*/ 155448 w 1234440"/>
                  <a:gd name="connsiteY1" fmla="*/ 1889521 h 5272752"/>
                  <a:gd name="connsiteX2" fmla="*/ 0 w 1234440"/>
                  <a:gd name="connsiteY2" fmla="*/ 1688353 h 5272752"/>
                  <a:gd name="connsiteX3" fmla="*/ 0 w 1234440"/>
                  <a:gd name="connsiteY3" fmla="*/ 132729 h 5272752"/>
                  <a:gd name="connsiteX4" fmla="*/ 457200 w 1234440"/>
                  <a:gd name="connsiteY4" fmla="*/ 79008 h 5272752"/>
                  <a:gd name="connsiteX5" fmla="*/ 429768 w 1234440"/>
                  <a:gd name="connsiteY5" fmla="*/ 636792 h 5272752"/>
                  <a:gd name="connsiteX6" fmla="*/ 648081 w 1234440"/>
                  <a:gd name="connsiteY6" fmla="*/ 783096 h 5272752"/>
                  <a:gd name="connsiteX7" fmla="*/ 1234440 w 1234440"/>
                  <a:gd name="connsiteY7" fmla="*/ 783096 h 5272752"/>
                  <a:gd name="connsiteX8" fmla="*/ 1234440 w 1234440"/>
                  <a:gd name="connsiteY8" fmla="*/ 783096 h 5272752"/>
                  <a:gd name="connsiteX9" fmla="*/ 1234440 w 1234440"/>
                  <a:gd name="connsiteY9" fmla="*/ 999376 h 5272752"/>
                  <a:gd name="connsiteX10" fmla="*/ 1234440 w 1234440"/>
                  <a:gd name="connsiteY10" fmla="*/ 999376 h 5272752"/>
                  <a:gd name="connsiteX11" fmla="*/ 648081 w 1234440"/>
                  <a:gd name="connsiteY11" fmla="*/ 999376 h 5272752"/>
                  <a:gd name="connsiteX12" fmla="*/ 408304 w 1234440"/>
                  <a:gd name="connsiteY12" fmla="*/ 1239153 h 5272752"/>
                  <a:gd name="connsiteX13" fmla="*/ 463168 w 1234440"/>
                  <a:gd name="connsiteY13" fmla="*/ 4989336 h 5272752"/>
                  <a:gd name="connsiteX14" fmla="*/ 384048 w 1234440"/>
                  <a:gd name="connsiteY14" fmla="*/ 4943615 h 5272752"/>
                  <a:gd name="connsiteX15" fmla="*/ 320040 w 1234440"/>
                  <a:gd name="connsiteY15" fmla="*/ 3882912 h 5272752"/>
                  <a:gd name="connsiteX16" fmla="*/ 274320 w 1234440"/>
                  <a:gd name="connsiteY16" fmla="*/ 2867929 h 5272752"/>
                  <a:gd name="connsiteX17" fmla="*/ 192024 w 1234440"/>
                  <a:gd name="connsiteY17" fmla="*/ 2776488 h 5272752"/>
                  <a:gd name="connsiteX0" fmla="*/ 192024 w 1234440"/>
                  <a:gd name="connsiteY0" fmla="*/ 2776488 h 5272752"/>
                  <a:gd name="connsiteX1" fmla="*/ 155448 w 1234440"/>
                  <a:gd name="connsiteY1" fmla="*/ 1889521 h 5272752"/>
                  <a:gd name="connsiteX2" fmla="*/ 0 w 1234440"/>
                  <a:gd name="connsiteY2" fmla="*/ 1688353 h 5272752"/>
                  <a:gd name="connsiteX3" fmla="*/ 0 w 1234440"/>
                  <a:gd name="connsiteY3" fmla="*/ 132729 h 5272752"/>
                  <a:gd name="connsiteX4" fmla="*/ 457200 w 1234440"/>
                  <a:gd name="connsiteY4" fmla="*/ 79008 h 5272752"/>
                  <a:gd name="connsiteX5" fmla="*/ 429768 w 1234440"/>
                  <a:gd name="connsiteY5" fmla="*/ 636792 h 5272752"/>
                  <a:gd name="connsiteX6" fmla="*/ 648081 w 1234440"/>
                  <a:gd name="connsiteY6" fmla="*/ 783096 h 5272752"/>
                  <a:gd name="connsiteX7" fmla="*/ 1234440 w 1234440"/>
                  <a:gd name="connsiteY7" fmla="*/ 783096 h 5272752"/>
                  <a:gd name="connsiteX8" fmla="*/ 1234440 w 1234440"/>
                  <a:gd name="connsiteY8" fmla="*/ 783096 h 5272752"/>
                  <a:gd name="connsiteX9" fmla="*/ 1234440 w 1234440"/>
                  <a:gd name="connsiteY9" fmla="*/ 999376 h 5272752"/>
                  <a:gd name="connsiteX10" fmla="*/ 1234440 w 1234440"/>
                  <a:gd name="connsiteY10" fmla="*/ 999376 h 5272752"/>
                  <a:gd name="connsiteX11" fmla="*/ 648081 w 1234440"/>
                  <a:gd name="connsiteY11" fmla="*/ 999376 h 5272752"/>
                  <a:gd name="connsiteX12" fmla="*/ 408304 w 1234440"/>
                  <a:gd name="connsiteY12" fmla="*/ 1239153 h 5272752"/>
                  <a:gd name="connsiteX13" fmla="*/ 463168 w 1234440"/>
                  <a:gd name="connsiteY13" fmla="*/ 4989336 h 5272752"/>
                  <a:gd name="connsiteX14" fmla="*/ 384048 w 1234440"/>
                  <a:gd name="connsiteY14" fmla="*/ 4943615 h 5272752"/>
                  <a:gd name="connsiteX15" fmla="*/ 320040 w 1234440"/>
                  <a:gd name="connsiteY15" fmla="*/ 3882912 h 5272752"/>
                  <a:gd name="connsiteX16" fmla="*/ 274320 w 1234440"/>
                  <a:gd name="connsiteY16" fmla="*/ 2867929 h 5272752"/>
                  <a:gd name="connsiteX17" fmla="*/ 192024 w 1234440"/>
                  <a:gd name="connsiteY17" fmla="*/ 2776488 h 5272752"/>
                  <a:gd name="connsiteX0" fmla="*/ 192024 w 1234440"/>
                  <a:gd name="connsiteY0" fmla="*/ 2707690 h 5203954"/>
                  <a:gd name="connsiteX1" fmla="*/ 155448 w 1234440"/>
                  <a:gd name="connsiteY1" fmla="*/ 1820723 h 5203954"/>
                  <a:gd name="connsiteX2" fmla="*/ 0 w 1234440"/>
                  <a:gd name="connsiteY2" fmla="*/ 1619555 h 5203954"/>
                  <a:gd name="connsiteX3" fmla="*/ 0 w 1234440"/>
                  <a:gd name="connsiteY3" fmla="*/ 63931 h 5203954"/>
                  <a:gd name="connsiteX4" fmla="*/ 457200 w 1234440"/>
                  <a:gd name="connsiteY4" fmla="*/ 10210 h 5203954"/>
                  <a:gd name="connsiteX5" fmla="*/ 429768 w 1234440"/>
                  <a:gd name="connsiteY5" fmla="*/ 567994 h 5203954"/>
                  <a:gd name="connsiteX6" fmla="*/ 648081 w 1234440"/>
                  <a:gd name="connsiteY6" fmla="*/ 714298 h 5203954"/>
                  <a:gd name="connsiteX7" fmla="*/ 1234440 w 1234440"/>
                  <a:gd name="connsiteY7" fmla="*/ 714298 h 5203954"/>
                  <a:gd name="connsiteX8" fmla="*/ 1234440 w 1234440"/>
                  <a:gd name="connsiteY8" fmla="*/ 714298 h 5203954"/>
                  <a:gd name="connsiteX9" fmla="*/ 1234440 w 1234440"/>
                  <a:gd name="connsiteY9" fmla="*/ 930578 h 5203954"/>
                  <a:gd name="connsiteX10" fmla="*/ 1234440 w 1234440"/>
                  <a:gd name="connsiteY10" fmla="*/ 930578 h 5203954"/>
                  <a:gd name="connsiteX11" fmla="*/ 648081 w 1234440"/>
                  <a:gd name="connsiteY11" fmla="*/ 930578 h 5203954"/>
                  <a:gd name="connsiteX12" fmla="*/ 408304 w 1234440"/>
                  <a:gd name="connsiteY12" fmla="*/ 1170355 h 5203954"/>
                  <a:gd name="connsiteX13" fmla="*/ 463168 w 1234440"/>
                  <a:gd name="connsiteY13" fmla="*/ 4920538 h 5203954"/>
                  <a:gd name="connsiteX14" fmla="*/ 384048 w 1234440"/>
                  <a:gd name="connsiteY14" fmla="*/ 4874817 h 5203954"/>
                  <a:gd name="connsiteX15" fmla="*/ 320040 w 1234440"/>
                  <a:gd name="connsiteY15" fmla="*/ 3814114 h 5203954"/>
                  <a:gd name="connsiteX16" fmla="*/ 274320 w 1234440"/>
                  <a:gd name="connsiteY16" fmla="*/ 2799131 h 5203954"/>
                  <a:gd name="connsiteX17" fmla="*/ 192024 w 1234440"/>
                  <a:gd name="connsiteY17" fmla="*/ 2707690 h 5203954"/>
                  <a:gd name="connsiteX0" fmla="*/ 192024 w 1234440"/>
                  <a:gd name="connsiteY0" fmla="*/ 2697480 h 5193744"/>
                  <a:gd name="connsiteX1" fmla="*/ 155448 w 1234440"/>
                  <a:gd name="connsiteY1" fmla="*/ 1810513 h 5193744"/>
                  <a:gd name="connsiteX2" fmla="*/ 0 w 1234440"/>
                  <a:gd name="connsiteY2" fmla="*/ 1609345 h 5193744"/>
                  <a:gd name="connsiteX3" fmla="*/ 0 w 1234440"/>
                  <a:gd name="connsiteY3" fmla="*/ 53721 h 5193744"/>
                  <a:gd name="connsiteX4" fmla="*/ 457200 w 1234440"/>
                  <a:gd name="connsiteY4" fmla="*/ 0 h 5193744"/>
                  <a:gd name="connsiteX5" fmla="*/ 429768 w 1234440"/>
                  <a:gd name="connsiteY5" fmla="*/ 557784 h 5193744"/>
                  <a:gd name="connsiteX6" fmla="*/ 648081 w 1234440"/>
                  <a:gd name="connsiteY6" fmla="*/ 704088 h 5193744"/>
                  <a:gd name="connsiteX7" fmla="*/ 1234440 w 1234440"/>
                  <a:gd name="connsiteY7" fmla="*/ 704088 h 5193744"/>
                  <a:gd name="connsiteX8" fmla="*/ 1234440 w 1234440"/>
                  <a:gd name="connsiteY8" fmla="*/ 704088 h 5193744"/>
                  <a:gd name="connsiteX9" fmla="*/ 1234440 w 1234440"/>
                  <a:gd name="connsiteY9" fmla="*/ 920368 h 5193744"/>
                  <a:gd name="connsiteX10" fmla="*/ 1234440 w 1234440"/>
                  <a:gd name="connsiteY10" fmla="*/ 920368 h 5193744"/>
                  <a:gd name="connsiteX11" fmla="*/ 648081 w 1234440"/>
                  <a:gd name="connsiteY11" fmla="*/ 920368 h 5193744"/>
                  <a:gd name="connsiteX12" fmla="*/ 408304 w 1234440"/>
                  <a:gd name="connsiteY12" fmla="*/ 1160145 h 5193744"/>
                  <a:gd name="connsiteX13" fmla="*/ 463168 w 1234440"/>
                  <a:gd name="connsiteY13" fmla="*/ 4910328 h 5193744"/>
                  <a:gd name="connsiteX14" fmla="*/ 384048 w 1234440"/>
                  <a:gd name="connsiteY14" fmla="*/ 4864607 h 5193744"/>
                  <a:gd name="connsiteX15" fmla="*/ 320040 w 1234440"/>
                  <a:gd name="connsiteY15" fmla="*/ 3803904 h 5193744"/>
                  <a:gd name="connsiteX16" fmla="*/ 274320 w 1234440"/>
                  <a:gd name="connsiteY16" fmla="*/ 2788921 h 5193744"/>
                  <a:gd name="connsiteX17" fmla="*/ 192024 w 1234440"/>
                  <a:gd name="connsiteY17" fmla="*/ 2697480 h 5193744"/>
                  <a:gd name="connsiteX0" fmla="*/ 192024 w 1234440"/>
                  <a:gd name="connsiteY0" fmla="*/ 2697480 h 5193744"/>
                  <a:gd name="connsiteX1" fmla="*/ 155448 w 1234440"/>
                  <a:gd name="connsiteY1" fmla="*/ 1810513 h 5193744"/>
                  <a:gd name="connsiteX2" fmla="*/ 0 w 1234440"/>
                  <a:gd name="connsiteY2" fmla="*/ 1609345 h 5193744"/>
                  <a:gd name="connsiteX3" fmla="*/ 0 w 1234440"/>
                  <a:gd name="connsiteY3" fmla="*/ 53721 h 5193744"/>
                  <a:gd name="connsiteX4" fmla="*/ 457200 w 1234440"/>
                  <a:gd name="connsiteY4" fmla="*/ 0 h 5193744"/>
                  <a:gd name="connsiteX5" fmla="*/ 429768 w 1234440"/>
                  <a:gd name="connsiteY5" fmla="*/ 557784 h 5193744"/>
                  <a:gd name="connsiteX6" fmla="*/ 648081 w 1234440"/>
                  <a:gd name="connsiteY6" fmla="*/ 704088 h 5193744"/>
                  <a:gd name="connsiteX7" fmla="*/ 1234440 w 1234440"/>
                  <a:gd name="connsiteY7" fmla="*/ 704088 h 5193744"/>
                  <a:gd name="connsiteX8" fmla="*/ 1234440 w 1234440"/>
                  <a:gd name="connsiteY8" fmla="*/ 704088 h 5193744"/>
                  <a:gd name="connsiteX9" fmla="*/ 1234440 w 1234440"/>
                  <a:gd name="connsiteY9" fmla="*/ 920368 h 5193744"/>
                  <a:gd name="connsiteX10" fmla="*/ 1234440 w 1234440"/>
                  <a:gd name="connsiteY10" fmla="*/ 920368 h 5193744"/>
                  <a:gd name="connsiteX11" fmla="*/ 648081 w 1234440"/>
                  <a:gd name="connsiteY11" fmla="*/ 920368 h 5193744"/>
                  <a:gd name="connsiteX12" fmla="*/ 408304 w 1234440"/>
                  <a:gd name="connsiteY12" fmla="*/ 1160145 h 5193744"/>
                  <a:gd name="connsiteX13" fmla="*/ 463168 w 1234440"/>
                  <a:gd name="connsiteY13" fmla="*/ 4910328 h 5193744"/>
                  <a:gd name="connsiteX14" fmla="*/ 384048 w 1234440"/>
                  <a:gd name="connsiteY14" fmla="*/ 4864607 h 5193744"/>
                  <a:gd name="connsiteX15" fmla="*/ 320040 w 1234440"/>
                  <a:gd name="connsiteY15" fmla="*/ 3803904 h 5193744"/>
                  <a:gd name="connsiteX16" fmla="*/ 274320 w 1234440"/>
                  <a:gd name="connsiteY16" fmla="*/ 2788921 h 5193744"/>
                  <a:gd name="connsiteX17" fmla="*/ 192024 w 1234440"/>
                  <a:gd name="connsiteY17" fmla="*/ 2697480 h 5193744"/>
                  <a:gd name="connsiteX0" fmla="*/ 192024 w 1234440"/>
                  <a:gd name="connsiteY0" fmla="*/ 2697480 h 4910328"/>
                  <a:gd name="connsiteX1" fmla="*/ 155448 w 1234440"/>
                  <a:gd name="connsiteY1" fmla="*/ 1810513 h 4910328"/>
                  <a:gd name="connsiteX2" fmla="*/ 0 w 1234440"/>
                  <a:gd name="connsiteY2" fmla="*/ 1609345 h 4910328"/>
                  <a:gd name="connsiteX3" fmla="*/ 0 w 1234440"/>
                  <a:gd name="connsiteY3" fmla="*/ 53721 h 4910328"/>
                  <a:gd name="connsiteX4" fmla="*/ 457200 w 1234440"/>
                  <a:gd name="connsiteY4" fmla="*/ 0 h 4910328"/>
                  <a:gd name="connsiteX5" fmla="*/ 429768 w 1234440"/>
                  <a:gd name="connsiteY5" fmla="*/ 557784 h 4910328"/>
                  <a:gd name="connsiteX6" fmla="*/ 648081 w 1234440"/>
                  <a:gd name="connsiteY6" fmla="*/ 704088 h 4910328"/>
                  <a:gd name="connsiteX7" fmla="*/ 1234440 w 1234440"/>
                  <a:gd name="connsiteY7" fmla="*/ 704088 h 4910328"/>
                  <a:gd name="connsiteX8" fmla="*/ 1234440 w 1234440"/>
                  <a:gd name="connsiteY8" fmla="*/ 704088 h 4910328"/>
                  <a:gd name="connsiteX9" fmla="*/ 1234440 w 1234440"/>
                  <a:gd name="connsiteY9" fmla="*/ 920368 h 4910328"/>
                  <a:gd name="connsiteX10" fmla="*/ 1234440 w 1234440"/>
                  <a:gd name="connsiteY10" fmla="*/ 920368 h 4910328"/>
                  <a:gd name="connsiteX11" fmla="*/ 648081 w 1234440"/>
                  <a:gd name="connsiteY11" fmla="*/ 920368 h 4910328"/>
                  <a:gd name="connsiteX12" fmla="*/ 408304 w 1234440"/>
                  <a:gd name="connsiteY12" fmla="*/ 1160145 h 4910328"/>
                  <a:gd name="connsiteX13" fmla="*/ 463168 w 1234440"/>
                  <a:gd name="connsiteY13" fmla="*/ 4910328 h 4910328"/>
                  <a:gd name="connsiteX14" fmla="*/ 384048 w 1234440"/>
                  <a:gd name="connsiteY14" fmla="*/ 4864607 h 4910328"/>
                  <a:gd name="connsiteX15" fmla="*/ 320040 w 1234440"/>
                  <a:gd name="connsiteY15" fmla="*/ 3803904 h 4910328"/>
                  <a:gd name="connsiteX16" fmla="*/ 274320 w 1234440"/>
                  <a:gd name="connsiteY16" fmla="*/ 2788921 h 4910328"/>
                  <a:gd name="connsiteX17" fmla="*/ 192024 w 1234440"/>
                  <a:gd name="connsiteY17" fmla="*/ 2697480 h 4910328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57200 w 1234440"/>
                  <a:gd name="connsiteY4" fmla="*/ 65151 h 4975479"/>
                  <a:gd name="connsiteX5" fmla="*/ 429768 w 1234440"/>
                  <a:gd name="connsiteY5" fmla="*/ 622935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70632 h 4983480"/>
                  <a:gd name="connsiteX1" fmla="*/ 155448 w 1234440"/>
                  <a:gd name="connsiteY1" fmla="*/ 1883665 h 4983480"/>
                  <a:gd name="connsiteX2" fmla="*/ 0 w 1234440"/>
                  <a:gd name="connsiteY2" fmla="*/ 1682497 h 4983480"/>
                  <a:gd name="connsiteX3" fmla="*/ 9144 w 1234440"/>
                  <a:gd name="connsiteY3" fmla="*/ 8001 h 4983480"/>
                  <a:gd name="connsiteX4" fmla="*/ 484632 w 1234440"/>
                  <a:gd name="connsiteY4" fmla="*/ 0 h 4983480"/>
                  <a:gd name="connsiteX5" fmla="*/ 429768 w 1234440"/>
                  <a:gd name="connsiteY5" fmla="*/ 630936 h 4983480"/>
                  <a:gd name="connsiteX6" fmla="*/ 648081 w 1234440"/>
                  <a:gd name="connsiteY6" fmla="*/ 777240 h 4983480"/>
                  <a:gd name="connsiteX7" fmla="*/ 1234440 w 1234440"/>
                  <a:gd name="connsiteY7" fmla="*/ 777240 h 4983480"/>
                  <a:gd name="connsiteX8" fmla="*/ 1234440 w 1234440"/>
                  <a:gd name="connsiteY8" fmla="*/ 777240 h 4983480"/>
                  <a:gd name="connsiteX9" fmla="*/ 1234440 w 1234440"/>
                  <a:gd name="connsiteY9" fmla="*/ 993520 h 4983480"/>
                  <a:gd name="connsiteX10" fmla="*/ 1234440 w 1234440"/>
                  <a:gd name="connsiteY10" fmla="*/ 993520 h 4983480"/>
                  <a:gd name="connsiteX11" fmla="*/ 648081 w 1234440"/>
                  <a:gd name="connsiteY11" fmla="*/ 993520 h 4983480"/>
                  <a:gd name="connsiteX12" fmla="*/ 408304 w 1234440"/>
                  <a:gd name="connsiteY12" fmla="*/ 1233297 h 4983480"/>
                  <a:gd name="connsiteX13" fmla="*/ 463168 w 1234440"/>
                  <a:gd name="connsiteY13" fmla="*/ 4983480 h 4983480"/>
                  <a:gd name="connsiteX14" fmla="*/ 384048 w 1234440"/>
                  <a:gd name="connsiteY14" fmla="*/ 4937759 h 4983480"/>
                  <a:gd name="connsiteX15" fmla="*/ 320040 w 1234440"/>
                  <a:gd name="connsiteY15" fmla="*/ 3877056 h 4983480"/>
                  <a:gd name="connsiteX16" fmla="*/ 274320 w 1234440"/>
                  <a:gd name="connsiteY16" fmla="*/ 2862073 h 4983480"/>
                  <a:gd name="connsiteX17" fmla="*/ 192024 w 1234440"/>
                  <a:gd name="connsiteY17" fmla="*/ 2770632 h 4983480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29768 w 1234440"/>
                  <a:gd name="connsiteY4" fmla="*/ 1143 h 4975479"/>
                  <a:gd name="connsiteX5" fmla="*/ 429768 w 1234440"/>
                  <a:gd name="connsiteY5" fmla="*/ 622935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29768 w 1234440"/>
                  <a:gd name="connsiteY4" fmla="*/ 1143 h 4975479"/>
                  <a:gd name="connsiteX5" fmla="*/ 469962 w 1234440"/>
                  <a:gd name="connsiteY5" fmla="*/ 632984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69962 w 1234440"/>
                  <a:gd name="connsiteY5" fmla="*/ 632984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607863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607863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607863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607863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607863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583149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583149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69961 w 1234440"/>
                  <a:gd name="connsiteY4" fmla="*/ 16215 h 4975479"/>
                  <a:gd name="connsiteX5" fmla="*/ 474986 w 1234440"/>
                  <a:gd name="connsiteY5" fmla="*/ 565497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62631 h 4975479"/>
                  <a:gd name="connsiteX1" fmla="*/ 155448 w 1234440"/>
                  <a:gd name="connsiteY1" fmla="*/ 1875664 h 4975479"/>
                  <a:gd name="connsiteX2" fmla="*/ 0 w 1234440"/>
                  <a:gd name="connsiteY2" fmla="*/ 1674496 h 4975479"/>
                  <a:gd name="connsiteX3" fmla="*/ 9144 w 1234440"/>
                  <a:gd name="connsiteY3" fmla="*/ 0 h 4975479"/>
                  <a:gd name="connsiteX4" fmla="*/ 480553 w 1234440"/>
                  <a:gd name="connsiteY4" fmla="*/ 5623 h 4975479"/>
                  <a:gd name="connsiteX5" fmla="*/ 474986 w 1234440"/>
                  <a:gd name="connsiteY5" fmla="*/ 565497 h 4975479"/>
                  <a:gd name="connsiteX6" fmla="*/ 648081 w 1234440"/>
                  <a:gd name="connsiteY6" fmla="*/ 769239 h 4975479"/>
                  <a:gd name="connsiteX7" fmla="*/ 1234440 w 1234440"/>
                  <a:gd name="connsiteY7" fmla="*/ 769239 h 4975479"/>
                  <a:gd name="connsiteX8" fmla="*/ 1234440 w 1234440"/>
                  <a:gd name="connsiteY8" fmla="*/ 769239 h 4975479"/>
                  <a:gd name="connsiteX9" fmla="*/ 1234440 w 1234440"/>
                  <a:gd name="connsiteY9" fmla="*/ 985519 h 4975479"/>
                  <a:gd name="connsiteX10" fmla="*/ 1234440 w 1234440"/>
                  <a:gd name="connsiteY10" fmla="*/ 985519 h 4975479"/>
                  <a:gd name="connsiteX11" fmla="*/ 648081 w 1234440"/>
                  <a:gd name="connsiteY11" fmla="*/ 985519 h 4975479"/>
                  <a:gd name="connsiteX12" fmla="*/ 408304 w 1234440"/>
                  <a:gd name="connsiteY12" fmla="*/ 1225296 h 4975479"/>
                  <a:gd name="connsiteX13" fmla="*/ 463168 w 1234440"/>
                  <a:gd name="connsiteY13" fmla="*/ 4975479 h 4975479"/>
                  <a:gd name="connsiteX14" fmla="*/ 384048 w 1234440"/>
                  <a:gd name="connsiteY14" fmla="*/ 4929758 h 4975479"/>
                  <a:gd name="connsiteX15" fmla="*/ 320040 w 1234440"/>
                  <a:gd name="connsiteY15" fmla="*/ 3869055 h 4975479"/>
                  <a:gd name="connsiteX16" fmla="*/ 274320 w 1234440"/>
                  <a:gd name="connsiteY16" fmla="*/ 2854072 h 4975479"/>
                  <a:gd name="connsiteX17" fmla="*/ 192024 w 1234440"/>
                  <a:gd name="connsiteY17" fmla="*/ 2762631 h 4975479"/>
                  <a:gd name="connsiteX0" fmla="*/ 192024 w 1234440"/>
                  <a:gd name="connsiteY0" fmla="*/ 2757008 h 4969856"/>
                  <a:gd name="connsiteX1" fmla="*/ 155448 w 1234440"/>
                  <a:gd name="connsiteY1" fmla="*/ 1870041 h 4969856"/>
                  <a:gd name="connsiteX2" fmla="*/ 0 w 1234440"/>
                  <a:gd name="connsiteY2" fmla="*/ 1668873 h 4969856"/>
                  <a:gd name="connsiteX3" fmla="*/ 9144 w 1234440"/>
                  <a:gd name="connsiteY3" fmla="*/ 1438 h 4969856"/>
                  <a:gd name="connsiteX4" fmla="*/ 480553 w 1234440"/>
                  <a:gd name="connsiteY4" fmla="*/ 0 h 4969856"/>
                  <a:gd name="connsiteX5" fmla="*/ 474986 w 1234440"/>
                  <a:gd name="connsiteY5" fmla="*/ 559874 h 4969856"/>
                  <a:gd name="connsiteX6" fmla="*/ 648081 w 1234440"/>
                  <a:gd name="connsiteY6" fmla="*/ 763616 h 4969856"/>
                  <a:gd name="connsiteX7" fmla="*/ 1234440 w 1234440"/>
                  <a:gd name="connsiteY7" fmla="*/ 763616 h 4969856"/>
                  <a:gd name="connsiteX8" fmla="*/ 1234440 w 1234440"/>
                  <a:gd name="connsiteY8" fmla="*/ 763616 h 4969856"/>
                  <a:gd name="connsiteX9" fmla="*/ 1234440 w 1234440"/>
                  <a:gd name="connsiteY9" fmla="*/ 979896 h 4969856"/>
                  <a:gd name="connsiteX10" fmla="*/ 1234440 w 1234440"/>
                  <a:gd name="connsiteY10" fmla="*/ 979896 h 4969856"/>
                  <a:gd name="connsiteX11" fmla="*/ 648081 w 1234440"/>
                  <a:gd name="connsiteY11" fmla="*/ 979896 h 4969856"/>
                  <a:gd name="connsiteX12" fmla="*/ 408304 w 1234440"/>
                  <a:gd name="connsiteY12" fmla="*/ 1219673 h 4969856"/>
                  <a:gd name="connsiteX13" fmla="*/ 463168 w 1234440"/>
                  <a:gd name="connsiteY13" fmla="*/ 4969856 h 4969856"/>
                  <a:gd name="connsiteX14" fmla="*/ 384048 w 1234440"/>
                  <a:gd name="connsiteY14" fmla="*/ 4924135 h 4969856"/>
                  <a:gd name="connsiteX15" fmla="*/ 320040 w 1234440"/>
                  <a:gd name="connsiteY15" fmla="*/ 3863432 h 4969856"/>
                  <a:gd name="connsiteX16" fmla="*/ 274320 w 1234440"/>
                  <a:gd name="connsiteY16" fmla="*/ 2848449 h 4969856"/>
                  <a:gd name="connsiteX17" fmla="*/ 192024 w 1234440"/>
                  <a:gd name="connsiteY17" fmla="*/ 2757008 h 4969856"/>
                  <a:gd name="connsiteX0" fmla="*/ 182880 w 1225296"/>
                  <a:gd name="connsiteY0" fmla="*/ 2757008 h 4969856"/>
                  <a:gd name="connsiteX1" fmla="*/ 146304 w 1225296"/>
                  <a:gd name="connsiteY1" fmla="*/ 1870041 h 4969856"/>
                  <a:gd name="connsiteX2" fmla="*/ 132076 w 1225296"/>
                  <a:gd name="connsiteY2" fmla="*/ 1637099 h 4969856"/>
                  <a:gd name="connsiteX3" fmla="*/ 0 w 1225296"/>
                  <a:gd name="connsiteY3" fmla="*/ 1438 h 4969856"/>
                  <a:gd name="connsiteX4" fmla="*/ 471409 w 1225296"/>
                  <a:gd name="connsiteY4" fmla="*/ 0 h 4969856"/>
                  <a:gd name="connsiteX5" fmla="*/ 465842 w 1225296"/>
                  <a:gd name="connsiteY5" fmla="*/ 559874 h 4969856"/>
                  <a:gd name="connsiteX6" fmla="*/ 638937 w 1225296"/>
                  <a:gd name="connsiteY6" fmla="*/ 763616 h 4969856"/>
                  <a:gd name="connsiteX7" fmla="*/ 1225296 w 1225296"/>
                  <a:gd name="connsiteY7" fmla="*/ 763616 h 4969856"/>
                  <a:gd name="connsiteX8" fmla="*/ 1225296 w 1225296"/>
                  <a:gd name="connsiteY8" fmla="*/ 763616 h 4969856"/>
                  <a:gd name="connsiteX9" fmla="*/ 1225296 w 1225296"/>
                  <a:gd name="connsiteY9" fmla="*/ 979896 h 4969856"/>
                  <a:gd name="connsiteX10" fmla="*/ 1225296 w 1225296"/>
                  <a:gd name="connsiteY10" fmla="*/ 979896 h 4969856"/>
                  <a:gd name="connsiteX11" fmla="*/ 638937 w 1225296"/>
                  <a:gd name="connsiteY11" fmla="*/ 979896 h 4969856"/>
                  <a:gd name="connsiteX12" fmla="*/ 399160 w 1225296"/>
                  <a:gd name="connsiteY12" fmla="*/ 1219673 h 4969856"/>
                  <a:gd name="connsiteX13" fmla="*/ 454024 w 1225296"/>
                  <a:gd name="connsiteY13" fmla="*/ 4969856 h 4969856"/>
                  <a:gd name="connsiteX14" fmla="*/ 374904 w 1225296"/>
                  <a:gd name="connsiteY14" fmla="*/ 4924135 h 4969856"/>
                  <a:gd name="connsiteX15" fmla="*/ 310896 w 1225296"/>
                  <a:gd name="connsiteY15" fmla="*/ 3863432 h 4969856"/>
                  <a:gd name="connsiteX16" fmla="*/ 265176 w 1225296"/>
                  <a:gd name="connsiteY16" fmla="*/ 2848449 h 4969856"/>
                  <a:gd name="connsiteX17" fmla="*/ 182880 w 1225296"/>
                  <a:gd name="connsiteY17" fmla="*/ 2757008 h 4969856"/>
                  <a:gd name="connsiteX0" fmla="*/ 188494 w 1230910"/>
                  <a:gd name="connsiteY0" fmla="*/ 2757008 h 4969856"/>
                  <a:gd name="connsiteX1" fmla="*/ 151918 w 1230910"/>
                  <a:gd name="connsiteY1" fmla="*/ 1870041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88494 w 1230910"/>
                  <a:gd name="connsiteY17" fmla="*/ 2757008 h 4969856"/>
                  <a:gd name="connsiteX0" fmla="*/ 188494 w 1230910"/>
                  <a:gd name="connsiteY0" fmla="*/ 2757008 h 4969856"/>
                  <a:gd name="connsiteX1" fmla="*/ 151918 w 1230910"/>
                  <a:gd name="connsiteY1" fmla="*/ 1870041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88494 w 1230910"/>
                  <a:gd name="connsiteY17" fmla="*/ 2757008 h 4969856"/>
                  <a:gd name="connsiteX0" fmla="*/ 234391 w 1230910"/>
                  <a:gd name="connsiteY0" fmla="*/ 2636971 h 4969856"/>
                  <a:gd name="connsiteX1" fmla="*/ 151918 w 1230910"/>
                  <a:gd name="connsiteY1" fmla="*/ 1870041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234391 w 1230910"/>
                  <a:gd name="connsiteY17" fmla="*/ 2636971 h 4969856"/>
                  <a:gd name="connsiteX0" fmla="*/ 170842 w 1230910"/>
                  <a:gd name="connsiteY0" fmla="*/ 2545178 h 4969856"/>
                  <a:gd name="connsiteX1" fmla="*/ 151918 w 1230910"/>
                  <a:gd name="connsiteY1" fmla="*/ 1870041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45178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45178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45178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45178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0790 w 1230910"/>
                  <a:gd name="connsiteY16" fmla="*/ 2848449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45178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306095 w 1230910"/>
                  <a:gd name="connsiteY16" fmla="*/ 2834327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45178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45178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316510 w 1230910"/>
                  <a:gd name="connsiteY15" fmla="*/ 3863432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447139 w 1230910"/>
                  <a:gd name="connsiteY15" fmla="*/ 3701028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288266 w 1230910"/>
                  <a:gd name="connsiteY15" fmla="*/ 3665723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288266 w 1230910"/>
                  <a:gd name="connsiteY15" fmla="*/ 3665723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288266 w 1230910"/>
                  <a:gd name="connsiteY15" fmla="*/ 3665723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274144 w 1230910"/>
                  <a:gd name="connsiteY15" fmla="*/ 3658662 h 4969856"/>
                  <a:gd name="connsiteX16" fmla="*/ 277851 w 1230910"/>
                  <a:gd name="connsiteY16" fmla="*/ 2728411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274144 w 1230910"/>
                  <a:gd name="connsiteY15" fmla="*/ 3658662 h 4969856"/>
                  <a:gd name="connsiteX16" fmla="*/ 270790 w 1230910"/>
                  <a:gd name="connsiteY16" fmla="*/ 2742533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9856"/>
                  <a:gd name="connsiteX1" fmla="*/ 169571 w 1230910"/>
                  <a:gd name="connsiteY1" fmla="*/ 1873572 h 4969856"/>
                  <a:gd name="connsiteX2" fmla="*/ 0 w 1230910"/>
                  <a:gd name="connsiteY2" fmla="*/ 1640630 h 4969856"/>
                  <a:gd name="connsiteX3" fmla="*/ 5614 w 1230910"/>
                  <a:gd name="connsiteY3" fmla="*/ 1438 h 4969856"/>
                  <a:gd name="connsiteX4" fmla="*/ 477023 w 1230910"/>
                  <a:gd name="connsiteY4" fmla="*/ 0 h 4969856"/>
                  <a:gd name="connsiteX5" fmla="*/ 471456 w 1230910"/>
                  <a:gd name="connsiteY5" fmla="*/ 559874 h 4969856"/>
                  <a:gd name="connsiteX6" fmla="*/ 644551 w 1230910"/>
                  <a:gd name="connsiteY6" fmla="*/ 763616 h 4969856"/>
                  <a:gd name="connsiteX7" fmla="*/ 1230910 w 1230910"/>
                  <a:gd name="connsiteY7" fmla="*/ 763616 h 4969856"/>
                  <a:gd name="connsiteX8" fmla="*/ 1230910 w 1230910"/>
                  <a:gd name="connsiteY8" fmla="*/ 763616 h 4969856"/>
                  <a:gd name="connsiteX9" fmla="*/ 1230910 w 1230910"/>
                  <a:gd name="connsiteY9" fmla="*/ 979896 h 4969856"/>
                  <a:gd name="connsiteX10" fmla="*/ 1230910 w 1230910"/>
                  <a:gd name="connsiteY10" fmla="*/ 979896 h 4969856"/>
                  <a:gd name="connsiteX11" fmla="*/ 644551 w 1230910"/>
                  <a:gd name="connsiteY11" fmla="*/ 979896 h 4969856"/>
                  <a:gd name="connsiteX12" fmla="*/ 404774 w 1230910"/>
                  <a:gd name="connsiteY12" fmla="*/ 1219673 h 4969856"/>
                  <a:gd name="connsiteX13" fmla="*/ 459638 w 1230910"/>
                  <a:gd name="connsiteY13" fmla="*/ 4969856 h 4969856"/>
                  <a:gd name="connsiteX14" fmla="*/ 380518 w 1230910"/>
                  <a:gd name="connsiteY14" fmla="*/ 4924135 h 4969856"/>
                  <a:gd name="connsiteX15" fmla="*/ 274144 w 1230910"/>
                  <a:gd name="connsiteY15" fmla="*/ 3658662 h 4969856"/>
                  <a:gd name="connsiteX16" fmla="*/ 270790 w 1230910"/>
                  <a:gd name="connsiteY16" fmla="*/ 2742533 h 4969856"/>
                  <a:gd name="connsiteX17" fmla="*/ 170842 w 1230910"/>
                  <a:gd name="connsiteY17" fmla="*/ 2580483 h 4969856"/>
                  <a:gd name="connsiteX0" fmla="*/ 170842 w 1230910"/>
                  <a:gd name="connsiteY0" fmla="*/ 2580483 h 4960712"/>
                  <a:gd name="connsiteX1" fmla="*/ 169571 w 1230910"/>
                  <a:gd name="connsiteY1" fmla="*/ 1873572 h 4960712"/>
                  <a:gd name="connsiteX2" fmla="*/ 0 w 1230910"/>
                  <a:gd name="connsiteY2" fmla="*/ 1640630 h 4960712"/>
                  <a:gd name="connsiteX3" fmla="*/ 5614 w 1230910"/>
                  <a:gd name="connsiteY3" fmla="*/ 1438 h 4960712"/>
                  <a:gd name="connsiteX4" fmla="*/ 477023 w 1230910"/>
                  <a:gd name="connsiteY4" fmla="*/ 0 h 4960712"/>
                  <a:gd name="connsiteX5" fmla="*/ 471456 w 1230910"/>
                  <a:gd name="connsiteY5" fmla="*/ 559874 h 4960712"/>
                  <a:gd name="connsiteX6" fmla="*/ 644551 w 1230910"/>
                  <a:gd name="connsiteY6" fmla="*/ 763616 h 4960712"/>
                  <a:gd name="connsiteX7" fmla="*/ 1230910 w 1230910"/>
                  <a:gd name="connsiteY7" fmla="*/ 763616 h 4960712"/>
                  <a:gd name="connsiteX8" fmla="*/ 1230910 w 1230910"/>
                  <a:gd name="connsiteY8" fmla="*/ 763616 h 4960712"/>
                  <a:gd name="connsiteX9" fmla="*/ 1230910 w 1230910"/>
                  <a:gd name="connsiteY9" fmla="*/ 979896 h 4960712"/>
                  <a:gd name="connsiteX10" fmla="*/ 1230910 w 1230910"/>
                  <a:gd name="connsiteY10" fmla="*/ 979896 h 4960712"/>
                  <a:gd name="connsiteX11" fmla="*/ 644551 w 1230910"/>
                  <a:gd name="connsiteY11" fmla="*/ 979896 h 4960712"/>
                  <a:gd name="connsiteX12" fmla="*/ 404774 w 1230910"/>
                  <a:gd name="connsiteY12" fmla="*/ 1219673 h 4960712"/>
                  <a:gd name="connsiteX13" fmla="*/ 368198 w 1230910"/>
                  <a:gd name="connsiteY13" fmla="*/ 4960712 h 4960712"/>
                  <a:gd name="connsiteX14" fmla="*/ 380518 w 1230910"/>
                  <a:gd name="connsiteY14" fmla="*/ 4924135 h 4960712"/>
                  <a:gd name="connsiteX15" fmla="*/ 274144 w 1230910"/>
                  <a:gd name="connsiteY15" fmla="*/ 3658662 h 4960712"/>
                  <a:gd name="connsiteX16" fmla="*/ 270790 w 1230910"/>
                  <a:gd name="connsiteY16" fmla="*/ 2742533 h 4960712"/>
                  <a:gd name="connsiteX17" fmla="*/ 170842 w 1230910"/>
                  <a:gd name="connsiteY17" fmla="*/ 2580483 h 4960712"/>
                  <a:gd name="connsiteX0" fmla="*/ 170842 w 1230910"/>
                  <a:gd name="connsiteY0" fmla="*/ 2580483 h 4924136"/>
                  <a:gd name="connsiteX1" fmla="*/ 169571 w 1230910"/>
                  <a:gd name="connsiteY1" fmla="*/ 1873572 h 4924136"/>
                  <a:gd name="connsiteX2" fmla="*/ 0 w 1230910"/>
                  <a:gd name="connsiteY2" fmla="*/ 1640630 h 4924136"/>
                  <a:gd name="connsiteX3" fmla="*/ 5614 w 1230910"/>
                  <a:gd name="connsiteY3" fmla="*/ 1438 h 4924136"/>
                  <a:gd name="connsiteX4" fmla="*/ 477023 w 1230910"/>
                  <a:gd name="connsiteY4" fmla="*/ 0 h 4924136"/>
                  <a:gd name="connsiteX5" fmla="*/ 471456 w 1230910"/>
                  <a:gd name="connsiteY5" fmla="*/ 559874 h 4924136"/>
                  <a:gd name="connsiteX6" fmla="*/ 644551 w 1230910"/>
                  <a:gd name="connsiteY6" fmla="*/ 763616 h 4924136"/>
                  <a:gd name="connsiteX7" fmla="*/ 1230910 w 1230910"/>
                  <a:gd name="connsiteY7" fmla="*/ 763616 h 4924136"/>
                  <a:gd name="connsiteX8" fmla="*/ 1230910 w 1230910"/>
                  <a:gd name="connsiteY8" fmla="*/ 763616 h 4924136"/>
                  <a:gd name="connsiteX9" fmla="*/ 1230910 w 1230910"/>
                  <a:gd name="connsiteY9" fmla="*/ 979896 h 4924136"/>
                  <a:gd name="connsiteX10" fmla="*/ 1230910 w 1230910"/>
                  <a:gd name="connsiteY10" fmla="*/ 979896 h 4924136"/>
                  <a:gd name="connsiteX11" fmla="*/ 644551 w 1230910"/>
                  <a:gd name="connsiteY11" fmla="*/ 979896 h 4924136"/>
                  <a:gd name="connsiteX12" fmla="*/ 404774 w 1230910"/>
                  <a:gd name="connsiteY12" fmla="*/ 1219673 h 4924136"/>
                  <a:gd name="connsiteX13" fmla="*/ 267614 w 1230910"/>
                  <a:gd name="connsiteY13" fmla="*/ 4924136 h 4924136"/>
                  <a:gd name="connsiteX14" fmla="*/ 380518 w 1230910"/>
                  <a:gd name="connsiteY14" fmla="*/ 4924135 h 4924136"/>
                  <a:gd name="connsiteX15" fmla="*/ 274144 w 1230910"/>
                  <a:gd name="connsiteY15" fmla="*/ 3658662 h 4924136"/>
                  <a:gd name="connsiteX16" fmla="*/ 270790 w 1230910"/>
                  <a:gd name="connsiteY16" fmla="*/ 2742533 h 4924136"/>
                  <a:gd name="connsiteX17" fmla="*/ 170842 w 1230910"/>
                  <a:gd name="connsiteY17" fmla="*/ 2580483 h 4924136"/>
                  <a:gd name="connsiteX0" fmla="*/ 170842 w 1230910"/>
                  <a:gd name="connsiteY0" fmla="*/ 2580483 h 4924135"/>
                  <a:gd name="connsiteX1" fmla="*/ 169571 w 1230910"/>
                  <a:gd name="connsiteY1" fmla="*/ 1873572 h 4924135"/>
                  <a:gd name="connsiteX2" fmla="*/ 0 w 1230910"/>
                  <a:gd name="connsiteY2" fmla="*/ 1640630 h 4924135"/>
                  <a:gd name="connsiteX3" fmla="*/ 5614 w 1230910"/>
                  <a:gd name="connsiteY3" fmla="*/ 1438 h 4924135"/>
                  <a:gd name="connsiteX4" fmla="*/ 477023 w 1230910"/>
                  <a:gd name="connsiteY4" fmla="*/ 0 h 4924135"/>
                  <a:gd name="connsiteX5" fmla="*/ 471456 w 1230910"/>
                  <a:gd name="connsiteY5" fmla="*/ 559874 h 4924135"/>
                  <a:gd name="connsiteX6" fmla="*/ 644551 w 1230910"/>
                  <a:gd name="connsiteY6" fmla="*/ 763616 h 4924135"/>
                  <a:gd name="connsiteX7" fmla="*/ 1230910 w 1230910"/>
                  <a:gd name="connsiteY7" fmla="*/ 763616 h 4924135"/>
                  <a:gd name="connsiteX8" fmla="*/ 1230910 w 1230910"/>
                  <a:gd name="connsiteY8" fmla="*/ 763616 h 4924135"/>
                  <a:gd name="connsiteX9" fmla="*/ 1230910 w 1230910"/>
                  <a:gd name="connsiteY9" fmla="*/ 979896 h 4924135"/>
                  <a:gd name="connsiteX10" fmla="*/ 1230910 w 1230910"/>
                  <a:gd name="connsiteY10" fmla="*/ 979896 h 4924135"/>
                  <a:gd name="connsiteX11" fmla="*/ 644551 w 1230910"/>
                  <a:gd name="connsiteY11" fmla="*/ 979896 h 4924135"/>
                  <a:gd name="connsiteX12" fmla="*/ 404774 w 1230910"/>
                  <a:gd name="connsiteY12" fmla="*/ 1219673 h 4924135"/>
                  <a:gd name="connsiteX13" fmla="*/ 468782 w 1230910"/>
                  <a:gd name="connsiteY13" fmla="*/ 4860128 h 4924135"/>
                  <a:gd name="connsiteX14" fmla="*/ 380518 w 1230910"/>
                  <a:gd name="connsiteY14" fmla="*/ 4924135 h 4924135"/>
                  <a:gd name="connsiteX15" fmla="*/ 274144 w 1230910"/>
                  <a:gd name="connsiteY15" fmla="*/ 3658662 h 4924135"/>
                  <a:gd name="connsiteX16" fmla="*/ 270790 w 1230910"/>
                  <a:gd name="connsiteY16" fmla="*/ 2742533 h 4924135"/>
                  <a:gd name="connsiteX17" fmla="*/ 170842 w 1230910"/>
                  <a:gd name="connsiteY17" fmla="*/ 2580483 h 4924135"/>
                  <a:gd name="connsiteX0" fmla="*/ 170842 w 1230910"/>
                  <a:gd name="connsiteY0" fmla="*/ 2580483 h 4924135"/>
                  <a:gd name="connsiteX1" fmla="*/ 169571 w 1230910"/>
                  <a:gd name="connsiteY1" fmla="*/ 1873572 h 4924135"/>
                  <a:gd name="connsiteX2" fmla="*/ 0 w 1230910"/>
                  <a:gd name="connsiteY2" fmla="*/ 1640630 h 4924135"/>
                  <a:gd name="connsiteX3" fmla="*/ 5614 w 1230910"/>
                  <a:gd name="connsiteY3" fmla="*/ 1438 h 4924135"/>
                  <a:gd name="connsiteX4" fmla="*/ 477023 w 1230910"/>
                  <a:gd name="connsiteY4" fmla="*/ 0 h 4924135"/>
                  <a:gd name="connsiteX5" fmla="*/ 471456 w 1230910"/>
                  <a:gd name="connsiteY5" fmla="*/ 559874 h 4924135"/>
                  <a:gd name="connsiteX6" fmla="*/ 644551 w 1230910"/>
                  <a:gd name="connsiteY6" fmla="*/ 763616 h 4924135"/>
                  <a:gd name="connsiteX7" fmla="*/ 1230910 w 1230910"/>
                  <a:gd name="connsiteY7" fmla="*/ 763616 h 4924135"/>
                  <a:gd name="connsiteX8" fmla="*/ 1230910 w 1230910"/>
                  <a:gd name="connsiteY8" fmla="*/ 763616 h 4924135"/>
                  <a:gd name="connsiteX9" fmla="*/ 1230910 w 1230910"/>
                  <a:gd name="connsiteY9" fmla="*/ 979896 h 4924135"/>
                  <a:gd name="connsiteX10" fmla="*/ 1230910 w 1230910"/>
                  <a:gd name="connsiteY10" fmla="*/ 979896 h 4924135"/>
                  <a:gd name="connsiteX11" fmla="*/ 644551 w 1230910"/>
                  <a:gd name="connsiteY11" fmla="*/ 979896 h 4924135"/>
                  <a:gd name="connsiteX12" fmla="*/ 404774 w 1230910"/>
                  <a:gd name="connsiteY12" fmla="*/ 1219673 h 4924135"/>
                  <a:gd name="connsiteX13" fmla="*/ 377342 w 1230910"/>
                  <a:gd name="connsiteY13" fmla="*/ 3643976 h 4924135"/>
                  <a:gd name="connsiteX14" fmla="*/ 380518 w 1230910"/>
                  <a:gd name="connsiteY14" fmla="*/ 4924135 h 4924135"/>
                  <a:gd name="connsiteX15" fmla="*/ 274144 w 1230910"/>
                  <a:gd name="connsiteY15" fmla="*/ 3658662 h 4924135"/>
                  <a:gd name="connsiteX16" fmla="*/ 270790 w 1230910"/>
                  <a:gd name="connsiteY16" fmla="*/ 2742533 h 4924135"/>
                  <a:gd name="connsiteX17" fmla="*/ 170842 w 1230910"/>
                  <a:gd name="connsiteY17" fmla="*/ 2580483 h 4924135"/>
                  <a:gd name="connsiteX0" fmla="*/ 170842 w 1230910"/>
                  <a:gd name="connsiteY0" fmla="*/ 2580483 h 4924135"/>
                  <a:gd name="connsiteX1" fmla="*/ 169571 w 1230910"/>
                  <a:gd name="connsiteY1" fmla="*/ 1873572 h 4924135"/>
                  <a:gd name="connsiteX2" fmla="*/ 0 w 1230910"/>
                  <a:gd name="connsiteY2" fmla="*/ 1640630 h 4924135"/>
                  <a:gd name="connsiteX3" fmla="*/ 5614 w 1230910"/>
                  <a:gd name="connsiteY3" fmla="*/ 1438 h 4924135"/>
                  <a:gd name="connsiteX4" fmla="*/ 477023 w 1230910"/>
                  <a:gd name="connsiteY4" fmla="*/ 0 h 4924135"/>
                  <a:gd name="connsiteX5" fmla="*/ 471456 w 1230910"/>
                  <a:gd name="connsiteY5" fmla="*/ 559874 h 4924135"/>
                  <a:gd name="connsiteX6" fmla="*/ 644551 w 1230910"/>
                  <a:gd name="connsiteY6" fmla="*/ 763616 h 4924135"/>
                  <a:gd name="connsiteX7" fmla="*/ 1230910 w 1230910"/>
                  <a:gd name="connsiteY7" fmla="*/ 763616 h 4924135"/>
                  <a:gd name="connsiteX8" fmla="*/ 1230910 w 1230910"/>
                  <a:gd name="connsiteY8" fmla="*/ 763616 h 4924135"/>
                  <a:gd name="connsiteX9" fmla="*/ 1230910 w 1230910"/>
                  <a:gd name="connsiteY9" fmla="*/ 979896 h 4924135"/>
                  <a:gd name="connsiteX10" fmla="*/ 1230910 w 1230910"/>
                  <a:gd name="connsiteY10" fmla="*/ 979896 h 4924135"/>
                  <a:gd name="connsiteX11" fmla="*/ 644551 w 1230910"/>
                  <a:gd name="connsiteY11" fmla="*/ 979896 h 4924135"/>
                  <a:gd name="connsiteX12" fmla="*/ 404774 w 1230910"/>
                  <a:gd name="connsiteY12" fmla="*/ 1219673 h 4924135"/>
                  <a:gd name="connsiteX13" fmla="*/ 349910 w 1230910"/>
                  <a:gd name="connsiteY13" fmla="*/ 3643976 h 4924135"/>
                  <a:gd name="connsiteX14" fmla="*/ 380518 w 1230910"/>
                  <a:gd name="connsiteY14" fmla="*/ 4924135 h 4924135"/>
                  <a:gd name="connsiteX15" fmla="*/ 274144 w 1230910"/>
                  <a:gd name="connsiteY15" fmla="*/ 3658662 h 4924135"/>
                  <a:gd name="connsiteX16" fmla="*/ 270790 w 1230910"/>
                  <a:gd name="connsiteY16" fmla="*/ 2742533 h 4924135"/>
                  <a:gd name="connsiteX17" fmla="*/ 170842 w 1230910"/>
                  <a:gd name="connsiteY17" fmla="*/ 2580483 h 4924135"/>
                  <a:gd name="connsiteX0" fmla="*/ 170842 w 1230910"/>
                  <a:gd name="connsiteY0" fmla="*/ 2580483 h 4924135"/>
                  <a:gd name="connsiteX1" fmla="*/ 169571 w 1230910"/>
                  <a:gd name="connsiteY1" fmla="*/ 1873572 h 4924135"/>
                  <a:gd name="connsiteX2" fmla="*/ 0 w 1230910"/>
                  <a:gd name="connsiteY2" fmla="*/ 1640630 h 4924135"/>
                  <a:gd name="connsiteX3" fmla="*/ 5614 w 1230910"/>
                  <a:gd name="connsiteY3" fmla="*/ 1438 h 4924135"/>
                  <a:gd name="connsiteX4" fmla="*/ 477023 w 1230910"/>
                  <a:gd name="connsiteY4" fmla="*/ 0 h 4924135"/>
                  <a:gd name="connsiteX5" fmla="*/ 471456 w 1230910"/>
                  <a:gd name="connsiteY5" fmla="*/ 559874 h 4924135"/>
                  <a:gd name="connsiteX6" fmla="*/ 644551 w 1230910"/>
                  <a:gd name="connsiteY6" fmla="*/ 763616 h 4924135"/>
                  <a:gd name="connsiteX7" fmla="*/ 1230910 w 1230910"/>
                  <a:gd name="connsiteY7" fmla="*/ 763616 h 4924135"/>
                  <a:gd name="connsiteX8" fmla="*/ 1230910 w 1230910"/>
                  <a:gd name="connsiteY8" fmla="*/ 763616 h 4924135"/>
                  <a:gd name="connsiteX9" fmla="*/ 1230910 w 1230910"/>
                  <a:gd name="connsiteY9" fmla="*/ 979896 h 4924135"/>
                  <a:gd name="connsiteX10" fmla="*/ 1230910 w 1230910"/>
                  <a:gd name="connsiteY10" fmla="*/ 979896 h 4924135"/>
                  <a:gd name="connsiteX11" fmla="*/ 644551 w 1230910"/>
                  <a:gd name="connsiteY11" fmla="*/ 979896 h 4924135"/>
                  <a:gd name="connsiteX12" fmla="*/ 404774 w 1230910"/>
                  <a:gd name="connsiteY12" fmla="*/ 1219673 h 4924135"/>
                  <a:gd name="connsiteX13" fmla="*/ 368198 w 1230910"/>
                  <a:gd name="connsiteY13" fmla="*/ 3643976 h 4924135"/>
                  <a:gd name="connsiteX14" fmla="*/ 380518 w 1230910"/>
                  <a:gd name="connsiteY14" fmla="*/ 4924135 h 4924135"/>
                  <a:gd name="connsiteX15" fmla="*/ 274144 w 1230910"/>
                  <a:gd name="connsiteY15" fmla="*/ 3658662 h 4924135"/>
                  <a:gd name="connsiteX16" fmla="*/ 270790 w 1230910"/>
                  <a:gd name="connsiteY16" fmla="*/ 2742533 h 4924135"/>
                  <a:gd name="connsiteX17" fmla="*/ 170842 w 1230910"/>
                  <a:gd name="connsiteY17" fmla="*/ 2580483 h 4924135"/>
                  <a:gd name="connsiteX0" fmla="*/ 170842 w 1230910"/>
                  <a:gd name="connsiteY0" fmla="*/ 2580483 h 3868108"/>
                  <a:gd name="connsiteX1" fmla="*/ 169571 w 1230910"/>
                  <a:gd name="connsiteY1" fmla="*/ 1873572 h 3868108"/>
                  <a:gd name="connsiteX2" fmla="*/ 0 w 1230910"/>
                  <a:gd name="connsiteY2" fmla="*/ 1640630 h 3868108"/>
                  <a:gd name="connsiteX3" fmla="*/ 5614 w 1230910"/>
                  <a:gd name="connsiteY3" fmla="*/ 1438 h 3868108"/>
                  <a:gd name="connsiteX4" fmla="*/ 477023 w 1230910"/>
                  <a:gd name="connsiteY4" fmla="*/ 0 h 3868108"/>
                  <a:gd name="connsiteX5" fmla="*/ 471456 w 1230910"/>
                  <a:gd name="connsiteY5" fmla="*/ 559874 h 3868108"/>
                  <a:gd name="connsiteX6" fmla="*/ 644551 w 1230910"/>
                  <a:gd name="connsiteY6" fmla="*/ 763616 h 3868108"/>
                  <a:gd name="connsiteX7" fmla="*/ 1230910 w 1230910"/>
                  <a:gd name="connsiteY7" fmla="*/ 763616 h 3868108"/>
                  <a:gd name="connsiteX8" fmla="*/ 1230910 w 1230910"/>
                  <a:gd name="connsiteY8" fmla="*/ 763616 h 3868108"/>
                  <a:gd name="connsiteX9" fmla="*/ 1230910 w 1230910"/>
                  <a:gd name="connsiteY9" fmla="*/ 979896 h 3868108"/>
                  <a:gd name="connsiteX10" fmla="*/ 1230910 w 1230910"/>
                  <a:gd name="connsiteY10" fmla="*/ 979896 h 3868108"/>
                  <a:gd name="connsiteX11" fmla="*/ 644551 w 1230910"/>
                  <a:gd name="connsiteY11" fmla="*/ 979896 h 3868108"/>
                  <a:gd name="connsiteX12" fmla="*/ 404774 w 1230910"/>
                  <a:gd name="connsiteY12" fmla="*/ 1219673 h 3868108"/>
                  <a:gd name="connsiteX13" fmla="*/ 368198 w 1230910"/>
                  <a:gd name="connsiteY13" fmla="*/ 3643976 h 3868108"/>
                  <a:gd name="connsiteX14" fmla="*/ 274144 w 1230910"/>
                  <a:gd name="connsiteY14" fmla="*/ 3658662 h 3868108"/>
                  <a:gd name="connsiteX15" fmla="*/ 270790 w 1230910"/>
                  <a:gd name="connsiteY15" fmla="*/ 2742533 h 3868108"/>
                  <a:gd name="connsiteX16" fmla="*/ 170842 w 1230910"/>
                  <a:gd name="connsiteY16" fmla="*/ 2580483 h 3868108"/>
                  <a:gd name="connsiteX0" fmla="*/ 170842 w 1230910"/>
                  <a:gd name="connsiteY0" fmla="*/ 2580483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368198 w 1230910"/>
                  <a:gd name="connsiteY13" fmla="*/ 3643976 h 3658662"/>
                  <a:gd name="connsiteX14" fmla="*/ 274144 w 1230910"/>
                  <a:gd name="connsiteY14" fmla="*/ 3658662 h 3658662"/>
                  <a:gd name="connsiteX15" fmla="*/ 270790 w 1230910"/>
                  <a:gd name="connsiteY15" fmla="*/ 2742533 h 3658662"/>
                  <a:gd name="connsiteX16" fmla="*/ 170842 w 1230910"/>
                  <a:gd name="connsiteY16" fmla="*/ 2580483 h 3658662"/>
                  <a:gd name="connsiteX0" fmla="*/ 170842 w 1230910"/>
                  <a:gd name="connsiteY0" fmla="*/ 2580483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13918 w 1230910"/>
                  <a:gd name="connsiteY13" fmla="*/ 3643976 h 3658662"/>
                  <a:gd name="connsiteX14" fmla="*/ 274144 w 1230910"/>
                  <a:gd name="connsiteY14" fmla="*/ 3658662 h 3658662"/>
                  <a:gd name="connsiteX15" fmla="*/ 270790 w 1230910"/>
                  <a:gd name="connsiteY15" fmla="*/ 2742533 h 3658662"/>
                  <a:gd name="connsiteX16" fmla="*/ 170842 w 1230910"/>
                  <a:gd name="connsiteY16" fmla="*/ 2580483 h 3658662"/>
                  <a:gd name="connsiteX0" fmla="*/ 170842 w 1230910"/>
                  <a:gd name="connsiteY0" fmla="*/ 2580483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4 w 1230910"/>
                  <a:gd name="connsiteY13" fmla="*/ 3643976 h 3658662"/>
                  <a:gd name="connsiteX14" fmla="*/ 274144 w 1230910"/>
                  <a:gd name="connsiteY14" fmla="*/ 3658662 h 3658662"/>
                  <a:gd name="connsiteX15" fmla="*/ 270790 w 1230910"/>
                  <a:gd name="connsiteY15" fmla="*/ 2742533 h 3658662"/>
                  <a:gd name="connsiteX16" fmla="*/ 170842 w 1230910"/>
                  <a:gd name="connsiteY16" fmla="*/ 2580483 h 3658662"/>
                  <a:gd name="connsiteX0" fmla="*/ 161698 w 1230910"/>
                  <a:gd name="connsiteY0" fmla="*/ 2562195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4 w 1230910"/>
                  <a:gd name="connsiteY13" fmla="*/ 3643976 h 3658662"/>
                  <a:gd name="connsiteX14" fmla="*/ 274144 w 1230910"/>
                  <a:gd name="connsiteY14" fmla="*/ 3658662 h 3658662"/>
                  <a:gd name="connsiteX15" fmla="*/ 270790 w 1230910"/>
                  <a:gd name="connsiteY15" fmla="*/ 2742533 h 3658662"/>
                  <a:gd name="connsiteX16" fmla="*/ 161698 w 1230910"/>
                  <a:gd name="connsiteY16" fmla="*/ 2562195 h 3658662"/>
                  <a:gd name="connsiteX0" fmla="*/ 161698 w 1230910"/>
                  <a:gd name="connsiteY0" fmla="*/ 2562195 h 3674121"/>
                  <a:gd name="connsiteX1" fmla="*/ 169571 w 1230910"/>
                  <a:gd name="connsiteY1" fmla="*/ 1873572 h 3674121"/>
                  <a:gd name="connsiteX2" fmla="*/ 0 w 1230910"/>
                  <a:gd name="connsiteY2" fmla="*/ 1640630 h 3674121"/>
                  <a:gd name="connsiteX3" fmla="*/ 5614 w 1230910"/>
                  <a:gd name="connsiteY3" fmla="*/ 1438 h 3674121"/>
                  <a:gd name="connsiteX4" fmla="*/ 477023 w 1230910"/>
                  <a:gd name="connsiteY4" fmla="*/ 0 h 3674121"/>
                  <a:gd name="connsiteX5" fmla="*/ 471456 w 1230910"/>
                  <a:gd name="connsiteY5" fmla="*/ 559874 h 3674121"/>
                  <a:gd name="connsiteX6" fmla="*/ 644551 w 1230910"/>
                  <a:gd name="connsiteY6" fmla="*/ 763616 h 3674121"/>
                  <a:gd name="connsiteX7" fmla="*/ 1230910 w 1230910"/>
                  <a:gd name="connsiteY7" fmla="*/ 763616 h 3674121"/>
                  <a:gd name="connsiteX8" fmla="*/ 1230910 w 1230910"/>
                  <a:gd name="connsiteY8" fmla="*/ 763616 h 3674121"/>
                  <a:gd name="connsiteX9" fmla="*/ 1230910 w 1230910"/>
                  <a:gd name="connsiteY9" fmla="*/ 979896 h 3674121"/>
                  <a:gd name="connsiteX10" fmla="*/ 1230910 w 1230910"/>
                  <a:gd name="connsiteY10" fmla="*/ 979896 h 3674121"/>
                  <a:gd name="connsiteX11" fmla="*/ 644551 w 1230910"/>
                  <a:gd name="connsiteY11" fmla="*/ 979896 h 3674121"/>
                  <a:gd name="connsiteX12" fmla="*/ 404774 w 1230910"/>
                  <a:gd name="connsiteY12" fmla="*/ 1219673 h 3674121"/>
                  <a:gd name="connsiteX13" fmla="*/ 409798 w 1230910"/>
                  <a:gd name="connsiteY13" fmla="*/ 3674121 h 3674121"/>
                  <a:gd name="connsiteX14" fmla="*/ 274144 w 1230910"/>
                  <a:gd name="connsiteY14" fmla="*/ 3658662 h 3674121"/>
                  <a:gd name="connsiteX15" fmla="*/ 270790 w 1230910"/>
                  <a:gd name="connsiteY15" fmla="*/ 2742533 h 3674121"/>
                  <a:gd name="connsiteX16" fmla="*/ 161698 w 1230910"/>
                  <a:gd name="connsiteY16" fmla="*/ 2562195 h 3674121"/>
                  <a:gd name="connsiteX0" fmla="*/ 161698 w 1230910"/>
                  <a:gd name="connsiteY0" fmla="*/ 2562195 h 3669097"/>
                  <a:gd name="connsiteX1" fmla="*/ 169571 w 1230910"/>
                  <a:gd name="connsiteY1" fmla="*/ 1873572 h 3669097"/>
                  <a:gd name="connsiteX2" fmla="*/ 0 w 1230910"/>
                  <a:gd name="connsiteY2" fmla="*/ 1640630 h 3669097"/>
                  <a:gd name="connsiteX3" fmla="*/ 5614 w 1230910"/>
                  <a:gd name="connsiteY3" fmla="*/ 1438 h 3669097"/>
                  <a:gd name="connsiteX4" fmla="*/ 477023 w 1230910"/>
                  <a:gd name="connsiteY4" fmla="*/ 0 h 3669097"/>
                  <a:gd name="connsiteX5" fmla="*/ 471456 w 1230910"/>
                  <a:gd name="connsiteY5" fmla="*/ 559874 h 3669097"/>
                  <a:gd name="connsiteX6" fmla="*/ 644551 w 1230910"/>
                  <a:gd name="connsiteY6" fmla="*/ 763616 h 3669097"/>
                  <a:gd name="connsiteX7" fmla="*/ 1230910 w 1230910"/>
                  <a:gd name="connsiteY7" fmla="*/ 763616 h 3669097"/>
                  <a:gd name="connsiteX8" fmla="*/ 1230910 w 1230910"/>
                  <a:gd name="connsiteY8" fmla="*/ 763616 h 3669097"/>
                  <a:gd name="connsiteX9" fmla="*/ 1230910 w 1230910"/>
                  <a:gd name="connsiteY9" fmla="*/ 979896 h 3669097"/>
                  <a:gd name="connsiteX10" fmla="*/ 1230910 w 1230910"/>
                  <a:gd name="connsiteY10" fmla="*/ 979896 h 3669097"/>
                  <a:gd name="connsiteX11" fmla="*/ 644551 w 1230910"/>
                  <a:gd name="connsiteY11" fmla="*/ 979896 h 3669097"/>
                  <a:gd name="connsiteX12" fmla="*/ 404774 w 1230910"/>
                  <a:gd name="connsiteY12" fmla="*/ 1219673 h 3669097"/>
                  <a:gd name="connsiteX13" fmla="*/ 409798 w 1230910"/>
                  <a:gd name="connsiteY13" fmla="*/ 3669097 h 3669097"/>
                  <a:gd name="connsiteX14" fmla="*/ 274144 w 1230910"/>
                  <a:gd name="connsiteY14" fmla="*/ 3658662 h 3669097"/>
                  <a:gd name="connsiteX15" fmla="*/ 270790 w 1230910"/>
                  <a:gd name="connsiteY15" fmla="*/ 2742533 h 3669097"/>
                  <a:gd name="connsiteX16" fmla="*/ 161698 w 1230910"/>
                  <a:gd name="connsiteY16" fmla="*/ 2562195 h 3669097"/>
                  <a:gd name="connsiteX0" fmla="*/ 161698 w 1230910"/>
                  <a:gd name="connsiteY0" fmla="*/ 2562195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274144 w 1230910"/>
                  <a:gd name="connsiteY14" fmla="*/ 3658662 h 3658662"/>
                  <a:gd name="connsiteX15" fmla="*/ 270790 w 1230910"/>
                  <a:gd name="connsiteY15" fmla="*/ 2742533 h 3658662"/>
                  <a:gd name="connsiteX16" fmla="*/ 161698 w 1230910"/>
                  <a:gd name="connsiteY16" fmla="*/ 2562195 h 3658662"/>
                  <a:gd name="connsiteX0" fmla="*/ 161698 w 1230910"/>
                  <a:gd name="connsiteY0" fmla="*/ 2562195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342736 w 1230910"/>
                  <a:gd name="connsiteY14" fmla="*/ 3611620 h 3658662"/>
                  <a:gd name="connsiteX15" fmla="*/ 274144 w 1230910"/>
                  <a:gd name="connsiteY15" fmla="*/ 3658662 h 3658662"/>
                  <a:gd name="connsiteX16" fmla="*/ 270790 w 1230910"/>
                  <a:gd name="connsiteY16" fmla="*/ 2742533 h 3658662"/>
                  <a:gd name="connsiteX17" fmla="*/ 161698 w 1230910"/>
                  <a:gd name="connsiteY17" fmla="*/ 2562195 h 3658662"/>
                  <a:gd name="connsiteX0" fmla="*/ 156674 w 1230910"/>
                  <a:gd name="connsiteY0" fmla="*/ 2562195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342736 w 1230910"/>
                  <a:gd name="connsiteY14" fmla="*/ 3611620 h 3658662"/>
                  <a:gd name="connsiteX15" fmla="*/ 274144 w 1230910"/>
                  <a:gd name="connsiteY15" fmla="*/ 3658662 h 3658662"/>
                  <a:gd name="connsiteX16" fmla="*/ 270790 w 1230910"/>
                  <a:gd name="connsiteY16" fmla="*/ 2742533 h 3658662"/>
                  <a:gd name="connsiteX17" fmla="*/ 156674 w 1230910"/>
                  <a:gd name="connsiteY17" fmla="*/ 2562195 h 3658662"/>
                  <a:gd name="connsiteX0" fmla="*/ 176770 w 1230910"/>
                  <a:gd name="connsiteY0" fmla="*/ 2557171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342736 w 1230910"/>
                  <a:gd name="connsiteY14" fmla="*/ 3611620 h 3658662"/>
                  <a:gd name="connsiteX15" fmla="*/ 274144 w 1230910"/>
                  <a:gd name="connsiteY15" fmla="*/ 3658662 h 3658662"/>
                  <a:gd name="connsiteX16" fmla="*/ 270790 w 1230910"/>
                  <a:gd name="connsiteY16" fmla="*/ 2742533 h 3658662"/>
                  <a:gd name="connsiteX17" fmla="*/ 176770 w 1230910"/>
                  <a:gd name="connsiteY17" fmla="*/ 2557171 h 3658662"/>
                  <a:gd name="connsiteX0" fmla="*/ 166722 w 1230910"/>
                  <a:gd name="connsiteY0" fmla="*/ 2567220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77023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342736 w 1230910"/>
                  <a:gd name="connsiteY14" fmla="*/ 3611620 h 3658662"/>
                  <a:gd name="connsiteX15" fmla="*/ 274144 w 1230910"/>
                  <a:gd name="connsiteY15" fmla="*/ 3658662 h 3658662"/>
                  <a:gd name="connsiteX16" fmla="*/ 270790 w 1230910"/>
                  <a:gd name="connsiteY16" fmla="*/ 2742533 h 3658662"/>
                  <a:gd name="connsiteX17" fmla="*/ 166722 w 1230910"/>
                  <a:gd name="connsiteY17" fmla="*/ 2567220 h 3658662"/>
                  <a:gd name="connsiteX0" fmla="*/ 166722 w 1230910"/>
                  <a:gd name="connsiteY0" fmla="*/ 2565782 h 3657224"/>
                  <a:gd name="connsiteX1" fmla="*/ 169571 w 1230910"/>
                  <a:gd name="connsiteY1" fmla="*/ 1872134 h 3657224"/>
                  <a:gd name="connsiteX2" fmla="*/ 0 w 1230910"/>
                  <a:gd name="connsiteY2" fmla="*/ 1639192 h 3657224"/>
                  <a:gd name="connsiteX3" fmla="*/ 5614 w 1230910"/>
                  <a:gd name="connsiteY3" fmla="*/ 0 h 3657224"/>
                  <a:gd name="connsiteX4" fmla="*/ 477023 w 1230910"/>
                  <a:gd name="connsiteY4" fmla="*/ 18659 h 3657224"/>
                  <a:gd name="connsiteX5" fmla="*/ 471456 w 1230910"/>
                  <a:gd name="connsiteY5" fmla="*/ 558436 h 3657224"/>
                  <a:gd name="connsiteX6" fmla="*/ 644551 w 1230910"/>
                  <a:gd name="connsiteY6" fmla="*/ 762178 h 3657224"/>
                  <a:gd name="connsiteX7" fmla="*/ 1230910 w 1230910"/>
                  <a:gd name="connsiteY7" fmla="*/ 762178 h 3657224"/>
                  <a:gd name="connsiteX8" fmla="*/ 1230910 w 1230910"/>
                  <a:gd name="connsiteY8" fmla="*/ 762178 h 3657224"/>
                  <a:gd name="connsiteX9" fmla="*/ 1230910 w 1230910"/>
                  <a:gd name="connsiteY9" fmla="*/ 978458 h 3657224"/>
                  <a:gd name="connsiteX10" fmla="*/ 1230910 w 1230910"/>
                  <a:gd name="connsiteY10" fmla="*/ 978458 h 3657224"/>
                  <a:gd name="connsiteX11" fmla="*/ 644551 w 1230910"/>
                  <a:gd name="connsiteY11" fmla="*/ 978458 h 3657224"/>
                  <a:gd name="connsiteX12" fmla="*/ 404774 w 1230910"/>
                  <a:gd name="connsiteY12" fmla="*/ 1218235 h 3657224"/>
                  <a:gd name="connsiteX13" fmla="*/ 404773 w 1230910"/>
                  <a:gd name="connsiteY13" fmla="*/ 3647563 h 3657224"/>
                  <a:gd name="connsiteX14" fmla="*/ 342736 w 1230910"/>
                  <a:gd name="connsiteY14" fmla="*/ 3610182 h 3657224"/>
                  <a:gd name="connsiteX15" fmla="*/ 274144 w 1230910"/>
                  <a:gd name="connsiteY15" fmla="*/ 3657224 h 3657224"/>
                  <a:gd name="connsiteX16" fmla="*/ 270790 w 1230910"/>
                  <a:gd name="connsiteY16" fmla="*/ 2741095 h 3657224"/>
                  <a:gd name="connsiteX17" fmla="*/ 166722 w 1230910"/>
                  <a:gd name="connsiteY17" fmla="*/ 2565782 h 3657224"/>
                  <a:gd name="connsiteX0" fmla="*/ 166722 w 1230910"/>
                  <a:gd name="connsiteY0" fmla="*/ 2565782 h 3657224"/>
                  <a:gd name="connsiteX1" fmla="*/ 169571 w 1230910"/>
                  <a:gd name="connsiteY1" fmla="*/ 1872134 h 3657224"/>
                  <a:gd name="connsiteX2" fmla="*/ 0 w 1230910"/>
                  <a:gd name="connsiteY2" fmla="*/ 1639192 h 3657224"/>
                  <a:gd name="connsiteX3" fmla="*/ 5614 w 1230910"/>
                  <a:gd name="connsiteY3" fmla="*/ 0 h 3657224"/>
                  <a:gd name="connsiteX4" fmla="*/ 461950 w 1230910"/>
                  <a:gd name="connsiteY4" fmla="*/ 8610 h 3657224"/>
                  <a:gd name="connsiteX5" fmla="*/ 471456 w 1230910"/>
                  <a:gd name="connsiteY5" fmla="*/ 558436 h 3657224"/>
                  <a:gd name="connsiteX6" fmla="*/ 644551 w 1230910"/>
                  <a:gd name="connsiteY6" fmla="*/ 762178 h 3657224"/>
                  <a:gd name="connsiteX7" fmla="*/ 1230910 w 1230910"/>
                  <a:gd name="connsiteY7" fmla="*/ 762178 h 3657224"/>
                  <a:gd name="connsiteX8" fmla="*/ 1230910 w 1230910"/>
                  <a:gd name="connsiteY8" fmla="*/ 762178 h 3657224"/>
                  <a:gd name="connsiteX9" fmla="*/ 1230910 w 1230910"/>
                  <a:gd name="connsiteY9" fmla="*/ 978458 h 3657224"/>
                  <a:gd name="connsiteX10" fmla="*/ 1230910 w 1230910"/>
                  <a:gd name="connsiteY10" fmla="*/ 978458 h 3657224"/>
                  <a:gd name="connsiteX11" fmla="*/ 644551 w 1230910"/>
                  <a:gd name="connsiteY11" fmla="*/ 978458 h 3657224"/>
                  <a:gd name="connsiteX12" fmla="*/ 404774 w 1230910"/>
                  <a:gd name="connsiteY12" fmla="*/ 1218235 h 3657224"/>
                  <a:gd name="connsiteX13" fmla="*/ 404773 w 1230910"/>
                  <a:gd name="connsiteY13" fmla="*/ 3647563 h 3657224"/>
                  <a:gd name="connsiteX14" fmla="*/ 342736 w 1230910"/>
                  <a:gd name="connsiteY14" fmla="*/ 3610182 h 3657224"/>
                  <a:gd name="connsiteX15" fmla="*/ 274144 w 1230910"/>
                  <a:gd name="connsiteY15" fmla="*/ 3657224 h 3657224"/>
                  <a:gd name="connsiteX16" fmla="*/ 270790 w 1230910"/>
                  <a:gd name="connsiteY16" fmla="*/ 2741095 h 3657224"/>
                  <a:gd name="connsiteX17" fmla="*/ 166722 w 1230910"/>
                  <a:gd name="connsiteY17" fmla="*/ 2565782 h 3657224"/>
                  <a:gd name="connsiteX0" fmla="*/ 166722 w 1230910"/>
                  <a:gd name="connsiteY0" fmla="*/ 2567220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61950 w 1230910"/>
                  <a:gd name="connsiteY4" fmla="*/ 0 h 3658662"/>
                  <a:gd name="connsiteX5" fmla="*/ 471456 w 1230910"/>
                  <a:gd name="connsiteY5" fmla="*/ 5598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342736 w 1230910"/>
                  <a:gd name="connsiteY14" fmla="*/ 3611620 h 3658662"/>
                  <a:gd name="connsiteX15" fmla="*/ 274144 w 1230910"/>
                  <a:gd name="connsiteY15" fmla="*/ 3658662 h 3658662"/>
                  <a:gd name="connsiteX16" fmla="*/ 270790 w 1230910"/>
                  <a:gd name="connsiteY16" fmla="*/ 2742533 h 3658662"/>
                  <a:gd name="connsiteX17" fmla="*/ 166722 w 1230910"/>
                  <a:gd name="connsiteY17" fmla="*/ 2567220 h 3658662"/>
                  <a:gd name="connsiteX0" fmla="*/ 166722 w 1230910"/>
                  <a:gd name="connsiteY0" fmla="*/ 2567220 h 3658662"/>
                  <a:gd name="connsiteX1" fmla="*/ 169571 w 1230910"/>
                  <a:gd name="connsiteY1" fmla="*/ 1873572 h 3658662"/>
                  <a:gd name="connsiteX2" fmla="*/ 0 w 1230910"/>
                  <a:gd name="connsiteY2" fmla="*/ 1640630 h 3658662"/>
                  <a:gd name="connsiteX3" fmla="*/ 5614 w 1230910"/>
                  <a:gd name="connsiteY3" fmla="*/ 1438 h 3658662"/>
                  <a:gd name="connsiteX4" fmla="*/ 461950 w 1230910"/>
                  <a:gd name="connsiteY4" fmla="*/ 0 h 3658662"/>
                  <a:gd name="connsiteX5" fmla="*/ 471456 w 1230910"/>
                  <a:gd name="connsiteY5" fmla="*/ 597974 h 3658662"/>
                  <a:gd name="connsiteX6" fmla="*/ 644551 w 1230910"/>
                  <a:gd name="connsiteY6" fmla="*/ 763616 h 3658662"/>
                  <a:gd name="connsiteX7" fmla="*/ 1230910 w 1230910"/>
                  <a:gd name="connsiteY7" fmla="*/ 763616 h 3658662"/>
                  <a:gd name="connsiteX8" fmla="*/ 1230910 w 1230910"/>
                  <a:gd name="connsiteY8" fmla="*/ 763616 h 3658662"/>
                  <a:gd name="connsiteX9" fmla="*/ 1230910 w 1230910"/>
                  <a:gd name="connsiteY9" fmla="*/ 979896 h 3658662"/>
                  <a:gd name="connsiteX10" fmla="*/ 1230910 w 1230910"/>
                  <a:gd name="connsiteY10" fmla="*/ 979896 h 3658662"/>
                  <a:gd name="connsiteX11" fmla="*/ 644551 w 1230910"/>
                  <a:gd name="connsiteY11" fmla="*/ 979896 h 3658662"/>
                  <a:gd name="connsiteX12" fmla="*/ 404774 w 1230910"/>
                  <a:gd name="connsiteY12" fmla="*/ 1219673 h 3658662"/>
                  <a:gd name="connsiteX13" fmla="*/ 404773 w 1230910"/>
                  <a:gd name="connsiteY13" fmla="*/ 3649001 h 3658662"/>
                  <a:gd name="connsiteX14" fmla="*/ 342736 w 1230910"/>
                  <a:gd name="connsiteY14" fmla="*/ 3611620 h 3658662"/>
                  <a:gd name="connsiteX15" fmla="*/ 274144 w 1230910"/>
                  <a:gd name="connsiteY15" fmla="*/ 3658662 h 3658662"/>
                  <a:gd name="connsiteX16" fmla="*/ 270790 w 1230910"/>
                  <a:gd name="connsiteY16" fmla="*/ 2742533 h 3658662"/>
                  <a:gd name="connsiteX17" fmla="*/ 166722 w 1230910"/>
                  <a:gd name="connsiteY17" fmla="*/ 2567220 h 3658662"/>
                  <a:gd name="connsiteX0" fmla="*/ 166722 w 1230910"/>
                  <a:gd name="connsiteY0" fmla="*/ 2565782 h 3657224"/>
                  <a:gd name="connsiteX1" fmla="*/ 169571 w 1230910"/>
                  <a:gd name="connsiteY1" fmla="*/ 1872134 h 3657224"/>
                  <a:gd name="connsiteX2" fmla="*/ 0 w 1230910"/>
                  <a:gd name="connsiteY2" fmla="*/ 1639192 h 3657224"/>
                  <a:gd name="connsiteX3" fmla="*/ 5614 w 1230910"/>
                  <a:gd name="connsiteY3" fmla="*/ 0 h 3657224"/>
                  <a:gd name="connsiteX4" fmla="*/ 469570 w 1230910"/>
                  <a:gd name="connsiteY4" fmla="*/ 2372 h 3657224"/>
                  <a:gd name="connsiteX5" fmla="*/ 471456 w 1230910"/>
                  <a:gd name="connsiteY5" fmla="*/ 596536 h 3657224"/>
                  <a:gd name="connsiteX6" fmla="*/ 644551 w 1230910"/>
                  <a:gd name="connsiteY6" fmla="*/ 762178 h 3657224"/>
                  <a:gd name="connsiteX7" fmla="*/ 1230910 w 1230910"/>
                  <a:gd name="connsiteY7" fmla="*/ 762178 h 3657224"/>
                  <a:gd name="connsiteX8" fmla="*/ 1230910 w 1230910"/>
                  <a:gd name="connsiteY8" fmla="*/ 762178 h 3657224"/>
                  <a:gd name="connsiteX9" fmla="*/ 1230910 w 1230910"/>
                  <a:gd name="connsiteY9" fmla="*/ 978458 h 3657224"/>
                  <a:gd name="connsiteX10" fmla="*/ 1230910 w 1230910"/>
                  <a:gd name="connsiteY10" fmla="*/ 978458 h 3657224"/>
                  <a:gd name="connsiteX11" fmla="*/ 644551 w 1230910"/>
                  <a:gd name="connsiteY11" fmla="*/ 978458 h 3657224"/>
                  <a:gd name="connsiteX12" fmla="*/ 404774 w 1230910"/>
                  <a:gd name="connsiteY12" fmla="*/ 1218235 h 3657224"/>
                  <a:gd name="connsiteX13" fmla="*/ 404773 w 1230910"/>
                  <a:gd name="connsiteY13" fmla="*/ 3647563 h 3657224"/>
                  <a:gd name="connsiteX14" fmla="*/ 342736 w 1230910"/>
                  <a:gd name="connsiteY14" fmla="*/ 3610182 h 3657224"/>
                  <a:gd name="connsiteX15" fmla="*/ 274144 w 1230910"/>
                  <a:gd name="connsiteY15" fmla="*/ 3657224 h 3657224"/>
                  <a:gd name="connsiteX16" fmla="*/ 270790 w 1230910"/>
                  <a:gd name="connsiteY16" fmla="*/ 2741095 h 3657224"/>
                  <a:gd name="connsiteX17" fmla="*/ 166722 w 1230910"/>
                  <a:gd name="connsiteY17" fmla="*/ 2565782 h 3657224"/>
                  <a:gd name="connsiteX0" fmla="*/ 166722 w 1230910"/>
                  <a:gd name="connsiteY0" fmla="*/ 2565782 h 3657224"/>
                  <a:gd name="connsiteX1" fmla="*/ 169571 w 1230910"/>
                  <a:gd name="connsiteY1" fmla="*/ 1872134 h 3657224"/>
                  <a:gd name="connsiteX2" fmla="*/ 0 w 1230910"/>
                  <a:gd name="connsiteY2" fmla="*/ 1639192 h 3657224"/>
                  <a:gd name="connsiteX3" fmla="*/ 5614 w 1230910"/>
                  <a:gd name="connsiteY3" fmla="*/ 0 h 3657224"/>
                  <a:gd name="connsiteX4" fmla="*/ 473380 w 1230910"/>
                  <a:gd name="connsiteY4" fmla="*/ 6182 h 3657224"/>
                  <a:gd name="connsiteX5" fmla="*/ 471456 w 1230910"/>
                  <a:gd name="connsiteY5" fmla="*/ 596536 h 3657224"/>
                  <a:gd name="connsiteX6" fmla="*/ 644551 w 1230910"/>
                  <a:gd name="connsiteY6" fmla="*/ 762178 h 3657224"/>
                  <a:gd name="connsiteX7" fmla="*/ 1230910 w 1230910"/>
                  <a:gd name="connsiteY7" fmla="*/ 762178 h 3657224"/>
                  <a:gd name="connsiteX8" fmla="*/ 1230910 w 1230910"/>
                  <a:gd name="connsiteY8" fmla="*/ 762178 h 3657224"/>
                  <a:gd name="connsiteX9" fmla="*/ 1230910 w 1230910"/>
                  <a:gd name="connsiteY9" fmla="*/ 978458 h 3657224"/>
                  <a:gd name="connsiteX10" fmla="*/ 1230910 w 1230910"/>
                  <a:gd name="connsiteY10" fmla="*/ 978458 h 3657224"/>
                  <a:gd name="connsiteX11" fmla="*/ 644551 w 1230910"/>
                  <a:gd name="connsiteY11" fmla="*/ 978458 h 3657224"/>
                  <a:gd name="connsiteX12" fmla="*/ 404774 w 1230910"/>
                  <a:gd name="connsiteY12" fmla="*/ 1218235 h 3657224"/>
                  <a:gd name="connsiteX13" fmla="*/ 404773 w 1230910"/>
                  <a:gd name="connsiteY13" fmla="*/ 3647563 h 3657224"/>
                  <a:gd name="connsiteX14" fmla="*/ 342736 w 1230910"/>
                  <a:gd name="connsiteY14" fmla="*/ 3610182 h 3657224"/>
                  <a:gd name="connsiteX15" fmla="*/ 274144 w 1230910"/>
                  <a:gd name="connsiteY15" fmla="*/ 3657224 h 3657224"/>
                  <a:gd name="connsiteX16" fmla="*/ 270790 w 1230910"/>
                  <a:gd name="connsiteY16" fmla="*/ 2741095 h 3657224"/>
                  <a:gd name="connsiteX17" fmla="*/ 166722 w 1230910"/>
                  <a:gd name="connsiteY17" fmla="*/ 2565782 h 3657224"/>
                  <a:gd name="connsiteX0" fmla="*/ 166722 w 1230910"/>
                  <a:gd name="connsiteY0" fmla="*/ 2565782 h 3657224"/>
                  <a:gd name="connsiteX1" fmla="*/ 169571 w 1230910"/>
                  <a:gd name="connsiteY1" fmla="*/ 1872134 h 3657224"/>
                  <a:gd name="connsiteX2" fmla="*/ 0 w 1230910"/>
                  <a:gd name="connsiteY2" fmla="*/ 1639192 h 3657224"/>
                  <a:gd name="connsiteX3" fmla="*/ 5614 w 1230910"/>
                  <a:gd name="connsiteY3" fmla="*/ 0 h 3657224"/>
                  <a:gd name="connsiteX4" fmla="*/ 196114 w 1230910"/>
                  <a:gd name="connsiteY4" fmla="*/ 31420 h 3657224"/>
                  <a:gd name="connsiteX5" fmla="*/ 473380 w 1230910"/>
                  <a:gd name="connsiteY5" fmla="*/ 6182 h 3657224"/>
                  <a:gd name="connsiteX6" fmla="*/ 471456 w 1230910"/>
                  <a:gd name="connsiteY6" fmla="*/ 596536 h 3657224"/>
                  <a:gd name="connsiteX7" fmla="*/ 644551 w 1230910"/>
                  <a:gd name="connsiteY7" fmla="*/ 762178 h 3657224"/>
                  <a:gd name="connsiteX8" fmla="*/ 1230910 w 1230910"/>
                  <a:gd name="connsiteY8" fmla="*/ 762178 h 3657224"/>
                  <a:gd name="connsiteX9" fmla="*/ 1230910 w 1230910"/>
                  <a:gd name="connsiteY9" fmla="*/ 762178 h 3657224"/>
                  <a:gd name="connsiteX10" fmla="*/ 1230910 w 1230910"/>
                  <a:gd name="connsiteY10" fmla="*/ 978458 h 3657224"/>
                  <a:gd name="connsiteX11" fmla="*/ 1230910 w 1230910"/>
                  <a:gd name="connsiteY11" fmla="*/ 978458 h 3657224"/>
                  <a:gd name="connsiteX12" fmla="*/ 644551 w 1230910"/>
                  <a:gd name="connsiteY12" fmla="*/ 978458 h 3657224"/>
                  <a:gd name="connsiteX13" fmla="*/ 404774 w 1230910"/>
                  <a:gd name="connsiteY13" fmla="*/ 1218235 h 3657224"/>
                  <a:gd name="connsiteX14" fmla="*/ 404773 w 1230910"/>
                  <a:gd name="connsiteY14" fmla="*/ 3647563 h 3657224"/>
                  <a:gd name="connsiteX15" fmla="*/ 342736 w 1230910"/>
                  <a:gd name="connsiteY15" fmla="*/ 3610182 h 3657224"/>
                  <a:gd name="connsiteX16" fmla="*/ 274144 w 1230910"/>
                  <a:gd name="connsiteY16" fmla="*/ 3657224 h 3657224"/>
                  <a:gd name="connsiteX17" fmla="*/ 270790 w 1230910"/>
                  <a:gd name="connsiteY17" fmla="*/ 2741095 h 3657224"/>
                  <a:gd name="connsiteX18" fmla="*/ 166722 w 1230910"/>
                  <a:gd name="connsiteY18" fmla="*/ 2565782 h 3657224"/>
                  <a:gd name="connsiteX0" fmla="*/ 166722 w 1230910"/>
                  <a:gd name="connsiteY0" fmla="*/ 2572462 h 3663904"/>
                  <a:gd name="connsiteX1" fmla="*/ 169571 w 1230910"/>
                  <a:gd name="connsiteY1" fmla="*/ 1878814 h 3663904"/>
                  <a:gd name="connsiteX2" fmla="*/ 0 w 1230910"/>
                  <a:gd name="connsiteY2" fmla="*/ 1645872 h 3663904"/>
                  <a:gd name="connsiteX3" fmla="*/ 5614 w 1230910"/>
                  <a:gd name="connsiteY3" fmla="*/ 6680 h 3663904"/>
                  <a:gd name="connsiteX4" fmla="*/ 196114 w 1230910"/>
                  <a:gd name="connsiteY4" fmla="*/ 38100 h 3663904"/>
                  <a:gd name="connsiteX5" fmla="*/ 310414 w 1230910"/>
                  <a:gd name="connsiteY5" fmla="*/ 0 h 3663904"/>
                  <a:gd name="connsiteX6" fmla="*/ 473380 w 1230910"/>
                  <a:gd name="connsiteY6" fmla="*/ 12862 h 3663904"/>
                  <a:gd name="connsiteX7" fmla="*/ 471456 w 1230910"/>
                  <a:gd name="connsiteY7" fmla="*/ 603216 h 3663904"/>
                  <a:gd name="connsiteX8" fmla="*/ 644551 w 1230910"/>
                  <a:gd name="connsiteY8" fmla="*/ 768858 h 3663904"/>
                  <a:gd name="connsiteX9" fmla="*/ 1230910 w 1230910"/>
                  <a:gd name="connsiteY9" fmla="*/ 768858 h 3663904"/>
                  <a:gd name="connsiteX10" fmla="*/ 1230910 w 1230910"/>
                  <a:gd name="connsiteY10" fmla="*/ 768858 h 3663904"/>
                  <a:gd name="connsiteX11" fmla="*/ 1230910 w 1230910"/>
                  <a:gd name="connsiteY11" fmla="*/ 985138 h 3663904"/>
                  <a:gd name="connsiteX12" fmla="*/ 1230910 w 1230910"/>
                  <a:gd name="connsiteY12" fmla="*/ 985138 h 3663904"/>
                  <a:gd name="connsiteX13" fmla="*/ 644551 w 1230910"/>
                  <a:gd name="connsiteY13" fmla="*/ 985138 h 3663904"/>
                  <a:gd name="connsiteX14" fmla="*/ 404774 w 1230910"/>
                  <a:gd name="connsiteY14" fmla="*/ 1224915 h 3663904"/>
                  <a:gd name="connsiteX15" fmla="*/ 404773 w 1230910"/>
                  <a:gd name="connsiteY15" fmla="*/ 3654243 h 3663904"/>
                  <a:gd name="connsiteX16" fmla="*/ 342736 w 1230910"/>
                  <a:gd name="connsiteY16" fmla="*/ 3616862 h 3663904"/>
                  <a:gd name="connsiteX17" fmla="*/ 274144 w 1230910"/>
                  <a:gd name="connsiteY17" fmla="*/ 3663904 h 3663904"/>
                  <a:gd name="connsiteX18" fmla="*/ 270790 w 1230910"/>
                  <a:gd name="connsiteY18" fmla="*/ 2747775 h 3663904"/>
                  <a:gd name="connsiteX19" fmla="*/ 166722 w 1230910"/>
                  <a:gd name="connsiteY19" fmla="*/ 2572462 h 3663904"/>
                  <a:gd name="connsiteX0" fmla="*/ 166722 w 1486407"/>
                  <a:gd name="connsiteY0" fmla="*/ 2572462 h 3663904"/>
                  <a:gd name="connsiteX1" fmla="*/ 169571 w 1486407"/>
                  <a:gd name="connsiteY1" fmla="*/ 1878814 h 3663904"/>
                  <a:gd name="connsiteX2" fmla="*/ 0 w 1486407"/>
                  <a:gd name="connsiteY2" fmla="*/ 1645872 h 3663904"/>
                  <a:gd name="connsiteX3" fmla="*/ 5614 w 1486407"/>
                  <a:gd name="connsiteY3" fmla="*/ 6680 h 3663904"/>
                  <a:gd name="connsiteX4" fmla="*/ 196114 w 1486407"/>
                  <a:gd name="connsiteY4" fmla="*/ 38100 h 3663904"/>
                  <a:gd name="connsiteX5" fmla="*/ 310414 w 1486407"/>
                  <a:gd name="connsiteY5" fmla="*/ 0 h 3663904"/>
                  <a:gd name="connsiteX6" fmla="*/ 473380 w 1486407"/>
                  <a:gd name="connsiteY6" fmla="*/ 12862 h 3663904"/>
                  <a:gd name="connsiteX7" fmla="*/ 471456 w 1486407"/>
                  <a:gd name="connsiteY7" fmla="*/ 603216 h 3663904"/>
                  <a:gd name="connsiteX8" fmla="*/ 644551 w 1486407"/>
                  <a:gd name="connsiteY8" fmla="*/ 768858 h 3663904"/>
                  <a:gd name="connsiteX9" fmla="*/ 1230910 w 1486407"/>
                  <a:gd name="connsiteY9" fmla="*/ 768858 h 3663904"/>
                  <a:gd name="connsiteX10" fmla="*/ 1230910 w 1486407"/>
                  <a:gd name="connsiteY10" fmla="*/ 768858 h 3663904"/>
                  <a:gd name="connsiteX11" fmla="*/ 1230910 w 1486407"/>
                  <a:gd name="connsiteY11" fmla="*/ 985138 h 3663904"/>
                  <a:gd name="connsiteX12" fmla="*/ 1486407 w 1486407"/>
                  <a:gd name="connsiteY12" fmla="*/ 990816 h 3663904"/>
                  <a:gd name="connsiteX13" fmla="*/ 644551 w 1486407"/>
                  <a:gd name="connsiteY13" fmla="*/ 985138 h 3663904"/>
                  <a:gd name="connsiteX14" fmla="*/ 404774 w 1486407"/>
                  <a:gd name="connsiteY14" fmla="*/ 1224915 h 3663904"/>
                  <a:gd name="connsiteX15" fmla="*/ 404773 w 1486407"/>
                  <a:gd name="connsiteY15" fmla="*/ 3654243 h 3663904"/>
                  <a:gd name="connsiteX16" fmla="*/ 342736 w 1486407"/>
                  <a:gd name="connsiteY16" fmla="*/ 3616862 h 3663904"/>
                  <a:gd name="connsiteX17" fmla="*/ 274144 w 1486407"/>
                  <a:gd name="connsiteY17" fmla="*/ 3663904 h 3663904"/>
                  <a:gd name="connsiteX18" fmla="*/ 270790 w 1486407"/>
                  <a:gd name="connsiteY18" fmla="*/ 2747775 h 3663904"/>
                  <a:gd name="connsiteX19" fmla="*/ 166722 w 1486407"/>
                  <a:gd name="connsiteY19" fmla="*/ 2572462 h 3663904"/>
                  <a:gd name="connsiteX0" fmla="*/ 166722 w 1486407"/>
                  <a:gd name="connsiteY0" fmla="*/ 2572462 h 3663904"/>
                  <a:gd name="connsiteX1" fmla="*/ 169571 w 1486407"/>
                  <a:gd name="connsiteY1" fmla="*/ 1878814 h 3663904"/>
                  <a:gd name="connsiteX2" fmla="*/ 0 w 1486407"/>
                  <a:gd name="connsiteY2" fmla="*/ 1645872 h 3663904"/>
                  <a:gd name="connsiteX3" fmla="*/ 5614 w 1486407"/>
                  <a:gd name="connsiteY3" fmla="*/ 6680 h 3663904"/>
                  <a:gd name="connsiteX4" fmla="*/ 196114 w 1486407"/>
                  <a:gd name="connsiteY4" fmla="*/ 38100 h 3663904"/>
                  <a:gd name="connsiteX5" fmla="*/ 310414 w 1486407"/>
                  <a:gd name="connsiteY5" fmla="*/ 0 h 3663904"/>
                  <a:gd name="connsiteX6" fmla="*/ 473380 w 1486407"/>
                  <a:gd name="connsiteY6" fmla="*/ 12862 h 3663904"/>
                  <a:gd name="connsiteX7" fmla="*/ 471456 w 1486407"/>
                  <a:gd name="connsiteY7" fmla="*/ 603216 h 3663904"/>
                  <a:gd name="connsiteX8" fmla="*/ 644551 w 1486407"/>
                  <a:gd name="connsiteY8" fmla="*/ 768858 h 3663904"/>
                  <a:gd name="connsiteX9" fmla="*/ 1230910 w 1486407"/>
                  <a:gd name="connsiteY9" fmla="*/ 768858 h 3663904"/>
                  <a:gd name="connsiteX10" fmla="*/ 1230910 w 1486407"/>
                  <a:gd name="connsiteY10" fmla="*/ 768858 h 3663904"/>
                  <a:gd name="connsiteX11" fmla="*/ 1486407 w 1486407"/>
                  <a:gd name="connsiteY11" fmla="*/ 990816 h 3663904"/>
                  <a:gd name="connsiteX12" fmla="*/ 644551 w 1486407"/>
                  <a:gd name="connsiteY12" fmla="*/ 985138 h 3663904"/>
                  <a:gd name="connsiteX13" fmla="*/ 404774 w 1486407"/>
                  <a:gd name="connsiteY13" fmla="*/ 1224915 h 3663904"/>
                  <a:gd name="connsiteX14" fmla="*/ 404773 w 1486407"/>
                  <a:gd name="connsiteY14" fmla="*/ 3654243 h 3663904"/>
                  <a:gd name="connsiteX15" fmla="*/ 342736 w 1486407"/>
                  <a:gd name="connsiteY15" fmla="*/ 3616862 h 3663904"/>
                  <a:gd name="connsiteX16" fmla="*/ 274144 w 1486407"/>
                  <a:gd name="connsiteY16" fmla="*/ 3663904 h 3663904"/>
                  <a:gd name="connsiteX17" fmla="*/ 270790 w 1486407"/>
                  <a:gd name="connsiteY17" fmla="*/ 2747775 h 3663904"/>
                  <a:gd name="connsiteX18" fmla="*/ 166722 w 1486407"/>
                  <a:gd name="connsiteY18" fmla="*/ 2572462 h 3663904"/>
                  <a:gd name="connsiteX0" fmla="*/ 166722 w 1543184"/>
                  <a:gd name="connsiteY0" fmla="*/ 2572462 h 3663904"/>
                  <a:gd name="connsiteX1" fmla="*/ 169571 w 1543184"/>
                  <a:gd name="connsiteY1" fmla="*/ 1878814 h 3663904"/>
                  <a:gd name="connsiteX2" fmla="*/ 0 w 1543184"/>
                  <a:gd name="connsiteY2" fmla="*/ 1645872 h 3663904"/>
                  <a:gd name="connsiteX3" fmla="*/ 5614 w 1543184"/>
                  <a:gd name="connsiteY3" fmla="*/ 6680 h 3663904"/>
                  <a:gd name="connsiteX4" fmla="*/ 196114 w 1543184"/>
                  <a:gd name="connsiteY4" fmla="*/ 38100 h 3663904"/>
                  <a:gd name="connsiteX5" fmla="*/ 310414 w 1543184"/>
                  <a:gd name="connsiteY5" fmla="*/ 0 h 3663904"/>
                  <a:gd name="connsiteX6" fmla="*/ 473380 w 1543184"/>
                  <a:gd name="connsiteY6" fmla="*/ 12862 h 3663904"/>
                  <a:gd name="connsiteX7" fmla="*/ 471456 w 1543184"/>
                  <a:gd name="connsiteY7" fmla="*/ 603216 h 3663904"/>
                  <a:gd name="connsiteX8" fmla="*/ 644551 w 1543184"/>
                  <a:gd name="connsiteY8" fmla="*/ 768858 h 3663904"/>
                  <a:gd name="connsiteX9" fmla="*/ 1230910 w 1543184"/>
                  <a:gd name="connsiteY9" fmla="*/ 768858 h 3663904"/>
                  <a:gd name="connsiteX10" fmla="*/ 1543184 w 1543184"/>
                  <a:gd name="connsiteY10" fmla="*/ 780213 h 3663904"/>
                  <a:gd name="connsiteX11" fmla="*/ 1486407 w 1543184"/>
                  <a:gd name="connsiteY11" fmla="*/ 990816 h 3663904"/>
                  <a:gd name="connsiteX12" fmla="*/ 644551 w 1543184"/>
                  <a:gd name="connsiteY12" fmla="*/ 985138 h 3663904"/>
                  <a:gd name="connsiteX13" fmla="*/ 404774 w 1543184"/>
                  <a:gd name="connsiteY13" fmla="*/ 1224915 h 3663904"/>
                  <a:gd name="connsiteX14" fmla="*/ 404773 w 1543184"/>
                  <a:gd name="connsiteY14" fmla="*/ 3654243 h 3663904"/>
                  <a:gd name="connsiteX15" fmla="*/ 342736 w 1543184"/>
                  <a:gd name="connsiteY15" fmla="*/ 3616862 h 3663904"/>
                  <a:gd name="connsiteX16" fmla="*/ 274144 w 1543184"/>
                  <a:gd name="connsiteY16" fmla="*/ 3663904 h 3663904"/>
                  <a:gd name="connsiteX17" fmla="*/ 270790 w 1543184"/>
                  <a:gd name="connsiteY17" fmla="*/ 2747775 h 3663904"/>
                  <a:gd name="connsiteX18" fmla="*/ 166722 w 1543184"/>
                  <a:gd name="connsiteY18" fmla="*/ 2572462 h 3663904"/>
                  <a:gd name="connsiteX0" fmla="*/ 166722 w 1543184"/>
                  <a:gd name="connsiteY0" fmla="*/ 2572462 h 3663904"/>
                  <a:gd name="connsiteX1" fmla="*/ 169571 w 1543184"/>
                  <a:gd name="connsiteY1" fmla="*/ 1878814 h 3663904"/>
                  <a:gd name="connsiteX2" fmla="*/ 0 w 1543184"/>
                  <a:gd name="connsiteY2" fmla="*/ 1645872 h 3663904"/>
                  <a:gd name="connsiteX3" fmla="*/ 5614 w 1543184"/>
                  <a:gd name="connsiteY3" fmla="*/ 6680 h 3663904"/>
                  <a:gd name="connsiteX4" fmla="*/ 196114 w 1543184"/>
                  <a:gd name="connsiteY4" fmla="*/ 38100 h 3663904"/>
                  <a:gd name="connsiteX5" fmla="*/ 310414 w 1543184"/>
                  <a:gd name="connsiteY5" fmla="*/ 0 h 3663904"/>
                  <a:gd name="connsiteX6" fmla="*/ 473380 w 1543184"/>
                  <a:gd name="connsiteY6" fmla="*/ 12862 h 3663904"/>
                  <a:gd name="connsiteX7" fmla="*/ 471456 w 1543184"/>
                  <a:gd name="connsiteY7" fmla="*/ 603216 h 3663904"/>
                  <a:gd name="connsiteX8" fmla="*/ 644551 w 1543184"/>
                  <a:gd name="connsiteY8" fmla="*/ 768858 h 3663904"/>
                  <a:gd name="connsiteX9" fmla="*/ 1230910 w 1543184"/>
                  <a:gd name="connsiteY9" fmla="*/ 768858 h 3663904"/>
                  <a:gd name="connsiteX10" fmla="*/ 1543184 w 1543184"/>
                  <a:gd name="connsiteY10" fmla="*/ 780213 h 3663904"/>
                  <a:gd name="connsiteX11" fmla="*/ 1537506 w 1543184"/>
                  <a:gd name="connsiteY11" fmla="*/ 985138 h 3663904"/>
                  <a:gd name="connsiteX12" fmla="*/ 644551 w 1543184"/>
                  <a:gd name="connsiteY12" fmla="*/ 985138 h 3663904"/>
                  <a:gd name="connsiteX13" fmla="*/ 404774 w 1543184"/>
                  <a:gd name="connsiteY13" fmla="*/ 1224915 h 3663904"/>
                  <a:gd name="connsiteX14" fmla="*/ 404773 w 1543184"/>
                  <a:gd name="connsiteY14" fmla="*/ 3654243 h 3663904"/>
                  <a:gd name="connsiteX15" fmla="*/ 342736 w 1543184"/>
                  <a:gd name="connsiteY15" fmla="*/ 3616862 h 3663904"/>
                  <a:gd name="connsiteX16" fmla="*/ 274144 w 1543184"/>
                  <a:gd name="connsiteY16" fmla="*/ 3663904 h 3663904"/>
                  <a:gd name="connsiteX17" fmla="*/ 270790 w 1543184"/>
                  <a:gd name="connsiteY17" fmla="*/ 2747775 h 3663904"/>
                  <a:gd name="connsiteX18" fmla="*/ 166722 w 1543184"/>
                  <a:gd name="connsiteY18" fmla="*/ 2572462 h 3663904"/>
                  <a:gd name="connsiteX0" fmla="*/ 166722 w 1543184"/>
                  <a:gd name="connsiteY0" fmla="*/ 2572462 h 3663904"/>
                  <a:gd name="connsiteX1" fmla="*/ 169571 w 1543184"/>
                  <a:gd name="connsiteY1" fmla="*/ 1878814 h 3663904"/>
                  <a:gd name="connsiteX2" fmla="*/ 0 w 1543184"/>
                  <a:gd name="connsiteY2" fmla="*/ 1645872 h 3663904"/>
                  <a:gd name="connsiteX3" fmla="*/ 5614 w 1543184"/>
                  <a:gd name="connsiteY3" fmla="*/ 6680 h 3663904"/>
                  <a:gd name="connsiteX4" fmla="*/ 196114 w 1543184"/>
                  <a:gd name="connsiteY4" fmla="*/ 38100 h 3663904"/>
                  <a:gd name="connsiteX5" fmla="*/ 310414 w 1543184"/>
                  <a:gd name="connsiteY5" fmla="*/ 0 h 3663904"/>
                  <a:gd name="connsiteX6" fmla="*/ 473380 w 1543184"/>
                  <a:gd name="connsiteY6" fmla="*/ 12862 h 3663904"/>
                  <a:gd name="connsiteX7" fmla="*/ 471456 w 1543184"/>
                  <a:gd name="connsiteY7" fmla="*/ 603216 h 3663904"/>
                  <a:gd name="connsiteX8" fmla="*/ 644551 w 1543184"/>
                  <a:gd name="connsiteY8" fmla="*/ 768858 h 3663904"/>
                  <a:gd name="connsiteX9" fmla="*/ 1543184 w 1543184"/>
                  <a:gd name="connsiteY9" fmla="*/ 780213 h 3663904"/>
                  <a:gd name="connsiteX10" fmla="*/ 1537506 w 1543184"/>
                  <a:gd name="connsiteY10" fmla="*/ 985138 h 3663904"/>
                  <a:gd name="connsiteX11" fmla="*/ 644551 w 1543184"/>
                  <a:gd name="connsiteY11" fmla="*/ 985138 h 3663904"/>
                  <a:gd name="connsiteX12" fmla="*/ 404774 w 1543184"/>
                  <a:gd name="connsiteY12" fmla="*/ 1224915 h 3663904"/>
                  <a:gd name="connsiteX13" fmla="*/ 404773 w 1543184"/>
                  <a:gd name="connsiteY13" fmla="*/ 3654243 h 3663904"/>
                  <a:gd name="connsiteX14" fmla="*/ 342736 w 1543184"/>
                  <a:gd name="connsiteY14" fmla="*/ 3616862 h 3663904"/>
                  <a:gd name="connsiteX15" fmla="*/ 274144 w 1543184"/>
                  <a:gd name="connsiteY15" fmla="*/ 3663904 h 3663904"/>
                  <a:gd name="connsiteX16" fmla="*/ 270790 w 1543184"/>
                  <a:gd name="connsiteY16" fmla="*/ 2747775 h 3663904"/>
                  <a:gd name="connsiteX17" fmla="*/ 166722 w 1543184"/>
                  <a:gd name="connsiteY17" fmla="*/ 2572462 h 3663904"/>
                  <a:gd name="connsiteX0" fmla="*/ 166722 w 1537506"/>
                  <a:gd name="connsiteY0" fmla="*/ 2572462 h 3663904"/>
                  <a:gd name="connsiteX1" fmla="*/ 169571 w 1537506"/>
                  <a:gd name="connsiteY1" fmla="*/ 1878814 h 3663904"/>
                  <a:gd name="connsiteX2" fmla="*/ 0 w 1537506"/>
                  <a:gd name="connsiteY2" fmla="*/ 1645872 h 3663904"/>
                  <a:gd name="connsiteX3" fmla="*/ 5614 w 1537506"/>
                  <a:gd name="connsiteY3" fmla="*/ 6680 h 3663904"/>
                  <a:gd name="connsiteX4" fmla="*/ 196114 w 1537506"/>
                  <a:gd name="connsiteY4" fmla="*/ 38100 h 3663904"/>
                  <a:gd name="connsiteX5" fmla="*/ 310414 w 1537506"/>
                  <a:gd name="connsiteY5" fmla="*/ 0 h 3663904"/>
                  <a:gd name="connsiteX6" fmla="*/ 473380 w 1537506"/>
                  <a:gd name="connsiteY6" fmla="*/ 12862 h 3663904"/>
                  <a:gd name="connsiteX7" fmla="*/ 471456 w 1537506"/>
                  <a:gd name="connsiteY7" fmla="*/ 603216 h 3663904"/>
                  <a:gd name="connsiteX8" fmla="*/ 644551 w 1537506"/>
                  <a:gd name="connsiteY8" fmla="*/ 768858 h 3663904"/>
                  <a:gd name="connsiteX9" fmla="*/ 1537506 w 1537506"/>
                  <a:gd name="connsiteY9" fmla="*/ 768858 h 3663904"/>
                  <a:gd name="connsiteX10" fmla="*/ 1537506 w 1537506"/>
                  <a:gd name="connsiteY10" fmla="*/ 985138 h 3663904"/>
                  <a:gd name="connsiteX11" fmla="*/ 644551 w 1537506"/>
                  <a:gd name="connsiteY11" fmla="*/ 985138 h 3663904"/>
                  <a:gd name="connsiteX12" fmla="*/ 404774 w 1537506"/>
                  <a:gd name="connsiteY12" fmla="*/ 1224915 h 3663904"/>
                  <a:gd name="connsiteX13" fmla="*/ 404773 w 1537506"/>
                  <a:gd name="connsiteY13" fmla="*/ 3654243 h 3663904"/>
                  <a:gd name="connsiteX14" fmla="*/ 342736 w 1537506"/>
                  <a:gd name="connsiteY14" fmla="*/ 3616862 h 3663904"/>
                  <a:gd name="connsiteX15" fmla="*/ 274144 w 1537506"/>
                  <a:gd name="connsiteY15" fmla="*/ 3663904 h 3663904"/>
                  <a:gd name="connsiteX16" fmla="*/ 270790 w 1537506"/>
                  <a:gd name="connsiteY16" fmla="*/ 2747775 h 3663904"/>
                  <a:gd name="connsiteX17" fmla="*/ 166722 w 1537506"/>
                  <a:gd name="connsiteY17" fmla="*/ 2572462 h 3663904"/>
                  <a:gd name="connsiteX0" fmla="*/ 166722 w 1537506"/>
                  <a:gd name="connsiteY0" fmla="*/ 2572462 h 3663904"/>
                  <a:gd name="connsiteX1" fmla="*/ 169571 w 1537506"/>
                  <a:gd name="connsiteY1" fmla="*/ 1759582 h 3663904"/>
                  <a:gd name="connsiteX2" fmla="*/ 0 w 1537506"/>
                  <a:gd name="connsiteY2" fmla="*/ 1645872 h 3663904"/>
                  <a:gd name="connsiteX3" fmla="*/ 5614 w 1537506"/>
                  <a:gd name="connsiteY3" fmla="*/ 6680 h 3663904"/>
                  <a:gd name="connsiteX4" fmla="*/ 196114 w 1537506"/>
                  <a:gd name="connsiteY4" fmla="*/ 38100 h 3663904"/>
                  <a:gd name="connsiteX5" fmla="*/ 310414 w 1537506"/>
                  <a:gd name="connsiteY5" fmla="*/ 0 h 3663904"/>
                  <a:gd name="connsiteX6" fmla="*/ 473380 w 1537506"/>
                  <a:gd name="connsiteY6" fmla="*/ 12862 h 3663904"/>
                  <a:gd name="connsiteX7" fmla="*/ 471456 w 1537506"/>
                  <a:gd name="connsiteY7" fmla="*/ 603216 h 3663904"/>
                  <a:gd name="connsiteX8" fmla="*/ 644551 w 1537506"/>
                  <a:gd name="connsiteY8" fmla="*/ 768858 h 3663904"/>
                  <a:gd name="connsiteX9" fmla="*/ 1537506 w 1537506"/>
                  <a:gd name="connsiteY9" fmla="*/ 768858 h 3663904"/>
                  <a:gd name="connsiteX10" fmla="*/ 1537506 w 1537506"/>
                  <a:gd name="connsiteY10" fmla="*/ 985138 h 3663904"/>
                  <a:gd name="connsiteX11" fmla="*/ 644551 w 1537506"/>
                  <a:gd name="connsiteY11" fmla="*/ 985138 h 3663904"/>
                  <a:gd name="connsiteX12" fmla="*/ 404774 w 1537506"/>
                  <a:gd name="connsiteY12" fmla="*/ 1224915 h 3663904"/>
                  <a:gd name="connsiteX13" fmla="*/ 404773 w 1537506"/>
                  <a:gd name="connsiteY13" fmla="*/ 3654243 h 3663904"/>
                  <a:gd name="connsiteX14" fmla="*/ 342736 w 1537506"/>
                  <a:gd name="connsiteY14" fmla="*/ 3616862 h 3663904"/>
                  <a:gd name="connsiteX15" fmla="*/ 274144 w 1537506"/>
                  <a:gd name="connsiteY15" fmla="*/ 3663904 h 3663904"/>
                  <a:gd name="connsiteX16" fmla="*/ 270790 w 1537506"/>
                  <a:gd name="connsiteY16" fmla="*/ 2747775 h 3663904"/>
                  <a:gd name="connsiteX17" fmla="*/ 166722 w 1537506"/>
                  <a:gd name="connsiteY17" fmla="*/ 2572462 h 3663904"/>
                  <a:gd name="connsiteX0" fmla="*/ 166722 w 1537506"/>
                  <a:gd name="connsiteY0" fmla="*/ 2572462 h 3663904"/>
                  <a:gd name="connsiteX1" fmla="*/ 169571 w 1537506"/>
                  <a:gd name="connsiteY1" fmla="*/ 1759582 h 3663904"/>
                  <a:gd name="connsiteX2" fmla="*/ 0 w 1537506"/>
                  <a:gd name="connsiteY2" fmla="*/ 1464186 h 3663904"/>
                  <a:gd name="connsiteX3" fmla="*/ 5614 w 1537506"/>
                  <a:gd name="connsiteY3" fmla="*/ 6680 h 3663904"/>
                  <a:gd name="connsiteX4" fmla="*/ 196114 w 1537506"/>
                  <a:gd name="connsiteY4" fmla="*/ 38100 h 3663904"/>
                  <a:gd name="connsiteX5" fmla="*/ 310414 w 1537506"/>
                  <a:gd name="connsiteY5" fmla="*/ 0 h 3663904"/>
                  <a:gd name="connsiteX6" fmla="*/ 473380 w 1537506"/>
                  <a:gd name="connsiteY6" fmla="*/ 12862 h 3663904"/>
                  <a:gd name="connsiteX7" fmla="*/ 471456 w 1537506"/>
                  <a:gd name="connsiteY7" fmla="*/ 603216 h 3663904"/>
                  <a:gd name="connsiteX8" fmla="*/ 644551 w 1537506"/>
                  <a:gd name="connsiteY8" fmla="*/ 768858 h 3663904"/>
                  <a:gd name="connsiteX9" fmla="*/ 1537506 w 1537506"/>
                  <a:gd name="connsiteY9" fmla="*/ 768858 h 3663904"/>
                  <a:gd name="connsiteX10" fmla="*/ 1537506 w 1537506"/>
                  <a:gd name="connsiteY10" fmla="*/ 985138 h 3663904"/>
                  <a:gd name="connsiteX11" fmla="*/ 644551 w 1537506"/>
                  <a:gd name="connsiteY11" fmla="*/ 985138 h 3663904"/>
                  <a:gd name="connsiteX12" fmla="*/ 404774 w 1537506"/>
                  <a:gd name="connsiteY12" fmla="*/ 1224915 h 3663904"/>
                  <a:gd name="connsiteX13" fmla="*/ 404773 w 1537506"/>
                  <a:gd name="connsiteY13" fmla="*/ 3654243 h 3663904"/>
                  <a:gd name="connsiteX14" fmla="*/ 342736 w 1537506"/>
                  <a:gd name="connsiteY14" fmla="*/ 3616862 h 3663904"/>
                  <a:gd name="connsiteX15" fmla="*/ 274144 w 1537506"/>
                  <a:gd name="connsiteY15" fmla="*/ 3663904 h 3663904"/>
                  <a:gd name="connsiteX16" fmla="*/ 270790 w 1537506"/>
                  <a:gd name="connsiteY16" fmla="*/ 2747775 h 3663904"/>
                  <a:gd name="connsiteX17" fmla="*/ 166722 w 1537506"/>
                  <a:gd name="connsiteY17" fmla="*/ 2572462 h 3663904"/>
                  <a:gd name="connsiteX0" fmla="*/ 166722 w 1605638"/>
                  <a:gd name="connsiteY0" fmla="*/ 2572462 h 3663904"/>
                  <a:gd name="connsiteX1" fmla="*/ 169571 w 1605638"/>
                  <a:gd name="connsiteY1" fmla="*/ 1759582 h 3663904"/>
                  <a:gd name="connsiteX2" fmla="*/ 0 w 1605638"/>
                  <a:gd name="connsiteY2" fmla="*/ 1464186 h 3663904"/>
                  <a:gd name="connsiteX3" fmla="*/ 5614 w 1605638"/>
                  <a:gd name="connsiteY3" fmla="*/ 6680 h 3663904"/>
                  <a:gd name="connsiteX4" fmla="*/ 196114 w 1605638"/>
                  <a:gd name="connsiteY4" fmla="*/ 38100 h 3663904"/>
                  <a:gd name="connsiteX5" fmla="*/ 310414 w 1605638"/>
                  <a:gd name="connsiteY5" fmla="*/ 0 h 3663904"/>
                  <a:gd name="connsiteX6" fmla="*/ 473380 w 1605638"/>
                  <a:gd name="connsiteY6" fmla="*/ 12862 h 3663904"/>
                  <a:gd name="connsiteX7" fmla="*/ 471456 w 1605638"/>
                  <a:gd name="connsiteY7" fmla="*/ 603216 h 3663904"/>
                  <a:gd name="connsiteX8" fmla="*/ 644551 w 1605638"/>
                  <a:gd name="connsiteY8" fmla="*/ 768858 h 3663904"/>
                  <a:gd name="connsiteX9" fmla="*/ 1537506 w 1605638"/>
                  <a:gd name="connsiteY9" fmla="*/ 768858 h 3663904"/>
                  <a:gd name="connsiteX10" fmla="*/ 1605638 w 1605638"/>
                  <a:gd name="connsiteY10" fmla="*/ 985138 h 3663904"/>
                  <a:gd name="connsiteX11" fmla="*/ 644551 w 1605638"/>
                  <a:gd name="connsiteY11" fmla="*/ 985138 h 3663904"/>
                  <a:gd name="connsiteX12" fmla="*/ 404774 w 1605638"/>
                  <a:gd name="connsiteY12" fmla="*/ 1224915 h 3663904"/>
                  <a:gd name="connsiteX13" fmla="*/ 404773 w 1605638"/>
                  <a:gd name="connsiteY13" fmla="*/ 3654243 h 3663904"/>
                  <a:gd name="connsiteX14" fmla="*/ 342736 w 1605638"/>
                  <a:gd name="connsiteY14" fmla="*/ 3616862 h 3663904"/>
                  <a:gd name="connsiteX15" fmla="*/ 274144 w 1605638"/>
                  <a:gd name="connsiteY15" fmla="*/ 3663904 h 3663904"/>
                  <a:gd name="connsiteX16" fmla="*/ 270790 w 1605638"/>
                  <a:gd name="connsiteY16" fmla="*/ 2747775 h 3663904"/>
                  <a:gd name="connsiteX17" fmla="*/ 166722 w 1605638"/>
                  <a:gd name="connsiteY17" fmla="*/ 2572462 h 3663904"/>
                  <a:gd name="connsiteX0" fmla="*/ 166722 w 1605638"/>
                  <a:gd name="connsiteY0" fmla="*/ 2572462 h 3663904"/>
                  <a:gd name="connsiteX1" fmla="*/ 169571 w 1605638"/>
                  <a:gd name="connsiteY1" fmla="*/ 1759582 h 3663904"/>
                  <a:gd name="connsiteX2" fmla="*/ 0 w 1605638"/>
                  <a:gd name="connsiteY2" fmla="*/ 1464186 h 3663904"/>
                  <a:gd name="connsiteX3" fmla="*/ 5614 w 1605638"/>
                  <a:gd name="connsiteY3" fmla="*/ 6680 h 3663904"/>
                  <a:gd name="connsiteX4" fmla="*/ 196114 w 1605638"/>
                  <a:gd name="connsiteY4" fmla="*/ 38100 h 3663904"/>
                  <a:gd name="connsiteX5" fmla="*/ 310414 w 1605638"/>
                  <a:gd name="connsiteY5" fmla="*/ 0 h 3663904"/>
                  <a:gd name="connsiteX6" fmla="*/ 473380 w 1605638"/>
                  <a:gd name="connsiteY6" fmla="*/ 12862 h 3663904"/>
                  <a:gd name="connsiteX7" fmla="*/ 471456 w 1605638"/>
                  <a:gd name="connsiteY7" fmla="*/ 603216 h 3663904"/>
                  <a:gd name="connsiteX8" fmla="*/ 644551 w 1605638"/>
                  <a:gd name="connsiteY8" fmla="*/ 768858 h 3663904"/>
                  <a:gd name="connsiteX9" fmla="*/ 1594283 w 1605638"/>
                  <a:gd name="connsiteY9" fmla="*/ 785891 h 3663904"/>
                  <a:gd name="connsiteX10" fmla="*/ 1605638 w 1605638"/>
                  <a:gd name="connsiteY10" fmla="*/ 985138 h 3663904"/>
                  <a:gd name="connsiteX11" fmla="*/ 644551 w 1605638"/>
                  <a:gd name="connsiteY11" fmla="*/ 985138 h 3663904"/>
                  <a:gd name="connsiteX12" fmla="*/ 404774 w 1605638"/>
                  <a:gd name="connsiteY12" fmla="*/ 1224915 h 3663904"/>
                  <a:gd name="connsiteX13" fmla="*/ 404773 w 1605638"/>
                  <a:gd name="connsiteY13" fmla="*/ 3654243 h 3663904"/>
                  <a:gd name="connsiteX14" fmla="*/ 342736 w 1605638"/>
                  <a:gd name="connsiteY14" fmla="*/ 3616862 h 3663904"/>
                  <a:gd name="connsiteX15" fmla="*/ 274144 w 1605638"/>
                  <a:gd name="connsiteY15" fmla="*/ 3663904 h 3663904"/>
                  <a:gd name="connsiteX16" fmla="*/ 270790 w 1605638"/>
                  <a:gd name="connsiteY16" fmla="*/ 2747775 h 3663904"/>
                  <a:gd name="connsiteX17" fmla="*/ 166722 w 1605638"/>
                  <a:gd name="connsiteY17" fmla="*/ 2572462 h 3663904"/>
                  <a:gd name="connsiteX0" fmla="*/ 166722 w 1605638"/>
                  <a:gd name="connsiteY0" fmla="*/ 2572462 h 3663904"/>
                  <a:gd name="connsiteX1" fmla="*/ 169571 w 1605638"/>
                  <a:gd name="connsiteY1" fmla="*/ 1759582 h 3663904"/>
                  <a:gd name="connsiteX2" fmla="*/ 0 w 1605638"/>
                  <a:gd name="connsiteY2" fmla="*/ 1464186 h 3663904"/>
                  <a:gd name="connsiteX3" fmla="*/ 5614 w 1605638"/>
                  <a:gd name="connsiteY3" fmla="*/ 6680 h 3663904"/>
                  <a:gd name="connsiteX4" fmla="*/ 196114 w 1605638"/>
                  <a:gd name="connsiteY4" fmla="*/ 38100 h 3663904"/>
                  <a:gd name="connsiteX5" fmla="*/ 310414 w 1605638"/>
                  <a:gd name="connsiteY5" fmla="*/ 0 h 3663904"/>
                  <a:gd name="connsiteX6" fmla="*/ 473380 w 1605638"/>
                  <a:gd name="connsiteY6" fmla="*/ 12862 h 3663904"/>
                  <a:gd name="connsiteX7" fmla="*/ 471456 w 1605638"/>
                  <a:gd name="connsiteY7" fmla="*/ 603216 h 3663904"/>
                  <a:gd name="connsiteX8" fmla="*/ 650229 w 1605638"/>
                  <a:gd name="connsiteY8" fmla="*/ 797246 h 3663904"/>
                  <a:gd name="connsiteX9" fmla="*/ 1594283 w 1605638"/>
                  <a:gd name="connsiteY9" fmla="*/ 785891 h 3663904"/>
                  <a:gd name="connsiteX10" fmla="*/ 1605638 w 1605638"/>
                  <a:gd name="connsiteY10" fmla="*/ 985138 h 3663904"/>
                  <a:gd name="connsiteX11" fmla="*/ 644551 w 1605638"/>
                  <a:gd name="connsiteY11" fmla="*/ 985138 h 3663904"/>
                  <a:gd name="connsiteX12" fmla="*/ 404774 w 1605638"/>
                  <a:gd name="connsiteY12" fmla="*/ 1224915 h 3663904"/>
                  <a:gd name="connsiteX13" fmla="*/ 404773 w 1605638"/>
                  <a:gd name="connsiteY13" fmla="*/ 3654243 h 3663904"/>
                  <a:gd name="connsiteX14" fmla="*/ 342736 w 1605638"/>
                  <a:gd name="connsiteY14" fmla="*/ 3616862 h 3663904"/>
                  <a:gd name="connsiteX15" fmla="*/ 274144 w 1605638"/>
                  <a:gd name="connsiteY15" fmla="*/ 3663904 h 3663904"/>
                  <a:gd name="connsiteX16" fmla="*/ 270790 w 1605638"/>
                  <a:gd name="connsiteY16" fmla="*/ 2747775 h 3663904"/>
                  <a:gd name="connsiteX17" fmla="*/ 166722 w 1605638"/>
                  <a:gd name="connsiteY17" fmla="*/ 2572462 h 3663904"/>
                  <a:gd name="connsiteX0" fmla="*/ 166722 w 1616994"/>
                  <a:gd name="connsiteY0" fmla="*/ 2572462 h 3663904"/>
                  <a:gd name="connsiteX1" fmla="*/ 169571 w 1616994"/>
                  <a:gd name="connsiteY1" fmla="*/ 1759582 h 3663904"/>
                  <a:gd name="connsiteX2" fmla="*/ 0 w 1616994"/>
                  <a:gd name="connsiteY2" fmla="*/ 1464186 h 3663904"/>
                  <a:gd name="connsiteX3" fmla="*/ 5614 w 1616994"/>
                  <a:gd name="connsiteY3" fmla="*/ 6680 h 3663904"/>
                  <a:gd name="connsiteX4" fmla="*/ 196114 w 1616994"/>
                  <a:gd name="connsiteY4" fmla="*/ 38100 h 3663904"/>
                  <a:gd name="connsiteX5" fmla="*/ 310414 w 1616994"/>
                  <a:gd name="connsiteY5" fmla="*/ 0 h 3663904"/>
                  <a:gd name="connsiteX6" fmla="*/ 473380 w 1616994"/>
                  <a:gd name="connsiteY6" fmla="*/ 12862 h 3663904"/>
                  <a:gd name="connsiteX7" fmla="*/ 471456 w 1616994"/>
                  <a:gd name="connsiteY7" fmla="*/ 603216 h 3663904"/>
                  <a:gd name="connsiteX8" fmla="*/ 650229 w 1616994"/>
                  <a:gd name="connsiteY8" fmla="*/ 797246 h 3663904"/>
                  <a:gd name="connsiteX9" fmla="*/ 1616994 w 1616994"/>
                  <a:gd name="connsiteY9" fmla="*/ 808602 h 3663904"/>
                  <a:gd name="connsiteX10" fmla="*/ 1605638 w 1616994"/>
                  <a:gd name="connsiteY10" fmla="*/ 985138 h 3663904"/>
                  <a:gd name="connsiteX11" fmla="*/ 644551 w 1616994"/>
                  <a:gd name="connsiteY11" fmla="*/ 985138 h 3663904"/>
                  <a:gd name="connsiteX12" fmla="*/ 404774 w 1616994"/>
                  <a:gd name="connsiteY12" fmla="*/ 1224915 h 3663904"/>
                  <a:gd name="connsiteX13" fmla="*/ 404773 w 1616994"/>
                  <a:gd name="connsiteY13" fmla="*/ 3654243 h 3663904"/>
                  <a:gd name="connsiteX14" fmla="*/ 342736 w 1616994"/>
                  <a:gd name="connsiteY14" fmla="*/ 3616862 h 3663904"/>
                  <a:gd name="connsiteX15" fmla="*/ 274144 w 1616994"/>
                  <a:gd name="connsiteY15" fmla="*/ 3663904 h 3663904"/>
                  <a:gd name="connsiteX16" fmla="*/ 270790 w 1616994"/>
                  <a:gd name="connsiteY16" fmla="*/ 2747775 h 3663904"/>
                  <a:gd name="connsiteX17" fmla="*/ 166722 w 1616994"/>
                  <a:gd name="connsiteY17" fmla="*/ 2572462 h 3663904"/>
                  <a:gd name="connsiteX0" fmla="*/ 166722 w 1605638"/>
                  <a:gd name="connsiteY0" fmla="*/ 2572462 h 3663904"/>
                  <a:gd name="connsiteX1" fmla="*/ 169571 w 1605638"/>
                  <a:gd name="connsiteY1" fmla="*/ 1759582 h 3663904"/>
                  <a:gd name="connsiteX2" fmla="*/ 0 w 1605638"/>
                  <a:gd name="connsiteY2" fmla="*/ 1464186 h 3663904"/>
                  <a:gd name="connsiteX3" fmla="*/ 5614 w 1605638"/>
                  <a:gd name="connsiteY3" fmla="*/ 6680 h 3663904"/>
                  <a:gd name="connsiteX4" fmla="*/ 196114 w 1605638"/>
                  <a:gd name="connsiteY4" fmla="*/ 38100 h 3663904"/>
                  <a:gd name="connsiteX5" fmla="*/ 310414 w 1605638"/>
                  <a:gd name="connsiteY5" fmla="*/ 0 h 3663904"/>
                  <a:gd name="connsiteX6" fmla="*/ 473380 w 1605638"/>
                  <a:gd name="connsiteY6" fmla="*/ 12862 h 3663904"/>
                  <a:gd name="connsiteX7" fmla="*/ 471456 w 1605638"/>
                  <a:gd name="connsiteY7" fmla="*/ 603216 h 3663904"/>
                  <a:gd name="connsiteX8" fmla="*/ 650229 w 1605638"/>
                  <a:gd name="connsiteY8" fmla="*/ 797246 h 3663904"/>
                  <a:gd name="connsiteX9" fmla="*/ 1599961 w 1605638"/>
                  <a:gd name="connsiteY9" fmla="*/ 814279 h 3663904"/>
                  <a:gd name="connsiteX10" fmla="*/ 1605638 w 1605638"/>
                  <a:gd name="connsiteY10" fmla="*/ 985138 h 3663904"/>
                  <a:gd name="connsiteX11" fmla="*/ 644551 w 1605638"/>
                  <a:gd name="connsiteY11" fmla="*/ 985138 h 3663904"/>
                  <a:gd name="connsiteX12" fmla="*/ 404774 w 1605638"/>
                  <a:gd name="connsiteY12" fmla="*/ 1224915 h 3663904"/>
                  <a:gd name="connsiteX13" fmla="*/ 404773 w 1605638"/>
                  <a:gd name="connsiteY13" fmla="*/ 3654243 h 3663904"/>
                  <a:gd name="connsiteX14" fmla="*/ 342736 w 1605638"/>
                  <a:gd name="connsiteY14" fmla="*/ 3616862 h 3663904"/>
                  <a:gd name="connsiteX15" fmla="*/ 274144 w 1605638"/>
                  <a:gd name="connsiteY15" fmla="*/ 3663904 h 3663904"/>
                  <a:gd name="connsiteX16" fmla="*/ 270790 w 1605638"/>
                  <a:gd name="connsiteY16" fmla="*/ 2747775 h 3663904"/>
                  <a:gd name="connsiteX17" fmla="*/ 166722 w 1605638"/>
                  <a:gd name="connsiteY17" fmla="*/ 2572462 h 3663904"/>
                  <a:gd name="connsiteX0" fmla="*/ 166722 w 1609320"/>
                  <a:gd name="connsiteY0" fmla="*/ 2572462 h 3663904"/>
                  <a:gd name="connsiteX1" fmla="*/ 169571 w 1609320"/>
                  <a:gd name="connsiteY1" fmla="*/ 1759582 h 3663904"/>
                  <a:gd name="connsiteX2" fmla="*/ 0 w 1609320"/>
                  <a:gd name="connsiteY2" fmla="*/ 1464186 h 3663904"/>
                  <a:gd name="connsiteX3" fmla="*/ 5614 w 1609320"/>
                  <a:gd name="connsiteY3" fmla="*/ 6680 h 3663904"/>
                  <a:gd name="connsiteX4" fmla="*/ 196114 w 1609320"/>
                  <a:gd name="connsiteY4" fmla="*/ 38100 h 3663904"/>
                  <a:gd name="connsiteX5" fmla="*/ 310414 w 1609320"/>
                  <a:gd name="connsiteY5" fmla="*/ 0 h 3663904"/>
                  <a:gd name="connsiteX6" fmla="*/ 473380 w 1609320"/>
                  <a:gd name="connsiteY6" fmla="*/ 12862 h 3663904"/>
                  <a:gd name="connsiteX7" fmla="*/ 471456 w 1609320"/>
                  <a:gd name="connsiteY7" fmla="*/ 603216 h 3663904"/>
                  <a:gd name="connsiteX8" fmla="*/ 650229 w 1609320"/>
                  <a:gd name="connsiteY8" fmla="*/ 797246 h 3663904"/>
                  <a:gd name="connsiteX9" fmla="*/ 1609320 w 1609320"/>
                  <a:gd name="connsiteY9" fmla="*/ 808040 h 3663904"/>
                  <a:gd name="connsiteX10" fmla="*/ 1605638 w 1609320"/>
                  <a:gd name="connsiteY10" fmla="*/ 985138 h 3663904"/>
                  <a:gd name="connsiteX11" fmla="*/ 644551 w 1609320"/>
                  <a:gd name="connsiteY11" fmla="*/ 985138 h 3663904"/>
                  <a:gd name="connsiteX12" fmla="*/ 404774 w 1609320"/>
                  <a:gd name="connsiteY12" fmla="*/ 1224915 h 3663904"/>
                  <a:gd name="connsiteX13" fmla="*/ 404773 w 1609320"/>
                  <a:gd name="connsiteY13" fmla="*/ 3654243 h 3663904"/>
                  <a:gd name="connsiteX14" fmla="*/ 342736 w 1609320"/>
                  <a:gd name="connsiteY14" fmla="*/ 3616862 h 3663904"/>
                  <a:gd name="connsiteX15" fmla="*/ 274144 w 1609320"/>
                  <a:gd name="connsiteY15" fmla="*/ 3663904 h 3663904"/>
                  <a:gd name="connsiteX16" fmla="*/ 270790 w 1609320"/>
                  <a:gd name="connsiteY16" fmla="*/ 2747775 h 3663904"/>
                  <a:gd name="connsiteX17" fmla="*/ 166722 w 1609320"/>
                  <a:gd name="connsiteY17" fmla="*/ 2572462 h 3663904"/>
                  <a:gd name="connsiteX0" fmla="*/ 166722 w 1606200"/>
                  <a:gd name="connsiteY0" fmla="*/ 2572462 h 3663904"/>
                  <a:gd name="connsiteX1" fmla="*/ 169571 w 1606200"/>
                  <a:gd name="connsiteY1" fmla="*/ 1759582 h 3663904"/>
                  <a:gd name="connsiteX2" fmla="*/ 0 w 1606200"/>
                  <a:gd name="connsiteY2" fmla="*/ 1464186 h 3663904"/>
                  <a:gd name="connsiteX3" fmla="*/ 5614 w 1606200"/>
                  <a:gd name="connsiteY3" fmla="*/ 6680 h 3663904"/>
                  <a:gd name="connsiteX4" fmla="*/ 196114 w 1606200"/>
                  <a:gd name="connsiteY4" fmla="*/ 38100 h 3663904"/>
                  <a:gd name="connsiteX5" fmla="*/ 310414 w 1606200"/>
                  <a:gd name="connsiteY5" fmla="*/ 0 h 3663904"/>
                  <a:gd name="connsiteX6" fmla="*/ 473380 w 1606200"/>
                  <a:gd name="connsiteY6" fmla="*/ 12862 h 3663904"/>
                  <a:gd name="connsiteX7" fmla="*/ 471456 w 1606200"/>
                  <a:gd name="connsiteY7" fmla="*/ 603216 h 3663904"/>
                  <a:gd name="connsiteX8" fmla="*/ 650229 w 1606200"/>
                  <a:gd name="connsiteY8" fmla="*/ 797246 h 3663904"/>
                  <a:gd name="connsiteX9" fmla="*/ 1606200 w 1606200"/>
                  <a:gd name="connsiteY9" fmla="*/ 808040 h 3663904"/>
                  <a:gd name="connsiteX10" fmla="*/ 1605638 w 1606200"/>
                  <a:gd name="connsiteY10" fmla="*/ 985138 h 3663904"/>
                  <a:gd name="connsiteX11" fmla="*/ 644551 w 1606200"/>
                  <a:gd name="connsiteY11" fmla="*/ 985138 h 3663904"/>
                  <a:gd name="connsiteX12" fmla="*/ 404774 w 1606200"/>
                  <a:gd name="connsiteY12" fmla="*/ 1224915 h 3663904"/>
                  <a:gd name="connsiteX13" fmla="*/ 404773 w 1606200"/>
                  <a:gd name="connsiteY13" fmla="*/ 3654243 h 3663904"/>
                  <a:gd name="connsiteX14" fmla="*/ 342736 w 1606200"/>
                  <a:gd name="connsiteY14" fmla="*/ 3616862 h 3663904"/>
                  <a:gd name="connsiteX15" fmla="*/ 274144 w 1606200"/>
                  <a:gd name="connsiteY15" fmla="*/ 3663904 h 3663904"/>
                  <a:gd name="connsiteX16" fmla="*/ 270790 w 1606200"/>
                  <a:gd name="connsiteY16" fmla="*/ 2747775 h 3663904"/>
                  <a:gd name="connsiteX17" fmla="*/ 166722 w 1606200"/>
                  <a:gd name="connsiteY17" fmla="*/ 2572462 h 36639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606200" h="3663904">
                    <a:moveTo>
                      <a:pt x="166722" y="2572462"/>
                    </a:moveTo>
                    <a:cubicBezTo>
                      <a:pt x="166298" y="2348593"/>
                      <a:pt x="169995" y="1983451"/>
                      <a:pt x="169571" y="1759582"/>
                    </a:cubicBezTo>
                    <a:cubicBezTo>
                      <a:pt x="169342" y="1613531"/>
                      <a:pt x="82320" y="1505253"/>
                      <a:pt x="0" y="1464186"/>
                    </a:cubicBezTo>
                    <a:cubicBezTo>
                      <a:pt x="1871" y="917789"/>
                      <a:pt x="3743" y="553077"/>
                      <a:pt x="5614" y="6680"/>
                    </a:cubicBezTo>
                    <a:cubicBezTo>
                      <a:pt x="69114" y="8263"/>
                      <a:pt x="132614" y="36517"/>
                      <a:pt x="196114" y="38100"/>
                    </a:cubicBezTo>
                    <a:cubicBezTo>
                      <a:pt x="239294" y="35560"/>
                      <a:pt x="267234" y="2540"/>
                      <a:pt x="310414" y="0"/>
                    </a:cubicBezTo>
                    <a:lnTo>
                      <a:pt x="473380" y="12862"/>
                    </a:lnTo>
                    <a:cubicBezTo>
                      <a:pt x="471524" y="199487"/>
                      <a:pt x="473312" y="416591"/>
                      <a:pt x="471456" y="603216"/>
                    </a:cubicBezTo>
                    <a:cubicBezTo>
                      <a:pt x="474953" y="697558"/>
                      <a:pt x="543499" y="794533"/>
                      <a:pt x="650229" y="797246"/>
                    </a:cubicBezTo>
                    <a:lnTo>
                      <a:pt x="1606200" y="808040"/>
                    </a:lnTo>
                    <a:cubicBezTo>
                      <a:pt x="1604973" y="867073"/>
                      <a:pt x="1606865" y="926105"/>
                      <a:pt x="1605638" y="985138"/>
                    </a:cubicBezTo>
                    <a:lnTo>
                      <a:pt x="644551" y="985138"/>
                    </a:lnTo>
                    <a:cubicBezTo>
                      <a:pt x="512126" y="985138"/>
                      <a:pt x="404774" y="1092490"/>
                      <a:pt x="404774" y="1224915"/>
                    </a:cubicBezTo>
                    <a:cubicBezTo>
                      <a:pt x="406449" y="2043064"/>
                      <a:pt x="403098" y="2836094"/>
                      <a:pt x="404773" y="3654243"/>
                    </a:cubicBezTo>
                    <a:cubicBezTo>
                      <a:pt x="379070" y="3655181"/>
                      <a:pt x="368439" y="3615924"/>
                      <a:pt x="342736" y="3616862"/>
                    </a:cubicBezTo>
                    <a:lnTo>
                      <a:pt x="274144" y="3663904"/>
                    </a:lnTo>
                    <a:cubicBezTo>
                      <a:pt x="275380" y="3353820"/>
                      <a:pt x="269554" y="3057859"/>
                      <a:pt x="270790" y="2747775"/>
                    </a:cubicBezTo>
                    <a:cubicBezTo>
                      <a:pt x="269249" y="2650215"/>
                      <a:pt x="238874" y="2602942"/>
                      <a:pt x="166722" y="2572462"/>
                    </a:cubicBezTo>
                    <a:close/>
                  </a:path>
                </a:pathLst>
              </a:custGeom>
              <a:pattFill prst="dkDnDiag">
                <a:fgClr>
                  <a:schemeClr val="tx2">
                    <a:lumMod val="60000"/>
                    <a:lumOff val="40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09" name="Rettangolo 6"/>
              <p:cNvSpPr/>
              <p:nvPr/>
            </p:nvSpPr>
            <p:spPr>
              <a:xfrm>
                <a:off x="5680994" y="763349"/>
                <a:ext cx="293752" cy="3221316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3751" h="3895880">
                    <a:moveTo>
                      <a:pt x="0" y="155"/>
                    </a:moveTo>
                    <a:cubicBezTo>
                      <a:pt x="42672" y="-2893"/>
                      <a:pt x="112776" y="39779"/>
                      <a:pt x="155448" y="36731"/>
                    </a:cubicBezTo>
                    <a:lnTo>
                      <a:pt x="265176" y="155"/>
                    </a:lnTo>
                    <a:cubicBezTo>
                      <a:pt x="284519" y="34413"/>
                      <a:pt x="272833" y="-24291"/>
                      <a:pt x="276269" y="242282"/>
                    </a:cubicBezTo>
                    <a:cubicBezTo>
                      <a:pt x="278912" y="437418"/>
                      <a:pt x="265156" y="954275"/>
                      <a:pt x="271506" y="1180494"/>
                    </a:cubicBezTo>
                    <a:cubicBezTo>
                      <a:pt x="277856" y="1406713"/>
                      <a:pt x="290556" y="1456719"/>
                      <a:pt x="285794" y="1599594"/>
                    </a:cubicBezTo>
                    <a:cubicBezTo>
                      <a:pt x="281032" y="1742469"/>
                      <a:pt x="255633" y="1921063"/>
                      <a:pt x="252458" y="2028219"/>
                    </a:cubicBezTo>
                    <a:cubicBezTo>
                      <a:pt x="250338" y="2401948"/>
                      <a:pt x="252457" y="2104420"/>
                      <a:pt x="257219" y="2252057"/>
                    </a:cubicBezTo>
                    <a:cubicBezTo>
                      <a:pt x="261981" y="2399694"/>
                      <a:pt x="281033" y="2755294"/>
                      <a:pt x="281033" y="2914044"/>
                    </a:cubicBezTo>
                    <a:cubicBezTo>
                      <a:pt x="286589" y="3122800"/>
                      <a:pt x="266744" y="3105338"/>
                      <a:pt x="266744" y="3195032"/>
                    </a:cubicBezTo>
                    <a:cubicBezTo>
                      <a:pt x="266744" y="3284726"/>
                      <a:pt x="268333" y="3369657"/>
                      <a:pt x="261983" y="3433157"/>
                    </a:cubicBezTo>
                    <a:cubicBezTo>
                      <a:pt x="255633" y="3496657"/>
                      <a:pt x="263832" y="3594162"/>
                      <a:pt x="266745" y="3661757"/>
                    </a:cubicBezTo>
                    <a:lnTo>
                      <a:pt x="293751" y="3895880"/>
                    </a:lnTo>
                    <a:lnTo>
                      <a:pt x="0" y="3886355"/>
                    </a:lnTo>
                    <a:lnTo>
                      <a:pt x="0" y="155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110" name="Gruppo 109"/>
              <p:cNvGrpSpPr/>
              <p:nvPr/>
            </p:nvGrpSpPr>
            <p:grpSpPr>
              <a:xfrm>
                <a:off x="6840452" y="3613375"/>
                <a:ext cx="482861" cy="1013103"/>
                <a:chOff x="5302315" y="4114197"/>
                <a:chExt cx="482835" cy="1225253"/>
              </a:xfrm>
            </p:grpSpPr>
            <p:grpSp>
              <p:nvGrpSpPr>
                <p:cNvPr id="146" name="Gruppo 145"/>
                <p:cNvGrpSpPr/>
                <p:nvPr/>
              </p:nvGrpSpPr>
              <p:grpSpPr>
                <a:xfrm>
                  <a:off x="5304597" y="4206754"/>
                  <a:ext cx="480553" cy="1083193"/>
                  <a:chOff x="5286591" y="4178422"/>
                  <a:chExt cx="480579" cy="1083188"/>
                </a:xfrm>
              </p:grpSpPr>
              <p:sp>
                <p:nvSpPr>
                  <p:cNvPr id="152" name="Rectangle 325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5006367" y="4573819"/>
                    <a:ext cx="1039713" cy="248920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8F7272"/>
                      </a:gs>
                      <a:gs pos="50000">
                        <a:srgbClr val="FFCCCC"/>
                      </a:gs>
                      <a:gs pos="100000">
                        <a:srgbClr val="8F7272"/>
                      </a:gs>
                    </a:gsLst>
                    <a:lin ang="5400000" scaled="1"/>
                  </a:gra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  <p:sp>
                <p:nvSpPr>
                  <p:cNvPr id="153" name="Ritaglia angolo stesso lato rettangolo 152"/>
                  <p:cNvSpPr/>
                  <p:nvPr/>
                </p:nvSpPr>
                <p:spPr>
                  <a:xfrm rot="10800000">
                    <a:off x="5286591" y="5183030"/>
                    <a:ext cx="480579" cy="78580"/>
                  </a:xfrm>
                  <a:prstGeom prst="snip2SameRect">
                    <a:avLst>
                      <a:gd name="adj1" fmla="val 50000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8F7272"/>
                      </a:gs>
                      <a:gs pos="50000">
                        <a:srgbClr val="FFCCCC"/>
                      </a:gs>
                      <a:gs pos="100000">
                        <a:srgbClr val="8F7272"/>
                      </a:gs>
                    </a:gsLst>
                    <a:lin ang="0" scaled="1"/>
                    <a:tileRect/>
                  </a:gra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158" b="1" dirty="0">
                      <a:latin typeface="Arial Narrow" pitchFamily="34" charset="0"/>
                    </a:endParaRPr>
                  </a:p>
                </p:txBody>
              </p:sp>
            </p:grpSp>
            <p:grpSp>
              <p:nvGrpSpPr>
                <p:cNvPr id="147" name="Group 327"/>
                <p:cNvGrpSpPr>
                  <a:grpSpLocks/>
                </p:cNvGrpSpPr>
                <p:nvPr/>
              </p:nvGrpSpPr>
              <p:grpSpPr bwMode="auto">
                <a:xfrm rot="5400000" flipV="1">
                  <a:off x="5395611" y="4212226"/>
                  <a:ext cx="286334" cy="472926"/>
                  <a:chOff x="963" y="1985"/>
                  <a:chExt cx="250" cy="318"/>
                </a:xfrm>
              </p:grpSpPr>
              <p:sp>
                <p:nvSpPr>
                  <p:cNvPr id="149" name="AutoShape 328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974" y="2117"/>
                    <a:ext cx="314" cy="53"/>
                  </a:xfrm>
                  <a:custGeom>
                    <a:avLst/>
                    <a:gdLst>
                      <a:gd name="T0" fmla="*/ 4 w 21600"/>
                      <a:gd name="T1" fmla="*/ 0 h 21600"/>
                      <a:gd name="T2" fmla="*/ 2 w 21600"/>
                      <a:gd name="T3" fmla="*/ 0 h 21600"/>
                      <a:gd name="T4" fmla="*/ 0 w 21600"/>
                      <a:gd name="T5" fmla="*/ 0 h 21600"/>
                      <a:gd name="T6" fmla="*/ 2 w 21600"/>
                      <a:gd name="T7" fmla="*/ 0 h 21600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2820 w 21600"/>
                      <a:gd name="T13" fmla="*/ 2853 h 21600"/>
                      <a:gd name="T14" fmla="*/ 18780 w 21600"/>
                      <a:gd name="T15" fmla="*/ 18747 h 21600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1600" h="21600">
                        <a:moveTo>
                          <a:pt x="0" y="0"/>
                        </a:moveTo>
                        <a:lnTo>
                          <a:pt x="2076" y="21600"/>
                        </a:lnTo>
                        <a:lnTo>
                          <a:pt x="19524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5E4776"/>
                      </a:gs>
                      <a:gs pos="50000">
                        <a:srgbClr val="CC99FF"/>
                      </a:gs>
                      <a:gs pos="100000">
                        <a:srgbClr val="5E4776"/>
                      </a:gs>
                    </a:gsLst>
                    <a:lin ang="0" scaled="1"/>
                  </a:gradFill>
                  <a:ln w="9525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  <p:sp>
                <p:nvSpPr>
                  <p:cNvPr id="150" name="Rectangle 329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963" y="2017"/>
                    <a:ext cx="141" cy="256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5E4776"/>
                      </a:gs>
                      <a:gs pos="50000">
                        <a:srgbClr val="CC99FF"/>
                      </a:gs>
                      <a:gs pos="100000">
                        <a:srgbClr val="5E4776"/>
                      </a:gs>
                    </a:gsLst>
                    <a:lin ang="5400000" scaled="1"/>
                  </a:gra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  <p:sp>
                <p:nvSpPr>
                  <p:cNvPr id="151" name="Rectangle 330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1158" y="1985"/>
                    <a:ext cx="55" cy="318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5E4776"/>
                      </a:gs>
                      <a:gs pos="50000">
                        <a:srgbClr val="CC99FF"/>
                      </a:gs>
                      <a:gs pos="100000">
                        <a:srgbClr val="5E4776"/>
                      </a:gs>
                    </a:gsLst>
                    <a:lin ang="5400000" scaled="1"/>
                  </a:gradFill>
                  <a:ln w="9525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</p:grpSp>
            <p:cxnSp>
              <p:nvCxnSpPr>
                <p:cNvPr id="148" name="Connettore 1 147"/>
                <p:cNvCxnSpPr/>
                <p:nvPr/>
              </p:nvCxnSpPr>
              <p:spPr>
                <a:xfrm flipH="1" flipV="1">
                  <a:off x="5537965" y="4114197"/>
                  <a:ext cx="5436" cy="1225253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prstDash val="lgDash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grpSp>
            <p:nvGrpSpPr>
              <p:cNvPr id="111" name="Gruppo 110"/>
              <p:cNvGrpSpPr/>
              <p:nvPr/>
            </p:nvGrpSpPr>
            <p:grpSpPr>
              <a:xfrm rot="5400000">
                <a:off x="5674386" y="796629"/>
                <a:ext cx="437105" cy="1190878"/>
                <a:chOff x="5328295" y="4458345"/>
                <a:chExt cx="397173" cy="894705"/>
              </a:xfrm>
            </p:grpSpPr>
            <p:sp>
              <p:nvSpPr>
                <p:cNvPr id="144" name="Rectangle 325"/>
                <p:cNvSpPr>
                  <a:spLocks noChangeArrowheads="1"/>
                </p:cNvSpPr>
                <p:nvPr/>
              </p:nvSpPr>
              <p:spPr bwMode="auto">
                <a:xfrm rot="5400000">
                  <a:off x="5115904" y="4744203"/>
                  <a:ext cx="820638" cy="248921"/>
                </a:xfrm>
                <a:prstGeom prst="rect">
                  <a:avLst/>
                </a:prstGeom>
                <a:gradFill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45" name="Ritaglia angolo stesso lato rettangolo 144"/>
                <p:cNvSpPr/>
                <p:nvPr/>
              </p:nvSpPr>
              <p:spPr>
                <a:xfrm rot="10800000">
                  <a:off x="5328295" y="5274470"/>
                  <a:ext cx="397173" cy="78580"/>
                </a:xfrm>
                <a:prstGeom prst="snip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0" scaled="1"/>
                  <a:tileRect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158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127" name="Group 327"/>
              <p:cNvGrpSpPr>
                <a:grpSpLocks/>
              </p:cNvGrpSpPr>
              <p:nvPr/>
            </p:nvGrpSpPr>
            <p:grpSpPr bwMode="auto">
              <a:xfrm rot="10800000" flipV="1">
                <a:off x="5957302" y="1157570"/>
                <a:ext cx="381109" cy="473183"/>
                <a:chOff x="963" y="1985"/>
                <a:chExt cx="250" cy="318"/>
              </a:xfrm>
            </p:grpSpPr>
            <p:sp>
              <p:nvSpPr>
                <p:cNvPr id="141" name="AutoShape 328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974" y="2117"/>
                  <a:ext cx="314" cy="53"/>
                </a:xfrm>
                <a:custGeom>
                  <a:avLst/>
                  <a:gdLst>
                    <a:gd name="T0" fmla="*/ 4 w 21600"/>
                    <a:gd name="T1" fmla="*/ 0 h 21600"/>
                    <a:gd name="T2" fmla="*/ 2 w 21600"/>
                    <a:gd name="T3" fmla="*/ 0 h 21600"/>
                    <a:gd name="T4" fmla="*/ 0 w 21600"/>
                    <a:gd name="T5" fmla="*/ 0 h 21600"/>
                    <a:gd name="T6" fmla="*/ 2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820 w 21600"/>
                    <a:gd name="T13" fmla="*/ 2853 h 21600"/>
                    <a:gd name="T14" fmla="*/ 18780 w 21600"/>
                    <a:gd name="T15" fmla="*/ 1874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076" y="21600"/>
                      </a:lnTo>
                      <a:lnTo>
                        <a:pt x="19524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42" name="Rectangle 329"/>
                <p:cNvSpPr>
                  <a:spLocks noChangeArrowheads="1"/>
                </p:cNvSpPr>
                <p:nvPr/>
              </p:nvSpPr>
              <p:spPr bwMode="auto">
                <a:xfrm flipH="1">
                  <a:off x="963" y="2017"/>
                  <a:ext cx="141" cy="256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43" name="Rectangle 330"/>
                <p:cNvSpPr>
                  <a:spLocks noChangeArrowheads="1"/>
                </p:cNvSpPr>
                <p:nvPr/>
              </p:nvSpPr>
              <p:spPr bwMode="auto">
                <a:xfrm flipH="1">
                  <a:off x="1158" y="1985"/>
                  <a:ext cx="55" cy="318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128" name="Gruppo 127"/>
              <p:cNvGrpSpPr/>
              <p:nvPr/>
            </p:nvGrpSpPr>
            <p:grpSpPr>
              <a:xfrm>
                <a:off x="4570451" y="2639474"/>
                <a:ext cx="2033331" cy="482458"/>
                <a:chOff x="3056412" y="2427929"/>
                <a:chExt cx="2033330" cy="802038"/>
              </a:xfrm>
            </p:grpSpPr>
            <p:grpSp>
              <p:nvGrpSpPr>
                <p:cNvPr id="132" name="Gruppo 131"/>
                <p:cNvGrpSpPr/>
                <p:nvPr/>
              </p:nvGrpSpPr>
              <p:grpSpPr>
                <a:xfrm rot="16200000">
                  <a:off x="3858819" y="1803613"/>
                  <a:ext cx="480815" cy="1732733"/>
                  <a:chOff x="5308435" y="4079404"/>
                  <a:chExt cx="436890" cy="1301807"/>
                </a:xfrm>
              </p:grpSpPr>
              <p:sp>
                <p:nvSpPr>
                  <p:cNvPr id="139" name="Rectangle 325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4894950" y="4586216"/>
                    <a:ext cx="1262545" cy="248921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8F7272"/>
                      </a:gs>
                      <a:gs pos="50000">
                        <a:srgbClr val="FFCCCC"/>
                      </a:gs>
                      <a:gs pos="100000">
                        <a:srgbClr val="8F7272"/>
                      </a:gs>
                    </a:gsLst>
                    <a:lin ang="5400000" scaled="1"/>
                  </a:gra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  <p:sp>
                <p:nvSpPr>
                  <p:cNvPr id="140" name="Ritaglia angolo stesso lato rettangolo 139"/>
                  <p:cNvSpPr/>
                  <p:nvPr/>
                </p:nvSpPr>
                <p:spPr>
                  <a:xfrm rot="10800000">
                    <a:off x="5308435" y="5302631"/>
                    <a:ext cx="436890" cy="78580"/>
                  </a:xfrm>
                  <a:prstGeom prst="snip2SameRect">
                    <a:avLst>
                      <a:gd name="adj1" fmla="val 50000"/>
                      <a:gd name="adj2" fmla="val 0"/>
                    </a:avLst>
                  </a:prstGeom>
                  <a:gradFill flip="none" rotWithShape="1">
                    <a:gsLst>
                      <a:gs pos="0">
                        <a:srgbClr val="8F7272"/>
                      </a:gs>
                      <a:gs pos="50000">
                        <a:srgbClr val="FFCCCC"/>
                      </a:gs>
                      <a:gs pos="100000">
                        <a:srgbClr val="8F7272"/>
                      </a:gs>
                    </a:gsLst>
                    <a:lin ang="0" scaled="1"/>
                    <a:tileRect/>
                  </a:gra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158" b="1" dirty="0">
                      <a:latin typeface="Arial Narrow" pitchFamily="34" charset="0"/>
                    </a:endParaRPr>
                  </a:p>
                </p:txBody>
              </p:sp>
            </p:grpSp>
            <p:grpSp>
              <p:nvGrpSpPr>
                <p:cNvPr id="133" name="Group 327"/>
                <p:cNvGrpSpPr>
                  <a:grpSpLocks/>
                </p:cNvGrpSpPr>
                <p:nvPr/>
              </p:nvGrpSpPr>
              <p:grpSpPr bwMode="auto">
                <a:xfrm flipV="1">
                  <a:off x="3336833" y="2427929"/>
                  <a:ext cx="390256" cy="473183"/>
                  <a:chOff x="957" y="1985"/>
                  <a:chExt cx="256" cy="318"/>
                </a:xfrm>
              </p:grpSpPr>
              <p:sp>
                <p:nvSpPr>
                  <p:cNvPr id="136" name="AutoShape 328"/>
                  <p:cNvSpPr>
                    <a:spLocks noChangeArrowheads="1"/>
                  </p:cNvSpPr>
                  <p:nvPr/>
                </p:nvSpPr>
                <p:spPr bwMode="auto">
                  <a:xfrm rot="5400000" flipH="1">
                    <a:off x="974" y="2117"/>
                    <a:ext cx="314" cy="53"/>
                  </a:xfrm>
                  <a:custGeom>
                    <a:avLst/>
                    <a:gdLst>
                      <a:gd name="T0" fmla="*/ 4 w 21600"/>
                      <a:gd name="T1" fmla="*/ 0 h 21600"/>
                      <a:gd name="T2" fmla="*/ 2 w 21600"/>
                      <a:gd name="T3" fmla="*/ 0 h 21600"/>
                      <a:gd name="T4" fmla="*/ 0 w 21600"/>
                      <a:gd name="T5" fmla="*/ 0 h 21600"/>
                      <a:gd name="T6" fmla="*/ 2 w 21600"/>
                      <a:gd name="T7" fmla="*/ 0 h 21600"/>
                      <a:gd name="T8" fmla="*/ 0 60000 65536"/>
                      <a:gd name="T9" fmla="*/ 0 60000 65536"/>
                      <a:gd name="T10" fmla="*/ 0 60000 65536"/>
                      <a:gd name="T11" fmla="*/ 0 60000 65536"/>
                      <a:gd name="T12" fmla="*/ 2820 w 21600"/>
                      <a:gd name="T13" fmla="*/ 2853 h 21600"/>
                      <a:gd name="T14" fmla="*/ 18780 w 21600"/>
                      <a:gd name="T15" fmla="*/ 18747 h 21600"/>
                    </a:gdLst>
                    <a:ahLst/>
                    <a:cxnLst>
                      <a:cxn ang="T8">
                        <a:pos x="T0" y="T1"/>
                      </a:cxn>
                      <a:cxn ang="T9">
                        <a:pos x="T2" y="T3"/>
                      </a:cxn>
                      <a:cxn ang="T10">
                        <a:pos x="T4" y="T5"/>
                      </a:cxn>
                      <a:cxn ang="T11">
                        <a:pos x="T6" y="T7"/>
                      </a:cxn>
                    </a:cxnLst>
                    <a:rect l="T12" t="T13" r="T14" b="T15"/>
                    <a:pathLst>
                      <a:path w="21600" h="21600">
                        <a:moveTo>
                          <a:pt x="0" y="0"/>
                        </a:moveTo>
                        <a:lnTo>
                          <a:pt x="2076" y="21600"/>
                        </a:lnTo>
                        <a:lnTo>
                          <a:pt x="19524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5E4776"/>
                      </a:gs>
                      <a:gs pos="50000">
                        <a:srgbClr val="CC99FF"/>
                      </a:gs>
                      <a:gs pos="100000">
                        <a:srgbClr val="5E4776"/>
                      </a:gs>
                    </a:gsLst>
                    <a:lin ang="0" scaled="1"/>
                  </a:gradFill>
                  <a:ln w="9525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  <p:sp>
                <p:nvSpPr>
                  <p:cNvPr id="137" name="Rectangle 329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957" y="2017"/>
                    <a:ext cx="153" cy="256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5E4776"/>
                      </a:gs>
                      <a:gs pos="50000">
                        <a:srgbClr val="CC99FF"/>
                      </a:gs>
                      <a:gs pos="100000">
                        <a:srgbClr val="5E4776"/>
                      </a:gs>
                    </a:gsLst>
                    <a:lin ang="5400000" scaled="1"/>
                  </a:gradFill>
                  <a:ln w="9525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  <p:sp>
                <p:nvSpPr>
                  <p:cNvPr id="138" name="Rectangle 330"/>
                  <p:cNvSpPr>
                    <a:spLocks noChangeArrowheads="1"/>
                  </p:cNvSpPr>
                  <p:nvPr/>
                </p:nvSpPr>
                <p:spPr bwMode="auto">
                  <a:xfrm flipH="1">
                    <a:off x="1158" y="1985"/>
                    <a:ext cx="55" cy="318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5E4776"/>
                      </a:gs>
                      <a:gs pos="50000">
                        <a:srgbClr val="CC99FF"/>
                      </a:gs>
                      <a:gs pos="100000">
                        <a:srgbClr val="5E4776"/>
                      </a:gs>
                    </a:gsLst>
                    <a:lin ang="5400000" scaled="1"/>
                  </a:gradFill>
                  <a:ln w="9525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GB" sz="1158" b="1" dirty="0">
                      <a:latin typeface="Arial Narrow" pitchFamily="34" charset="0"/>
                    </a:endParaRPr>
                  </a:p>
                </p:txBody>
              </p:sp>
            </p:grpSp>
            <p:cxnSp>
              <p:nvCxnSpPr>
                <p:cNvPr id="135" name="Connettore 1 134"/>
                <p:cNvCxnSpPr>
                  <a:stCxn id="139" idx="1"/>
                  <a:endCxn id="139" idx="3"/>
                </p:cNvCxnSpPr>
                <p:nvPr/>
              </p:nvCxnSpPr>
              <p:spPr>
                <a:xfrm>
                  <a:off x="3056412" y="3229967"/>
                  <a:ext cx="2033330" cy="0"/>
                </a:xfrm>
                <a:prstGeom prst="line">
                  <a:avLst/>
                </a:prstGeom>
                <a:noFill/>
                <a:ln w="12700">
                  <a:solidFill>
                    <a:schemeClr val="tx1"/>
                  </a:solidFill>
                  <a:prstDash val="lgDashDot"/>
                  <a:round/>
                  <a:headEnd/>
                  <a:tailEnd/>
                </a:ln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</a:extLst>
              </p:spPr>
            </p:cxnSp>
          </p:grpSp>
          <p:cxnSp>
            <p:nvCxnSpPr>
              <p:cNvPr id="129" name="Connettore 1 128"/>
              <p:cNvCxnSpPr/>
              <p:nvPr/>
            </p:nvCxnSpPr>
            <p:spPr>
              <a:xfrm flipH="1">
                <a:off x="5129614" y="1682306"/>
                <a:ext cx="147393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lg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10" name="Straight Arrow Connector 9"/>
            <p:cNvCxnSpPr>
              <a:stCxn id="92" idx="0"/>
            </p:cNvCxnSpPr>
            <p:nvPr/>
          </p:nvCxnSpPr>
          <p:spPr>
            <a:xfrm flipV="1">
              <a:off x="7751499" y="768654"/>
              <a:ext cx="753728" cy="755703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extBox 10"/>
            <p:cNvSpPr txBox="1"/>
            <p:nvPr/>
          </p:nvSpPr>
          <p:spPr>
            <a:xfrm>
              <a:off x="8499020" y="616605"/>
              <a:ext cx="484428" cy="2705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it-IT" sz="1158" dirty="0"/>
                <a:t>Shim</a:t>
              </a:r>
              <a:endParaRPr lang="it-IT" sz="1158" dirty="0"/>
            </a:p>
          </p:txBody>
        </p:sp>
        <p:cxnSp>
          <p:nvCxnSpPr>
            <p:cNvPr id="125" name="Straight Arrow Connector 124"/>
            <p:cNvCxnSpPr>
              <a:stCxn id="96" idx="10"/>
            </p:cNvCxnSpPr>
            <p:nvPr/>
          </p:nvCxnSpPr>
          <p:spPr>
            <a:xfrm flipH="1" flipV="1">
              <a:off x="8762279" y="992694"/>
              <a:ext cx="128432" cy="2470514"/>
            </a:xfrm>
            <a:prstGeom prst="straightConnector1">
              <a:avLst/>
            </a:prstGeom>
            <a:ln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8" name="Titolo 1"/>
          <p:cNvSpPr txBox="1">
            <a:spLocks/>
          </p:cNvSpPr>
          <p:nvPr/>
        </p:nvSpPr>
        <p:spPr>
          <a:xfrm>
            <a:off x="5878492" y="4414470"/>
            <a:ext cx="1907984" cy="298415"/>
          </a:xfrm>
          <a:prstGeom prst="rect">
            <a:avLst/>
          </a:prstGeom>
          <a:solidFill>
            <a:srgbClr val="CCFF33"/>
          </a:solidFill>
        </p:spPr>
        <p:txBody>
          <a:bodyPr vert="horz" lIns="91440" tIns="45720" rIns="91440" bIns="45720" rtlCol="0" anchor="ctr">
            <a:spAutoFit/>
          </a:bodyPr>
          <a:lstStyle>
            <a:lvl1pPr algn="l" defTabSz="756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985" b="1" i="0" kern="1200">
                <a:solidFill>
                  <a:schemeClr val="tx1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1488" dirty="0" err="1" smtClean="0">
                <a:latin typeface="Arial Narrow" panose="020B0606020202030204" pitchFamily="34" charset="0"/>
              </a:rPr>
              <a:t>Configurazione</a:t>
            </a:r>
            <a:r>
              <a:rPr lang="en-US" sz="1488" dirty="0" smtClean="0">
                <a:latin typeface="Arial Narrow" panose="020B0606020202030204" pitchFamily="34" charset="0"/>
              </a:rPr>
              <a:t> </a:t>
            </a:r>
            <a:r>
              <a:rPr lang="en-US" sz="1488" dirty="0" err="1" smtClean="0">
                <a:latin typeface="Arial Narrow" panose="020B0606020202030204" pitchFamily="34" charset="0"/>
              </a:rPr>
              <a:t>reale</a:t>
            </a:r>
            <a:endParaRPr lang="en-US" sz="1488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218348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Motivazioni della variabilità</a:t>
            </a:r>
            <a:endParaRPr lang="en-GB" dirty="0"/>
          </a:p>
        </p:txBody>
      </p:sp>
      <p:sp>
        <p:nvSpPr>
          <p:cNvPr id="4" name="Segnaposto contenuto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it-IT" dirty="0" smtClean="0"/>
              <a:t>Tecnologia del composito</a:t>
            </a:r>
          </a:p>
          <a:p>
            <a:r>
              <a:rPr lang="it-IT" dirty="0" smtClean="0"/>
              <a:t>Dimensioni delle parti</a:t>
            </a:r>
          </a:p>
          <a:p>
            <a:r>
              <a:rPr lang="it-IT" dirty="0" smtClean="0"/>
              <a:t>Flessibilità delle parti</a:t>
            </a:r>
          </a:p>
          <a:p>
            <a:r>
              <a:rPr lang="it-IT" dirty="0" smtClean="0"/>
              <a:t>Condizioni di assemblaggio</a:t>
            </a:r>
          </a:p>
          <a:p>
            <a:r>
              <a:rPr lang="it-IT" dirty="0" smtClean="0"/>
              <a:t>Somma di tolleranze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98045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6" name="Freccia curva 2"/>
          <p:cNvSpPr/>
          <p:nvPr/>
        </p:nvSpPr>
        <p:spPr>
          <a:xfrm flipV="1">
            <a:off x="2684507" y="2260502"/>
            <a:ext cx="2235887" cy="1975558"/>
          </a:xfrm>
          <a:custGeom>
            <a:avLst/>
            <a:gdLst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404499 h 2651760"/>
              <a:gd name="connsiteX6" fmla="*/ 4432678 w 4432678"/>
              <a:gd name="connsiteY6" fmla="*/ 808999 h 2651760"/>
              <a:gd name="connsiteX7" fmla="*/ 4432678 w 4432678"/>
              <a:gd name="connsiteY7" fmla="*/ 533720 h 2651760"/>
              <a:gd name="connsiteX8" fmla="*/ 575856 w 4432678"/>
              <a:gd name="connsiteY8" fmla="*/ 533720 h 2651760"/>
              <a:gd name="connsiteX9" fmla="*/ 258440 w 4432678"/>
              <a:gd name="connsiteY9" fmla="*/ 851136 h 2651760"/>
              <a:gd name="connsiteX10" fmla="*/ 258441 w 4432678"/>
              <a:gd name="connsiteY10" fmla="*/ 2651760 h 2651760"/>
              <a:gd name="connsiteX11" fmla="*/ 0 w 4432678"/>
              <a:gd name="connsiteY11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808999 h 2651760"/>
              <a:gd name="connsiteX6" fmla="*/ 4432678 w 4432678"/>
              <a:gd name="connsiteY6" fmla="*/ 533720 h 2651760"/>
              <a:gd name="connsiteX7" fmla="*/ 575856 w 4432678"/>
              <a:gd name="connsiteY7" fmla="*/ 533720 h 2651760"/>
              <a:gd name="connsiteX8" fmla="*/ 258440 w 4432678"/>
              <a:gd name="connsiteY8" fmla="*/ 851136 h 2651760"/>
              <a:gd name="connsiteX9" fmla="*/ 258441 w 4432678"/>
              <a:gd name="connsiteY9" fmla="*/ 2651760 h 2651760"/>
              <a:gd name="connsiteX10" fmla="*/ 0 w 4432678"/>
              <a:gd name="connsiteY10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533720 h 2651760"/>
              <a:gd name="connsiteX6" fmla="*/ 575856 w 4432678"/>
              <a:gd name="connsiteY6" fmla="*/ 533720 h 2651760"/>
              <a:gd name="connsiteX7" fmla="*/ 258440 w 4432678"/>
              <a:gd name="connsiteY7" fmla="*/ 851136 h 2651760"/>
              <a:gd name="connsiteX8" fmla="*/ 258441 w 4432678"/>
              <a:gd name="connsiteY8" fmla="*/ 2651760 h 2651760"/>
              <a:gd name="connsiteX9" fmla="*/ 0 w 4432678"/>
              <a:gd name="connsiteY9" fmla="*/ 2651760 h 2651760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4432678 w 4432678"/>
              <a:gd name="connsiteY3" fmla="*/ 0 h 2376481"/>
              <a:gd name="connsiteX4" fmla="*/ 4432678 w 4432678"/>
              <a:gd name="connsiteY4" fmla="*/ 258441 h 2376481"/>
              <a:gd name="connsiteX5" fmla="*/ 575856 w 4432678"/>
              <a:gd name="connsiteY5" fmla="*/ 258441 h 2376481"/>
              <a:gd name="connsiteX6" fmla="*/ 258440 w 4432678"/>
              <a:gd name="connsiteY6" fmla="*/ 575857 h 2376481"/>
              <a:gd name="connsiteX7" fmla="*/ 258441 w 4432678"/>
              <a:gd name="connsiteY7" fmla="*/ 2376481 h 2376481"/>
              <a:gd name="connsiteX8" fmla="*/ 0 w 4432678"/>
              <a:gd name="connsiteY8" fmla="*/ 2376481 h 2376481"/>
              <a:gd name="connsiteX0" fmla="*/ 0 w 4432703"/>
              <a:gd name="connsiteY0" fmla="*/ 2376481 h 2376481"/>
              <a:gd name="connsiteX1" fmla="*/ 0 w 4432703"/>
              <a:gd name="connsiteY1" fmla="*/ 575856 h 2376481"/>
              <a:gd name="connsiteX2" fmla="*/ 575856 w 4432703"/>
              <a:gd name="connsiteY2" fmla="*/ 0 h 2376481"/>
              <a:gd name="connsiteX3" fmla="*/ 4432678 w 4432703"/>
              <a:gd name="connsiteY3" fmla="*/ 0 h 2376481"/>
              <a:gd name="connsiteX4" fmla="*/ 4390707 w 4432703"/>
              <a:gd name="connsiteY4" fmla="*/ 154488 h 2376481"/>
              <a:gd name="connsiteX5" fmla="*/ 4432678 w 4432703"/>
              <a:gd name="connsiteY5" fmla="*/ 258441 h 2376481"/>
              <a:gd name="connsiteX6" fmla="*/ 575856 w 4432703"/>
              <a:gd name="connsiteY6" fmla="*/ 258441 h 2376481"/>
              <a:gd name="connsiteX7" fmla="*/ 258440 w 4432703"/>
              <a:gd name="connsiteY7" fmla="*/ 575857 h 2376481"/>
              <a:gd name="connsiteX8" fmla="*/ 258441 w 4432703"/>
              <a:gd name="connsiteY8" fmla="*/ 2376481 h 2376481"/>
              <a:gd name="connsiteX9" fmla="*/ 0 w 4432703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43907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25619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2658742"/>
              <a:gd name="connsiteY0" fmla="*/ 2376481 h 2376481"/>
              <a:gd name="connsiteX1" fmla="*/ 0 w 2658742"/>
              <a:gd name="connsiteY1" fmla="*/ 575856 h 2376481"/>
              <a:gd name="connsiteX2" fmla="*/ 575856 w 2658742"/>
              <a:gd name="connsiteY2" fmla="*/ 0 h 2376481"/>
              <a:gd name="connsiteX3" fmla="*/ 2567302 w 2658742"/>
              <a:gd name="connsiteY3" fmla="*/ 0 h 2376481"/>
              <a:gd name="connsiteX4" fmla="*/ 2561907 w 2658742"/>
              <a:gd name="connsiteY4" fmla="*/ 154488 h 2376481"/>
              <a:gd name="connsiteX5" fmla="*/ 2658742 w 2658742"/>
              <a:gd name="connsiteY5" fmla="*/ 249297 h 2376481"/>
              <a:gd name="connsiteX6" fmla="*/ 575856 w 2658742"/>
              <a:gd name="connsiteY6" fmla="*/ 258441 h 2376481"/>
              <a:gd name="connsiteX7" fmla="*/ 258440 w 2658742"/>
              <a:gd name="connsiteY7" fmla="*/ 575857 h 2376481"/>
              <a:gd name="connsiteX8" fmla="*/ 258441 w 2658742"/>
              <a:gd name="connsiteY8" fmla="*/ 2376481 h 2376481"/>
              <a:gd name="connsiteX9" fmla="*/ 0 w 2658742"/>
              <a:gd name="connsiteY9" fmla="*/ 2376481 h 2376481"/>
              <a:gd name="connsiteX0" fmla="*/ 6 w 2658748"/>
              <a:gd name="connsiteY0" fmla="*/ 2376481 h 2376481"/>
              <a:gd name="connsiteX1" fmla="*/ 27120 w 2658748"/>
              <a:gd name="connsiteY1" fmla="*/ 2082729 h 2376481"/>
              <a:gd name="connsiteX2" fmla="*/ 6 w 2658748"/>
              <a:gd name="connsiteY2" fmla="*/ 575856 h 2376481"/>
              <a:gd name="connsiteX3" fmla="*/ 575862 w 2658748"/>
              <a:gd name="connsiteY3" fmla="*/ 0 h 2376481"/>
              <a:gd name="connsiteX4" fmla="*/ 2567308 w 2658748"/>
              <a:gd name="connsiteY4" fmla="*/ 0 h 2376481"/>
              <a:gd name="connsiteX5" fmla="*/ 2561913 w 2658748"/>
              <a:gd name="connsiteY5" fmla="*/ 154488 h 2376481"/>
              <a:gd name="connsiteX6" fmla="*/ 2658748 w 2658748"/>
              <a:gd name="connsiteY6" fmla="*/ 249297 h 2376481"/>
              <a:gd name="connsiteX7" fmla="*/ 575862 w 2658748"/>
              <a:gd name="connsiteY7" fmla="*/ 258441 h 2376481"/>
              <a:gd name="connsiteX8" fmla="*/ 258446 w 2658748"/>
              <a:gd name="connsiteY8" fmla="*/ 575857 h 2376481"/>
              <a:gd name="connsiteX9" fmla="*/ 258447 w 2658748"/>
              <a:gd name="connsiteY9" fmla="*/ 2376481 h 2376481"/>
              <a:gd name="connsiteX10" fmla="*/ 6 w 2658748"/>
              <a:gd name="connsiteY10" fmla="*/ 2376481 h 2376481"/>
              <a:gd name="connsiteX0" fmla="*/ 10986 w 2669728"/>
              <a:gd name="connsiteY0" fmla="*/ 2376481 h 2376481"/>
              <a:gd name="connsiteX1" fmla="*/ 38100 w 2669728"/>
              <a:gd name="connsiteY1" fmla="*/ 2082729 h 2376481"/>
              <a:gd name="connsiteX2" fmla="*/ 0 w 2669728"/>
              <a:gd name="connsiteY2" fmla="*/ 1887466 h 2376481"/>
              <a:gd name="connsiteX3" fmla="*/ 10986 w 2669728"/>
              <a:gd name="connsiteY3" fmla="*/ 575856 h 2376481"/>
              <a:gd name="connsiteX4" fmla="*/ 586842 w 2669728"/>
              <a:gd name="connsiteY4" fmla="*/ 0 h 2376481"/>
              <a:gd name="connsiteX5" fmla="*/ 2578288 w 2669728"/>
              <a:gd name="connsiteY5" fmla="*/ 0 h 2376481"/>
              <a:gd name="connsiteX6" fmla="*/ 2572893 w 2669728"/>
              <a:gd name="connsiteY6" fmla="*/ 154488 h 2376481"/>
              <a:gd name="connsiteX7" fmla="*/ 2669728 w 2669728"/>
              <a:gd name="connsiteY7" fmla="*/ 249297 h 2376481"/>
              <a:gd name="connsiteX8" fmla="*/ 586842 w 2669728"/>
              <a:gd name="connsiteY8" fmla="*/ 258441 h 2376481"/>
              <a:gd name="connsiteX9" fmla="*/ 269426 w 2669728"/>
              <a:gd name="connsiteY9" fmla="*/ 575857 h 2376481"/>
              <a:gd name="connsiteX10" fmla="*/ 269427 w 2669728"/>
              <a:gd name="connsiteY10" fmla="*/ 2376481 h 2376481"/>
              <a:gd name="connsiteX11" fmla="*/ 10986 w 2669728"/>
              <a:gd name="connsiteY11" fmla="*/ 2376481 h 2376481"/>
              <a:gd name="connsiteX0" fmla="*/ 10986 w 2669728"/>
              <a:gd name="connsiteY0" fmla="*/ 2376481 h 2376481"/>
              <a:gd name="connsiteX1" fmla="*/ 38100 w 2669728"/>
              <a:gd name="connsiteY1" fmla="*/ 2082729 h 2376481"/>
              <a:gd name="connsiteX2" fmla="*/ 0 w 2669728"/>
              <a:gd name="connsiteY2" fmla="*/ 1887466 h 2376481"/>
              <a:gd name="connsiteX3" fmla="*/ 42863 w 2669728"/>
              <a:gd name="connsiteY3" fmla="*/ 1306441 h 2376481"/>
              <a:gd name="connsiteX4" fmla="*/ 10986 w 2669728"/>
              <a:gd name="connsiteY4" fmla="*/ 575856 h 2376481"/>
              <a:gd name="connsiteX5" fmla="*/ 586842 w 2669728"/>
              <a:gd name="connsiteY5" fmla="*/ 0 h 2376481"/>
              <a:gd name="connsiteX6" fmla="*/ 2578288 w 2669728"/>
              <a:gd name="connsiteY6" fmla="*/ 0 h 2376481"/>
              <a:gd name="connsiteX7" fmla="*/ 2572893 w 2669728"/>
              <a:gd name="connsiteY7" fmla="*/ 154488 h 2376481"/>
              <a:gd name="connsiteX8" fmla="*/ 2669728 w 2669728"/>
              <a:gd name="connsiteY8" fmla="*/ 249297 h 2376481"/>
              <a:gd name="connsiteX9" fmla="*/ 586842 w 2669728"/>
              <a:gd name="connsiteY9" fmla="*/ 258441 h 2376481"/>
              <a:gd name="connsiteX10" fmla="*/ 269426 w 2669728"/>
              <a:gd name="connsiteY10" fmla="*/ 575857 h 2376481"/>
              <a:gd name="connsiteX11" fmla="*/ 269427 w 2669728"/>
              <a:gd name="connsiteY11" fmla="*/ 2376481 h 2376481"/>
              <a:gd name="connsiteX12" fmla="*/ 10986 w 2669728"/>
              <a:gd name="connsiteY12" fmla="*/ 2376481 h 2376481"/>
              <a:gd name="connsiteX0" fmla="*/ 20511 w 2679253"/>
              <a:gd name="connsiteY0" fmla="*/ 2376481 h 2376481"/>
              <a:gd name="connsiteX1" fmla="*/ 47625 w 2679253"/>
              <a:gd name="connsiteY1" fmla="*/ 2082729 h 2376481"/>
              <a:gd name="connsiteX2" fmla="*/ 9525 w 2679253"/>
              <a:gd name="connsiteY2" fmla="*/ 1887466 h 2376481"/>
              <a:gd name="connsiteX3" fmla="*/ 52388 w 2679253"/>
              <a:gd name="connsiteY3" fmla="*/ 1306441 h 2376481"/>
              <a:gd name="connsiteX4" fmla="*/ 0 w 2679253"/>
              <a:gd name="connsiteY4" fmla="*/ 939729 h 2376481"/>
              <a:gd name="connsiteX5" fmla="*/ 20511 w 2679253"/>
              <a:gd name="connsiteY5" fmla="*/ 575856 h 2376481"/>
              <a:gd name="connsiteX6" fmla="*/ 596367 w 2679253"/>
              <a:gd name="connsiteY6" fmla="*/ 0 h 2376481"/>
              <a:gd name="connsiteX7" fmla="*/ 2587813 w 2679253"/>
              <a:gd name="connsiteY7" fmla="*/ 0 h 2376481"/>
              <a:gd name="connsiteX8" fmla="*/ 2582418 w 2679253"/>
              <a:gd name="connsiteY8" fmla="*/ 154488 h 2376481"/>
              <a:gd name="connsiteX9" fmla="*/ 2679253 w 2679253"/>
              <a:gd name="connsiteY9" fmla="*/ 249297 h 2376481"/>
              <a:gd name="connsiteX10" fmla="*/ 596367 w 2679253"/>
              <a:gd name="connsiteY10" fmla="*/ 258441 h 2376481"/>
              <a:gd name="connsiteX11" fmla="*/ 278951 w 2679253"/>
              <a:gd name="connsiteY11" fmla="*/ 575857 h 2376481"/>
              <a:gd name="connsiteX12" fmla="*/ 278952 w 2679253"/>
              <a:gd name="connsiteY12" fmla="*/ 2376481 h 2376481"/>
              <a:gd name="connsiteX13" fmla="*/ 20511 w 2679253"/>
              <a:gd name="connsiteY13" fmla="*/ 2376481 h 2376481"/>
              <a:gd name="connsiteX0" fmla="*/ 20511 w 2679253"/>
              <a:gd name="connsiteY0" fmla="*/ 2376481 h 2376481"/>
              <a:gd name="connsiteX1" fmla="*/ 47625 w 2679253"/>
              <a:gd name="connsiteY1" fmla="*/ 2082729 h 2376481"/>
              <a:gd name="connsiteX2" fmla="*/ 9525 w 2679253"/>
              <a:gd name="connsiteY2" fmla="*/ 1887466 h 2376481"/>
              <a:gd name="connsiteX3" fmla="*/ 52388 w 2679253"/>
              <a:gd name="connsiteY3" fmla="*/ 1306441 h 2376481"/>
              <a:gd name="connsiteX4" fmla="*/ 0 w 2679253"/>
              <a:gd name="connsiteY4" fmla="*/ 939729 h 2376481"/>
              <a:gd name="connsiteX5" fmla="*/ 20511 w 2679253"/>
              <a:gd name="connsiteY5" fmla="*/ 575856 h 2376481"/>
              <a:gd name="connsiteX6" fmla="*/ 596367 w 2679253"/>
              <a:gd name="connsiteY6" fmla="*/ 0 h 2376481"/>
              <a:gd name="connsiteX7" fmla="*/ 2587813 w 2679253"/>
              <a:gd name="connsiteY7" fmla="*/ 0 h 2376481"/>
              <a:gd name="connsiteX8" fmla="*/ 2582418 w 2679253"/>
              <a:gd name="connsiteY8" fmla="*/ 154488 h 2376481"/>
              <a:gd name="connsiteX9" fmla="*/ 2679253 w 2679253"/>
              <a:gd name="connsiteY9" fmla="*/ 249297 h 2376481"/>
              <a:gd name="connsiteX10" fmla="*/ 596367 w 2679253"/>
              <a:gd name="connsiteY10" fmla="*/ 258441 h 2376481"/>
              <a:gd name="connsiteX11" fmla="*/ 278951 w 2679253"/>
              <a:gd name="connsiteY11" fmla="*/ 575857 h 2376481"/>
              <a:gd name="connsiteX12" fmla="*/ 278952 w 2679253"/>
              <a:gd name="connsiteY12" fmla="*/ 2376481 h 2376481"/>
              <a:gd name="connsiteX13" fmla="*/ 20511 w 2679253"/>
              <a:gd name="connsiteY13" fmla="*/ 2376481 h 2376481"/>
              <a:gd name="connsiteX0" fmla="*/ 33888 w 2692630"/>
              <a:gd name="connsiteY0" fmla="*/ 2376481 h 2376481"/>
              <a:gd name="connsiteX1" fmla="*/ 61002 w 2692630"/>
              <a:gd name="connsiteY1" fmla="*/ 2082729 h 2376481"/>
              <a:gd name="connsiteX2" fmla="*/ 22902 w 2692630"/>
              <a:gd name="connsiteY2" fmla="*/ 1887466 h 2376481"/>
              <a:gd name="connsiteX3" fmla="*/ 65765 w 2692630"/>
              <a:gd name="connsiteY3" fmla="*/ 1306441 h 2376481"/>
              <a:gd name="connsiteX4" fmla="*/ 13377 w 2692630"/>
              <a:gd name="connsiteY4" fmla="*/ 939729 h 2376481"/>
              <a:gd name="connsiteX5" fmla="*/ 550 w 2692630"/>
              <a:gd name="connsiteY5" fmla="*/ 571094 h 2376481"/>
              <a:gd name="connsiteX6" fmla="*/ 609744 w 2692630"/>
              <a:gd name="connsiteY6" fmla="*/ 0 h 2376481"/>
              <a:gd name="connsiteX7" fmla="*/ 2601190 w 2692630"/>
              <a:gd name="connsiteY7" fmla="*/ 0 h 2376481"/>
              <a:gd name="connsiteX8" fmla="*/ 2595795 w 2692630"/>
              <a:gd name="connsiteY8" fmla="*/ 154488 h 2376481"/>
              <a:gd name="connsiteX9" fmla="*/ 2692630 w 2692630"/>
              <a:gd name="connsiteY9" fmla="*/ 249297 h 2376481"/>
              <a:gd name="connsiteX10" fmla="*/ 609744 w 2692630"/>
              <a:gd name="connsiteY10" fmla="*/ 258441 h 2376481"/>
              <a:gd name="connsiteX11" fmla="*/ 292328 w 2692630"/>
              <a:gd name="connsiteY11" fmla="*/ 575857 h 2376481"/>
              <a:gd name="connsiteX12" fmla="*/ 292329 w 2692630"/>
              <a:gd name="connsiteY12" fmla="*/ 2376481 h 2376481"/>
              <a:gd name="connsiteX13" fmla="*/ 33888 w 2692630"/>
              <a:gd name="connsiteY13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621210 w 2704096"/>
              <a:gd name="connsiteY7" fmla="*/ 0 h 2376481"/>
              <a:gd name="connsiteX8" fmla="*/ 2612656 w 2704096"/>
              <a:gd name="connsiteY8" fmla="*/ 0 h 2376481"/>
              <a:gd name="connsiteX9" fmla="*/ 2607261 w 2704096"/>
              <a:gd name="connsiteY9" fmla="*/ 154488 h 2376481"/>
              <a:gd name="connsiteX10" fmla="*/ 2704096 w 2704096"/>
              <a:gd name="connsiteY10" fmla="*/ 249297 h 2376481"/>
              <a:gd name="connsiteX11" fmla="*/ 621210 w 2704096"/>
              <a:gd name="connsiteY11" fmla="*/ 258441 h 2376481"/>
              <a:gd name="connsiteX12" fmla="*/ 303794 w 2704096"/>
              <a:gd name="connsiteY12" fmla="*/ 575857 h 2376481"/>
              <a:gd name="connsiteX13" fmla="*/ 303795 w 2704096"/>
              <a:gd name="connsiteY13" fmla="*/ 2376481 h 2376481"/>
              <a:gd name="connsiteX14" fmla="*/ 45354 w 2704096"/>
              <a:gd name="connsiteY14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621210 w 2704096"/>
              <a:gd name="connsiteY7" fmla="*/ 0 h 2376481"/>
              <a:gd name="connsiteX8" fmla="*/ 1601232 w 2704096"/>
              <a:gd name="connsiteY8" fmla="*/ 1516 h 2376481"/>
              <a:gd name="connsiteX9" fmla="*/ 2612656 w 2704096"/>
              <a:gd name="connsiteY9" fmla="*/ 0 h 2376481"/>
              <a:gd name="connsiteX10" fmla="*/ 2607261 w 2704096"/>
              <a:gd name="connsiteY10" fmla="*/ 154488 h 2376481"/>
              <a:gd name="connsiteX11" fmla="*/ 2704096 w 2704096"/>
              <a:gd name="connsiteY11" fmla="*/ 249297 h 2376481"/>
              <a:gd name="connsiteX12" fmla="*/ 621210 w 2704096"/>
              <a:gd name="connsiteY12" fmla="*/ 258441 h 2376481"/>
              <a:gd name="connsiteX13" fmla="*/ 303794 w 2704096"/>
              <a:gd name="connsiteY13" fmla="*/ 575857 h 2376481"/>
              <a:gd name="connsiteX14" fmla="*/ 303795 w 2704096"/>
              <a:gd name="connsiteY14" fmla="*/ 2376481 h 2376481"/>
              <a:gd name="connsiteX15" fmla="*/ 45354 w 2704096"/>
              <a:gd name="connsiteY15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353457 w 2704096"/>
              <a:gd name="connsiteY7" fmla="*/ 111054 h 2376481"/>
              <a:gd name="connsiteX8" fmla="*/ 621210 w 2704096"/>
              <a:gd name="connsiteY8" fmla="*/ 0 h 2376481"/>
              <a:gd name="connsiteX9" fmla="*/ 1601232 w 2704096"/>
              <a:gd name="connsiteY9" fmla="*/ 1516 h 2376481"/>
              <a:gd name="connsiteX10" fmla="*/ 2612656 w 2704096"/>
              <a:gd name="connsiteY10" fmla="*/ 0 h 2376481"/>
              <a:gd name="connsiteX11" fmla="*/ 2607261 w 2704096"/>
              <a:gd name="connsiteY11" fmla="*/ 154488 h 2376481"/>
              <a:gd name="connsiteX12" fmla="*/ 2704096 w 2704096"/>
              <a:gd name="connsiteY12" fmla="*/ 249297 h 2376481"/>
              <a:gd name="connsiteX13" fmla="*/ 621210 w 2704096"/>
              <a:gd name="connsiteY13" fmla="*/ 258441 h 2376481"/>
              <a:gd name="connsiteX14" fmla="*/ 303794 w 2704096"/>
              <a:gd name="connsiteY14" fmla="*/ 575857 h 2376481"/>
              <a:gd name="connsiteX15" fmla="*/ 303795 w 2704096"/>
              <a:gd name="connsiteY15" fmla="*/ 2376481 h 2376481"/>
              <a:gd name="connsiteX16" fmla="*/ 45354 w 2704096"/>
              <a:gd name="connsiteY16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191532 w 2704096"/>
              <a:gd name="connsiteY7" fmla="*/ 239641 h 2376481"/>
              <a:gd name="connsiteX8" fmla="*/ 353457 w 2704096"/>
              <a:gd name="connsiteY8" fmla="*/ 111054 h 2376481"/>
              <a:gd name="connsiteX9" fmla="*/ 621210 w 2704096"/>
              <a:gd name="connsiteY9" fmla="*/ 0 h 2376481"/>
              <a:gd name="connsiteX10" fmla="*/ 1601232 w 2704096"/>
              <a:gd name="connsiteY10" fmla="*/ 1516 h 2376481"/>
              <a:gd name="connsiteX11" fmla="*/ 2612656 w 2704096"/>
              <a:gd name="connsiteY11" fmla="*/ 0 h 2376481"/>
              <a:gd name="connsiteX12" fmla="*/ 2607261 w 2704096"/>
              <a:gd name="connsiteY12" fmla="*/ 154488 h 2376481"/>
              <a:gd name="connsiteX13" fmla="*/ 2704096 w 2704096"/>
              <a:gd name="connsiteY13" fmla="*/ 249297 h 2376481"/>
              <a:gd name="connsiteX14" fmla="*/ 621210 w 2704096"/>
              <a:gd name="connsiteY14" fmla="*/ 258441 h 2376481"/>
              <a:gd name="connsiteX15" fmla="*/ 303794 w 2704096"/>
              <a:gd name="connsiteY15" fmla="*/ 575857 h 2376481"/>
              <a:gd name="connsiteX16" fmla="*/ 303795 w 2704096"/>
              <a:gd name="connsiteY16" fmla="*/ 2376481 h 2376481"/>
              <a:gd name="connsiteX17" fmla="*/ 45354 w 2704096"/>
              <a:gd name="connsiteY17" fmla="*/ 2376481 h 2376481"/>
              <a:gd name="connsiteX0" fmla="*/ 45354 w 2704096"/>
              <a:gd name="connsiteY0" fmla="*/ 2403540 h 2403540"/>
              <a:gd name="connsiteX1" fmla="*/ 72468 w 2704096"/>
              <a:gd name="connsiteY1" fmla="*/ 2109788 h 2403540"/>
              <a:gd name="connsiteX2" fmla="*/ 34368 w 2704096"/>
              <a:gd name="connsiteY2" fmla="*/ 1914525 h 2403540"/>
              <a:gd name="connsiteX3" fmla="*/ 77231 w 2704096"/>
              <a:gd name="connsiteY3" fmla="*/ 1333500 h 2403540"/>
              <a:gd name="connsiteX4" fmla="*/ 24843 w 2704096"/>
              <a:gd name="connsiteY4" fmla="*/ 966788 h 2403540"/>
              <a:gd name="connsiteX5" fmla="*/ 12016 w 2704096"/>
              <a:gd name="connsiteY5" fmla="*/ 598153 h 2403540"/>
              <a:gd name="connsiteX6" fmla="*/ 62944 w 2704096"/>
              <a:gd name="connsiteY6" fmla="*/ 461963 h 2403540"/>
              <a:gd name="connsiteX7" fmla="*/ 191532 w 2704096"/>
              <a:gd name="connsiteY7" fmla="*/ 266700 h 2403540"/>
              <a:gd name="connsiteX8" fmla="*/ 353457 w 2704096"/>
              <a:gd name="connsiteY8" fmla="*/ 138113 h 2403540"/>
              <a:gd name="connsiteX9" fmla="*/ 621210 w 2704096"/>
              <a:gd name="connsiteY9" fmla="*/ 27059 h 2403540"/>
              <a:gd name="connsiteX10" fmla="*/ 1601232 w 2704096"/>
              <a:gd name="connsiteY10" fmla="*/ 28575 h 2403540"/>
              <a:gd name="connsiteX11" fmla="*/ 1882219 w 2704096"/>
              <a:gd name="connsiteY11" fmla="*/ 0 h 2403540"/>
              <a:gd name="connsiteX12" fmla="*/ 2612656 w 2704096"/>
              <a:gd name="connsiteY12" fmla="*/ 27059 h 2403540"/>
              <a:gd name="connsiteX13" fmla="*/ 2607261 w 2704096"/>
              <a:gd name="connsiteY13" fmla="*/ 181547 h 2403540"/>
              <a:gd name="connsiteX14" fmla="*/ 2704096 w 2704096"/>
              <a:gd name="connsiteY14" fmla="*/ 276356 h 2403540"/>
              <a:gd name="connsiteX15" fmla="*/ 621210 w 2704096"/>
              <a:gd name="connsiteY15" fmla="*/ 285500 h 2403540"/>
              <a:gd name="connsiteX16" fmla="*/ 303794 w 2704096"/>
              <a:gd name="connsiteY16" fmla="*/ 602916 h 2403540"/>
              <a:gd name="connsiteX17" fmla="*/ 303795 w 2704096"/>
              <a:gd name="connsiteY17" fmla="*/ 2403540 h 2403540"/>
              <a:gd name="connsiteX18" fmla="*/ 45354 w 2704096"/>
              <a:gd name="connsiteY18" fmla="*/ 2403540 h 2403540"/>
              <a:gd name="connsiteX0" fmla="*/ 45354 w 2704096"/>
              <a:gd name="connsiteY0" fmla="*/ 2403540 h 2403540"/>
              <a:gd name="connsiteX1" fmla="*/ 72468 w 2704096"/>
              <a:gd name="connsiteY1" fmla="*/ 2109788 h 2403540"/>
              <a:gd name="connsiteX2" fmla="*/ 34368 w 2704096"/>
              <a:gd name="connsiteY2" fmla="*/ 1914525 h 2403540"/>
              <a:gd name="connsiteX3" fmla="*/ 77231 w 2704096"/>
              <a:gd name="connsiteY3" fmla="*/ 1333500 h 2403540"/>
              <a:gd name="connsiteX4" fmla="*/ 24843 w 2704096"/>
              <a:gd name="connsiteY4" fmla="*/ 966788 h 2403540"/>
              <a:gd name="connsiteX5" fmla="*/ 12016 w 2704096"/>
              <a:gd name="connsiteY5" fmla="*/ 598153 h 2403540"/>
              <a:gd name="connsiteX6" fmla="*/ 62944 w 2704096"/>
              <a:gd name="connsiteY6" fmla="*/ 461963 h 2403540"/>
              <a:gd name="connsiteX7" fmla="*/ 191532 w 2704096"/>
              <a:gd name="connsiteY7" fmla="*/ 266700 h 2403540"/>
              <a:gd name="connsiteX8" fmla="*/ 353457 w 2704096"/>
              <a:gd name="connsiteY8" fmla="*/ 138113 h 2403540"/>
              <a:gd name="connsiteX9" fmla="*/ 621210 w 2704096"/>
              <a:gd name="connsiteY9" fmla="*/ 27059 h 2403540"/>
              <a:gd name="connsiteX10" fmla="*/ 1601232 w 2704096"/>
              <a:gd name="connsiteY10" fmla="*/ 28575 h 2403540"/>
              <a:gd name="connsiteX11" fmla="*/ 1882219 w 2704096"/>
              <a:gd name="connsiteY11" fmla="*/ 0 h 2403540"/>
              <a:gd name="connsiteX12" fmla="*/ 2210832 w 2704096"/>
              <a:gd name="connsiteY12" fmla="*/ 57151 h 2403540"/>
              <a:gd name="connsiteX13" fmla="*/ 2612656 w 2704096"/>
              <a:gd name="connsiteY13" fmla="*/ 27059 h 2403540"/>
              <a:gd name="connsiteX14" fmla="*/ 2607261 w 2704096"/>
              <a:gd name="connsiteY14" fmla="*/ 181547 h 2403540"/>
              <a:gd name="connsiteX15" fmla="*/ 2704096 w 2704096"/>
              <a:gd name="connsiteY15" fmla="*/ 276356 h 2403540"/>
              <a:gd name="connsiteX16" fmla="*/ 621210 w 2704096"/>
              <a:gd name="connsiteY16" fmla="*/ 285500 h 2403540"/>
              <a:gd name="connsiteX17" fmla="*/ 303794 w 2704096"/>
              <a:gd name="connsiteY17" fmla="*/ 602916 h 2403540"/>
              <a:gd name="connsiteX18" fmla="*/ 303795 w 2704096"/>
              <a:gd name="connsiteY18" fmla="*/ 2403540 h 2403540"/>
              <a:gd name="connsiteX19" fmla="*/ 45354 w 2704096"/>
              <a:gd name="connsiteY19" fmla="*/ 2403540 h 2403540"/>
              <a:gd name="connsiteX0" fmla="*/ 45354 w 2704096"/>
              <a:gd name="connsiteY0" fmla="*/ 2389253 h 2389253"/>
              <a:gd name="connsiteX1" fmla="*/ 72468 w 2704096"/>
              <a:gd name="connsiteY1" fmla="*/ 2095501 h 2389253"/>
              <a:gd name="connsiteX2" fmla="*/ 34368 w 2704096"/>
              <a:gd name="connsiteY2" fmla="*/ 1900238 h 2389253"/>
              <a:gd name="connsiteX3" fmla="*/ 77231 w 2704096"/>
              <a:gd name="connsiteY3" fmla="*/ 1319213 h 2389253"/>
              <a:gd name="connsiteX4" fmla="*/ 24843 w 2704096"/>
              <a:gd name="connsiteY4" fmla="*/ 952501 h 2389253"/>
              <a:gd name="connsiteX5" fmla="*/ 12016 w 2704096"/>
              <a:gd name="connsiteY5" fmla="*/ 583866 h 2389253"/>
              <a:gd name="connsiteX6" fmla="*/ 62944 w 2704096"/>
              <a:gd name="connsiteY6" fmla="*/ 447676 h 2389253"/>
              <a:gd name="connsiteX7" fmla="*/ 191532 w 2704096"/>
              <a:gd name="connsiteY7" fmla="*/ 252413 h 2389253"/>
              <a:gd name="connsiteX8" fmla="*/ 353457 w 2704096"/>
              <a:gd name="connsiteY8" fmla="*/ 123826 h 2389253"/>
              <a:gd name="connsiteX9" fmla="*/ 621210 w 2704096"/>
              <a:gd name="connsiteY9" fmla="*/ 12772 h 2389253"/>
              <a:gd name="connsiteX10" fmla="*/ 1601232 w 2704096"/>
              <a:gd name="connsiteY10" fmla="*/ 14288 h 2389253"/>
              <a:gd name="connsiteX11" fmla="*/ 1867932 w 2704096"/>
              <a:gd name="connsiteY11" fmla="*/ 0 h 2389253"/>
              <a:gd name="connsiteX12" fmla="*/ 2210832 w 2704096"/>
              <a:gd name="connsiteY12" fmla="*/ 42864 h 2389253"/>
              <a:gd name="connsiteX13" fmla="*/ 2612656 w 2704096"/>
              <a:gd name="connsiteY13" fmla="*/ 12772 h 2389253"/>
              <a:gd name="connsiteX14" fmla="*/ 2607261 w 2704096"/>
              <a:gd name="connsiteY14" fmla="*/ 167260 h 2389253"/>
              <a:gd name="connsiteX15" fmla="*/ 2704096 w 2704096"/>
              <a:gd name="connsiteY15" fmla="*/ 262069 h 2389253"/>
              <a:gd name="connsiteX16" fmla="*/ 621210 w 2704096"/>
              <a:gd name="connsiteY16" fmla="*/ 271213 h 2389253"/>
              <a:gd name="connsiteX17" fmla="*/ 303794 w 2704096"/>
              <a:gd name="connsiteY17" fmla="*/ 588629 h 2389253"/>
              <a:gd name="connsiteX18" fmla="*/ 303795 w 2704096"/>
              <a:gd name="connsiteY18" fmla="*/ 2389253 h 2389253"/>
              <a:gd name="connsiteX19" fmla="*/ 45354 w 2704096"/>
              <a:gd name="connsiteY19" fmla="*/ 2389253 h 2389253"/>
              <a:gd name="connsiteX0" fmla="*/ 45354 w 2704096"/>
              <a:gd name="connsiteY0" fmla="*/ 2389253 h 2389253"/>
              <a:gd name="connsiteX1" fmla="*/ 72468 w 2704096"/>
              <a:gd name="connsiteY1" fmla="*/ 2095501 h 2389253"/>
              <a:gd name="connsiteX2" fmla="*/ 34368 w 2704096"/>
              <a:gd name="connsiteY2" fmla="*/ 1900238 h 2389253"/>
              <a:gd name="connsiteX3" fmla="*/ 77231 w 2704096"/>
              <a:gd name="connsiteY3" fmla="*/ 1319213 h 2389253"/>
              <a:gd name="connsiteX4" fmla="*/ 24843 w 2704096"/>
              <a:gd name="connsiteY4" fmla="*/ 952501 h 2389253"/>
              <a:gd name="connsiteX5" fmla="*/ 12016 w 2704096"/>
              <a:gd name="connsiteY5" fmla="*/ 583866 h 2389253"/>
              <a:gd name="connsiteX6" fmla="*/ 62944 w 2704096"/>
              <a:gd name="connsiteY6" fmla="*/ 447676 h 2389253"/>
              <a:gd name="connsiteX7" fmla="*/ 191532 w 2704096"/>
              <a:gd name="connsiteY7" fmla="*/ 252413 h 2389253"/>
              <a:gd name="connsiteX8" fmla="*/ 353457 w 2704096"/>
              <a:gd name="connsiteY8" fmla="*/ 123826 h 2389253"/>
              <a:gd name="connsiteX9" fmla="*/ 621210 w 2704096"/>
              <a:gd name="connsiteY9" fmla="*/ 12772 h 2389253"/>
              <a:gd name="connsiteX10" fmla="*/ 1339294 w 2704096"/>
              <a:gd name="connsiteY10" fmla="*/ 33338 h 2389253"/>
              <a:gd name="connsiteX11" fmla="*/ 1601232 w 2704096"/>
              <a:gd name="connsiteY11" fmla="*/ 14288 h 2389253"/>
              <a:gd name="connsiteX12" fmla="*/ 1867932 w 2704096"/>
              <a:gd name="connsiteY12" fmla="*/ 0 h 2389253"/>
              <a:gd name="connsiteX13" fmla="*/ 2210832 w 2704096"/>
              <a:gd name="connsiteY13" fmla="*/ 42864 h 2389253"/>
              <a:gd name="connsiteX14" fmla="*/ 2612656 w 2704096"/>
              <a:gd name="connsiteY14" fmla="*/ 12772 h 2389253"/>
              <a:gd name="connsiteX15" fmla="*/ 2607261 w 2704096"/>
              <a:gd name="connsiteY15" fmla="*/ 167260 h 2389253"/>
              <a:gd name="connsiteX16" fmla="*/ 2704096 w 2704096"/>
              <a:gd name="connsiteY16" fmla="*/ 262069 h 2389253"/>
              <a:gd name="connsiteX17" fmla="*/ 621210 w 2704096"/>
              <a:gd name="connsiteY17" fmla="*/ 271213 h 2389253"/>
              <a:gd name="connsiteX18" fmla="*/ 303794 w 2704096"/>
              <a:gd name="connsiteY18" fmla="*/ 588629 h 2389253"/>
              <a:gd name="connsiteX19" fmla="*/ 303795 w 2704096"/>
              <a:gd name="connsiteY19" fmla="*/ 2389253 h 2389253"/>
              <a:gd name="connsiteX20" fmla="*/ 45354 w 2704096"/>
              <a:gd name="connsiteY20" fmla="*/ 2389253 h 2389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2704096" h="2389253">
                <a:moveTo>
                  <a:pt x="45354" y="2389253"/>
                </a:moveTo>
                <a:cubicBezTo>
                  <a:pt x="44867" y="2292923"/>
                  <a:pt x="72955" y="2191831"/>
                  <a:pt x="72468" y="2095501"/>
                </a:cubicBezTo>
                <a:cubicBezTo>
                  <a:pt x="72468" y="2058988"/>
                  <a:pt x="34368" y="1936751"/>
                  <a:pt x="34368" y="1900238"/>
                </a:cubicBezTo>
                <a:cubicBezTo>
                  <a:pt x="37543" y="1711326"/>
                  <a:pt x="74056" y="1508125"/>
                  <a:pt x="77231" y="1319213"/>
                </a:cubicBezTo>
                <a:cubicBezTo>
                  <a:pt x="74056" y="1201738"/>
                  <a:pt x="28018" y="1069976"/>
                  <a:pt x="24843" y="952501"/>
                </a:cubicBezTo>
                <a:cubicBezTo>
                  <a:pt x="65017" y="807397"/>
                  <a:pt x="5179" y="705157"/>
                  <a:pt x="12016" y="583866"/>
                </a:cubicBezTo>
                <a:cubicBezTo>
                  <a:pt x="13604" y="499729"/>
                  <a:pt x="-38588" y="542858"/>
                  <a:pt x="62944" y="447676"/>
                </a:cubicBezTo>
                <a:cubicBezTo>
                  <a:pt x="96832" y="391640"/>
                  <a:pt x="143113" y="306388"/>
                  <a:pt x="191532" y="252413"/>
                </a:cubicBezTo>
                <a:cubicBezTo>
                  <a:pt x="239951" y="198438"/>
                  <a:pt x="285813" y="162972"/>
                  <a:pt x="353457" y="123826"/>
                </a:cubicBezTo>
                <a:cubicBezTo>
                  <a:pt x="421101" y="84680"/>
                  <a:pt x="455316" y="30235"/>
                  <a:pt x="621210" y="12772"/>
                </a:cubicBezTo>
                <a:cubicBezTo>
                  <a:pt x="863746" y="14865"/>
                  <a:pt x="1096758" y="31245"/>
                  <a:pt x="1339294" y="33338"/>
                </a:cubicBezTo>
                <a:lnTo>
                  <a:pt x="1601232" y="14288"/>
                </a:lnTo>
                <a:cubicBezTo>
                  <a:pt x="1691719" y="14288"/>
                  <a:pt x="1777445" y="0"/>
                  <a:pt x="1867932" y="0"/>
                </a:cubicBezTo>
                <a:cubicBezTo>
                  <a:pt x="1974295" y="3175"/>
                  <a:pt x="2104469" y="39689"/>
                  <a:pt x="2210832" y="42864"/>
                </a:cubicBezTo>
                <a:lnTo>
                  <a:pt x="2612656" y="12772"/>
                </a:lnTo>
                <a:cubicBezTo>
                  <a:pt x="2613906" y="55124"/>
                  <a:pt x="2606011" y="124908"/>
                  <a:pt x="2607261" y="167260"/>
                </a:cubicBezTo>
                <a:lnTo>
                  <a:pt x="2704096" y="262069"/>
                </a:lnTo>
                <a:lnTo>
                  <a:pt x="621210" y="271213"/>
                </a:lnTo>
                <a:cubicBezTo>
                  <a:pt x="445906" y="271213"/>
                  <a:pt x="303794" y="413325"/>
                  <a:pt x="303794" y="588629"/>
                </a:cubicBezTo>
                <a:cubicBezTo>
                  <a:pt x="303794" y="1188837"/>
                  <a:pt x="303795" y="1789045"/>
                  <a:pt x="303795" y="2389253"/>
                </a:cubicBezTo>
                <a:lnTo>
                  <a:pt x="45354" y="2389253"/>
                </a:lnTo>
                <a:close/>
              </a:path>
            </a:pathLst>
          </a:custGeom>
          <a:pattFill prst="dkDnDiag">
            <a:fgClr>
              <a:schemeClr val="accent4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109" name="Rettangolo 6"/>
          <p:cNvSpPr/>
          <p:nvPr/>
        </p:nvSpPr>
        <p:spPr>
          <a:xfrm>
            <a:off x="2269576" y="763349"/>
            <a:ext cx="299262" cy="3221316"/>
          </a:xfrm>
          <a:custGeom>
            <a:avLst/>
            <a:gdLst>
              <a:gd name="connsiteX0" fmla="*/ 0 w 265176"/>
              <a:gd name="connsiteY0" fmla="*/ 0 h 3886200"/>
              <a:gd name="connsiteX1" fmla="*/ 265176 w 265176"/>
              <a:gd name="connsiteY1" fmla="*/ 0 h 3886200"/>
              <a:gd name="connsiteX2" fmla="*/ 265176 w 265176"/>
              <a:gd name="connsiteY2" fmla="*/ 3886200 h 3886200"/>
              <a:gd name="connsiteX3" fmla="*/ 0 w 265176"/>
              <a:gd name="connsiteY3" fmla="*/ 3886200 h 3886200"/>
              <a:gd name="connsiteX4" fmla="*/ 0 w 265176"/>
              <a:gd name="connsiteY4" fmla="*/ 0 h 3886200"/>
              <a:gd name="connsiteX0" fmla="*/ 0 w 265176"/>
              <a:gd name="connsiteY0" fmla="*/ 155 h 3886355"/>
              <a:gd name="connsiteX1" fmla="*/ 155448 w 265176"/>
              <a:gd name="connsiteY1" fmla="*/ 36731 h 3886355"/>
              <a:gd name="connsiteX2" fmla="*/ 265176 w 265176"/>
              <a:gd name="connsiteY2" fmla="*/ 155 h 3886355"/>
              <a:gd name="connsiteX3" fmla="*/ 265176 w 265176"/>
              <a:gd name="connsiteY3" fmla="*/ 3886355 h 3886355"/>
              <a:gd name="connsiteX4" fmla="*/ 0 w 265176"/>
              <a:gd name="connsiteY4" fmla="*/ 3886355 h 3886355"/>
              <a:gd name="connsiteX5" fmla="*/ 0 w 265176"/>
              <a:gd name="connsiteY5" fmla="*/ 155 h 3886355"/>
              <a:gd name="connsiteX0" fmla="*/ 0 w 265186"/>
              <a:gd name="connsiteY0" fmla="*/ 155 h 3886355"/>
              <a:gd name="connsiteX1" fmla="*/ 155448 w 265186"/>
              <a:gd name="connsiteY1" fmla="*/ 36731 h 3886355"/>
              <a:gd name="connsiteX2" fmla="*/ 265176 w 265186"/>
              <a:gd name="connsiteY2" fmla="*/ 155 h 3886355"/>
              <a:gd name="connsiteX3" fmla="*/ 247695 w 265186"/>
              <a:gd name="connsiteY3" fmla="*/ 3661757 h 3886355"/>
              <a:gd name="connsiteX4" fmla="*/ 265176 w 265186"/>
              <a:gd name="connsiteY4" fmla="*/ 3886355 h 3886355"/>
              <a:gd name="connsiteX5" fmla="*/ 0 w 265186"/>
              <a:gd name="connsiteY5" fmla="*/ 3886355 h 3886355"/>
              <a:gd name="connsiteX6" fmla="*/ 0 w 265186"/>
              <a:gd name="connsiteY6" fmla="*/ 155 h 3886355"/>
              <a:gd name="connsiteX0" fmla="*/ 0 w 281981"/>
              <a:gd name="connsiteY0" fmla="*/ 155 h 3886355"/>
              <a:gd name="connsiteX1" fmla="*/ 155448 w 281981"/>
              <a:gd name="connsiteY1" fmla="*/ 36731 h 3886355"/>
              <a:gd name="connsiteX2" fmla="*/ 265176 w 281981"/>
              <a:gd name="connsiteY2" fmla="*/ 155 h 3886355"/>
              <a:gd name="connsiteX3" fmla="*/ 281033 w 281981"/>
              <a:gd name="connsiteY3" fmla="*/ 3452207 h 3886355"/>
              <a:gd name="connsiteX4" fmla="*/ 247695 w 281981"/>
              <a:gd name="connsiteY4" fmla="*/ 3661757 h 3886355"/>
              <a:gd name="connsiteX5" fmla="*/ 265176 w 281981"/>
              <a:gd name="connsiteY5" fmla="*/ 3886355 h 3886355"/>
              <a:gd name="connsiteX6" fmla="*/ 0 w 281981"/>
              <a:gd name="connsiteY6" fmla="*/ 3886355 h 3886355"/>
              <a:gd name="connsiteX7" fmla="*/ 0 w 281981"/>
              <a:gd name="connsiteY7" fmla="*/ 155 h 3886355"/>
              <a:gd name="connsiteX0" fmla="*/ 0 w 281533"/>
              <a:gd name="connsiteY0" fmla="*/ 155 h 3886355"/>
              <a:gd name="connsiteX1" fmla="*/ 155448 w 281533"/>
              <a:gd name="connsiteY1" fmla="*/ 36731 h 3886355"/>
              <a:gd name="connsiteX2" fmla="*/ 265176 w 281533"/>
              <a:gd name="connsiteY2" fmla="*/ 155 h 3886355"/>
              <a:gd name="connsiteX3" fmla="*/ 252458 w 281533"/>
              <a:gd name="connsiteY3" fmla="*/ 2028219 h 3886355"/>
              <a:gd name="connsiteX4" fmla="*/ 281033 w 281533"/>
              <a:gd name="connsiteY4" fmla="*/ 3452207 h 3886355"/>
              <a:gd name="connsiteX5" fmla="*/ 247695 w 281533"/>
              <a:gd name="connsiteY5" fmla="*/ 3661757 h 3886355"/>
              <a:gd name="connsiteX6" fmla="*/ 265176 w 281533"/>
              <a:gd name="connsiteY6" fmla="*/ 3886355 h 3886355"/>
              <a:gd name="connsiteX7" fmla="*/ 0 w 281533"/>
              <a:gd name="connsiteY7" fmla="*/ 3886355 h 3886355"/>
              <a:gd name="connsiteX8" fmla="*/ 0 w 281533"/>
              <a:gd name="connsiteY8" fmla="*/ 155 h 3886355"/>
              <a:gd name="connsiteX0" fmla="*/ 0 w 284314"/>
              <a:gd name="connsiteY0" fmla="*/ 155 h 3886355"/>
              <a:gd name="connsiteX1" fmla="*/ 155448 w 284314"/>
              <a:gd name="connsiteY1" fmla="*/ 36731 h 3886355"/>
              <a:gd name="connsiteX2" fmla="*/ 265176 w 284314"/>
              <a:gd name="connsiteY2" fmla="*/ 155 h 3886355"/>
              <a:gd name="connsiteX3" fmla="*/ 252458 w 284314"/>
              <a:gd name="connsiteY3" fmla="*/ 2028219 h 3886355"/>
              <a:gd name="connsiteX4" fmla="*/ 281033 w 284314"/>
              <a:gd name="connsiteY4" fmla="*/ 2914044 h 3886355"/>
              <a:gd name="connsiteX5" fmla="*/ 281033 w 284314"/>
              <a:gd name="connsiteY5" fmla="*/ 3452207 h 3886355"/>
              <a:gd name="connsiteX6" fmla="*/ 247695 w 284314"/>
              <a:gd name="connsiteY6" fmla="*/ 3661757 h 3886355"/>
              <a:gd name="connsiteX7" fmla="*/ 265176 w 284314"/>
              <a:gd name="connsiteY7" fmla="*/ 3886355 h 3886355"/>
              <a:gd name="connsiteX8" fmla="*/ 0 w 284314"/>
              <a:gd name="connsiteY8" fmla="*/ 3886355 h 3886355"/>
              <a:gd name="connsiteX9" fmla="*/ 0 w 284314"/>
              <a:gd name="connsiteY9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81033 w 281804"/>
              <a:gd name="connsiteY4" fmla="*/ 2914044 h 3886355"/>
              <a:gd name="connsiteX5" fmla="*/ 252457 w 281804"/>
              <a:gd name="connsiteY5" fmla="*/ 3195032 h 3886355"/>
              <a:gd name="connsiteX6" fmla="*/ 281033 w 281804"/>
              <a:gd name="connsiteY6" fmla="*/ 3452207 h 3886355"/>
              <a:gd name="connsiteX7" fmla="*/ 247695 w 281804"/>
              <a:gd name="connsiteY7" fmla="*/ 3661757 h 3886355"/>
              <a:gd name="connsiteX8" fmla="*/ 265176 w 281804"/>
              <a:gd name="connsiteY8" fmla="*/ 3886355 h 3886355"/>
              <a:gd name="connsiteX9" fmla="*/ 0 w 281804"/>
              <a:gd name="connsiteY9" fmla="*/ 3886355 h 3886355"/>
              <a:gd name="connsiteX10" fmla="*/ 0 w 281804"/>
              <a:gd name="connsiteY10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81033 w 281804"/>
              <a:gd name="connsiteY4" fmla="*/ 2914044 h 3886355"/>
              <a:gd name="connsiteX5" fmla="*/ 252457 w 281804"/>
              <a:gd name="connsiteY5" fmla="*/ 3195032 h 3886355"/>
              <a:gd name="connsiteX6" fmla="*/ 281033 w 281804"/>
              <a:gd name="connsiteY6" fmla="*/ 3452207 h 3886355"/>
              <a:gd name="connsiteX7" fmla="*/ 266745 w 281804"/>
              <a:gd name="connsiteY7" fmla="*/ 3661757 h 3886355"/>
              <a:gd name="connsiteX8" fmla="*/ 265176 w 281804"/>
              <a:gd name="connsiteY8" fmla="*/ 3886355 h 3886355"/>
              <a:gd name="connsiteX9" fmla="*/ 0 w 281804"/>
              <a:gd name="connsiteY9" fmla="*/ 3886355 h 3886355"/>
              <a:gd name="connsiteX10" fmla="*/ 0 w 281804"/>
              <a:gd name="connsiteY10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33407 w 281804"/>
              <a:gd name="connsiteY4" fmla="*/ 2242532 h 3886355"/>
              <a:gd name="connsiteX5" fmla="*/ 281033 w 281804"/>
              <a:gd name="connsiteY5" fmla="*/ 2914044 h 3886355"/>
              <a:gd name="connsiteX6" fmla="*/ 252457 w 281804"/>
              <a:gd name="connsiteY6" fmla="*/ 3195032 h 3886355"/>
              <a:gd name="connsiteX7" fmla="*/ 281033 w 281804"/>
              <a:gd name="connsiteY7" fmla="*/ 3452207 h 3886355"/>
              <a:gd name="connsiteX8" fmla="*/ 266745 w 281804"/>
              <a:gd name="connsiteY8" fmla="*/ 3661757 h 3886355"/>
              <a:gd name="connsiteX9" fmla="*/ 265176 w 281804"/>
              <a:gd name="connsiteY9" fmla="*/ 3886355 h 3886355"/>
              <a:gd name="connsiteX10" fmla="*/ 0 w 281804"/>
              <a:gd name="connsiteY10" fmla="*/ 3886355 h 3886355"/>
              <a:gd name="connsiteX11" fmla="*/ 0 w 281804"/>
              <a:gd name="connsiteY11" fmla="*/ 155 h 3886355"/>
              <a:gd name="connsiteX0" fmla="*/ 0 w 286180"/>
              <a:gd name="connsiteY0" fmla="*/ 155 h 3886355"/>
              <a:gd name="connsiteX1" fmla="*/ 155448 w 286180"/>
              <a:gd name="connsiteY1" fmla="*/ 36731 h 3886355"/>
              <a:gd name="connsiteX2" fmla="*/ 265176 w 286180"/>
              <a:gd name="connsiteY2" fmla="*/ 155 h 3886355"/>
              <a:gd name="connsiteX3" fmla="*/ 285794 w 286180"/>
              <a:gd name="connsiteY3" fmla="*/ 1599594 h 3886355"/>
              <a:gd name="connsiteX4" fmla="*/ 252458 w 286180"/>
              <a:gd name="connsiteY4" fmla="*/ 2028219 h 3886355"/>
              <a:gd name="connsiteX5" fmla="*/ 233407 w 286180"/>
              <a:gd name="connsiteY5" fmla="*/ 2242532 h 3886355"/>
              <a:gd name="connsiteX6" fmla="*/ 281033 w 286180"/>
              <a:gd name="connsiteY6" fmla="*/ 2914044 h 3886355"/>
              <a:gd name="connsiteX7" fmla="*/ 252457 w 286180"/>
              <a:gd name="connsiteY7" fmla="*/ 3195032 h 3886355"/>
              <a:gd name="connsiteX8" fmla="*/ 281033 w 286180"/>
              <a:gd name="connsiteY8" fmla="*/ 3452207 h 3886355"/>
              <a:gd name="connsiteX9" fmla="*/ 266745 w 286180"/>
              <a:gd name="connsiteY9" fmla="*/ 3661757 h 3886355"/>
              <a:gd name="connsiteX10" fmla="*/ 265176 w 286180"/>
              <a:gd name="connsiteY10" fmla="*/ 3886355 h 3886355"/>
              <a:gd name="connsiteX11" fmla="*/ 0 w 286180"/>
              <a:gd name="connsiteY11" fmla="*/ 3886355 h 3886355"/>
              <a:gd name="connsiteX12" fmla="*/ 0 w 286180"/>
              <a:gd name="connsiteY12" fmla="*/ 155 h 3886355"/>
              <a:gd name="connsiteX0" fmla="*/ 0 w 285982"/>
              <a:gd name="connsiteY0" fmla="*/ 155 h 3886355"/>
              <a:gd name="connsiteX1" fmla="*/ 155448 w 285982"/>
              <a:gd name="connsiteY1" fmla="*/ 36731 h 3886355"/>
              <a:gd name="connsiteX2" fmla="*/ 265176 w 285982"/>
              <a:gd name="connsiteY2" fmla="*/ 155 h 3886355"/>
              <a:gd name="connsiteX3" fmla="*/ 247694 w 285982"/>
              <a:gd name="connsiteY3" fmla="*/ 242282 h 3886355"/>
              <a:gd name="connsiteX4" fmla="*/ 285794 w 285982"/>
              <a:gd name="connsiteY4" fmla="*/ 1599594 h 3886355"/>
              <a:gd name="connsiteX5" fmla="*/ 252458 w 285982"/>
              <a:gd name="connsiteY5" fmla="*/ 2028219 h 3886355"/>
              <a:gd name="connsiteX6" fmla="*/ 233407 w 285982"/>
              <a:gd name="connsiteY6" fmla="*/ 2242532 h 3886355"/>
              <a:gd name="connsiteX7" fmla="*/ 281033 w 285982"/>
              <a:gd name="connsiteY7" fmla="*/ 2914044 h 3886355"/>
              <a:gd name="connsiteX8" fmla="*/ 252457 w 285982"/>
              <a:gd name="connsiteY8" fmla="*/ 3195032 h 3886355"/>
              <a:gd name="connsiteX9" fmla="*/ 281033 w 285982"/>
              <a:gd name="connsiteY9" fmla="*/ 3452207 h 3886355"/>
              <a:gd name="connsiteX10" fmla="*/ 266745 w 285982"/>
              <a:gd name="connsiteY10" fmla="*/ 3661757 h 3886355"/>
              <a:gd name="connsiteX11" fmla="*/ 265176 w 285982"/>
              <a:gd name="connsiteY11" fmla="*/ 3886355 h 3886355"/>
              <a:gd name="connsiteX12" fmla="*/ 0 w 285982"/>
              <a:gd name="connsiteY12" fmla="*/ 3886355 h 3886355"/>
              <a:gd name="connsiteX13" fmla="*/ 0 w 285982"/>
              <a:gd name="connsiteY13" fmla="*/ 155 h 3886355"/>
              <a:gd name="connsiteX0" fmla="*/ 0 w 286354"/>
              <a:gd name="connsiteY0" fmla="*/ 155 h 3886355"/>
              <a:gd name="connsiteX1" fmla="*/ 155448 w 286354"/>
              <a:gd name="connsiteY1" fmla="*/ 36731 h 3886355"/>
              <a:gd name="connsiteX2" fmla="*/ 265176 w 286354"/>
              <a:gd name="connsiteY2" fmla="*/ 155 h 3886355"/>
              <a:gd name="connsiteX3" fmla="*/ 247694 w 286354"/>
              <a:gd name="connsiteY3" fmla="*/ 242282 h 3886355"/>
              <a:gd name="connsiteX4" fmla="*/ 257219 w 286354"/>
              <a:gd name="connsiteY4" fmla="*/ 1180494 h 3886355"/>
              <a:gd name="connsiteX5" fmla="*/ 285794 w 286354"/>
              <a:gd name="connsiteY5" fmla="*/ 1599594 h 3886355"/>
              <a:gd name="connsiteX6" fmla="*/ 252458 w 286354"/>
              <a:gd name="connsiteY6" fmla="*/ 2028219 h 3886355"/>
              <a:gd name="connsiteX7" fmla="*/ 233407 w 286354"/>
              <a:gd name="connsiteY7" fmla="*/ 2242532 h 3886355"/>
              <a:gd name="connsiteX8" fmla="*/ 281033 w 286354"/>
              <a:gd name="connsiteY8" fmla="*/ 2914044 h 3886355"/>
              <a:gd name="connsiteX9" fmla="*/ 252457 w 286354"/>
              <a:gd name="connsiteY9" fmla="*/ 3195032 h 3886355"/>
              <a:gd name="connsiteX10" fmla="*/ 281033 w 286354"/>
              <a:gd name="connsiteY10" fmla="*/ 3452207 h 3886355"/>
              <a:gd name="connsiteX11" fmla="*/ 266745 w 286354"/>
              <a:gd name="connsiteY11" fmla="*/ 3661757 h 3886355"/>
              <a:gd name="connsiteX12" fmla="*/ 265176 w 286354"/>
              <a:gd name="connsiteY12" fmla="*/ 3886355 h 3886355"/>
              <a:gd name="connsiteX13" fmla="*/ 0 w 286354"/>
              <a:gd name="connsiteY13" fmla="*/ 3886355 h 3886355"/>
              <a:gd name="connsiteX14" fmla="*/ 0 w 286354"/>
              <a:gd name="connsiteY14" fmla="*/ 155 h 3886355"/>
              <a:gd name="connsiteX0" fmla="*/ 0 w 286354"/>
              <a:gd name="connsiteY0" fmla="*/ 155 h 3886355"/>
              <a:gd name="connsiteX1" fmla="*/ 155448 w 286354"/>
              <a:gd name="connsiteY1" fmla="*/ 36731 h 3886355"/>
              <a:gd name="connsiteX2" fmla="*/ 265176 w 286354"/>
              <a:gd name="connsiteY2" fmla="*/ 155 h 3886355"/>
              <a:gd name="connsiteX3" fmla="*/ 276269 w 286354"/>
              <a:gd name="connsiteY3" fmla="*/ 242282 h 3886355"/>
              <a:gd name="connsiteX4" fmla="*/ 257219 w 286354"/>
              <a:gd name="connsiteY4" fmla="*/ 1180494 h 3886355"/>
              <a:gd name="connsiteX5" fmla="*/ 285794 w 286354"/>
              <a:gd name="connsiteY5" fmla="*/ 1599594 h 3886355"/>
              <a:gd name="connsiteX6" fmla="*/ 252458 w 286354"/>
              <a:gd name="connsiteY6" fmla="*/ 2028219 h 3886355"/>
              <a:gd name="connsiteX7" fmla="*/ 233407 w 286354"/>
              <a:gd name="connsiteY7" fmla="*/ 2242532 h 3886355"/>
              <a:gd name="connsiteX8" fmla="*/ 281033 w 286354"/>
              <a:gd name="connsiteY8" fmla="*/ 2914044 h 3886355"/>
              <a:gd name="connsiteX9" fmla="*/ 252457 w 286354"/>
              <a:gd name="connsiteY9" fmla="*/ 3195032 h 3886355"/>
              <a:gd name="connsiteX10" fmla="*/ 281033 w 286354"/>
              <a:gd name="connsiteY10" fmla="*/ 3452207 h 3886355"/>
              <a:gd name="connsiteX11" fmla="*/ 266745 w 286354"/>
              <a:gd name="connsiteY11" fmla="*/ 3661757 h 3886355"/>
              <a:gd name="connsiteX12" fmla="*/ 265176 w 286354"/>
              <a:gd name="connsiteY12" fmla="*/ 3886355 h 3886355"/>
              <a:gd name="connsiteX13" fmla="*/ 0 w 286354"/>
              <a:gd name="connsiteY13" fmla="*/ 3886355 h 3886355"/>
              <a:gd name="connsiteX14" fmla="*/ 0 w 286354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33407 w 286838"/>
              <a:gd name="connsiteY7" fmla="*/ 2242532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81033 w 286838"/>
              <a:gd name="connsiteY10" fmla="*/ 345220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81033 w 286838"/>
              <a:gd name="connsiteY10" fmla="*/ 345220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61983 w 286838"/>
              <a:gd name="connsiteY10" fmla="*/ 343315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66744 w 286838"/>
              <a:gd name="connsiteY9" fmla="*/ 3195032 h 3886355"/>
              <a:gd name="connsiteX10" fmla="*/ 261983 w 286838"/>
              <a:gd name="connsiteY10" fmla="*/ 343315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93751"/>
              <a:gd name="connsiteY0" fmla="*/ 155 h 3895880"/>
              <a:gd name="connsiteX1" fmla="*/ 155448 w 293751"/>
              <a:gd name="connsiteY1" fmla="*/ 36731 h 3895880"/>
              <a:gd name="connsiteX2" fmla="*/ 265176 w 293751"/>
              <a:gd name="connsiteY2" fmla="*/ 155 h 3895880"/>
              <a:gd name="connsiteX3" fmla="*/ 276269 w 293751"/>
              <a:gd name="connsiteY3" fmla="*/ 242282 h 3895880"/>
              <a:gd name="connsiteX4" fmla="*/ 271506 w 293751"/>
              <a:gd name="connsiteY4" fmla="*/ 1180494 h 3895880"/>
              <a:gd name="connsiteX5" fmla="*/ 285794 w 293751"/>
              <a:gd name="connsiteY5" fmla="*/ 1599594 h 3895880"/>
              <a:gd name="connsiteX6" fmla="*/ 252458 w 293751"/>
              <a:gd name="connsiteY6" fmla="*/ 2028219 h 3895880"/>
              <a:gd name="connsiteX7" fmla="*/ 257219 w 293751"/>
              <a:gd name="connsiteY7" fmla="*/ 2252057 h 3895880"/>
              <a:gd name="connsiteX8" fmla="*/ 281033 w 293751"/>
              <a:gd name="connsiteY8" fmla="*/ 2914044 h 3895880"/>
              <a:gd name="connsiteX9" fmla="*/ 266744 w 293751"/>
              <a:gd name="connsiteY9" fmla="*/ 3195032 h 3895880"/>
              <a:gd name="connsiteX10" fmla="*/ 261983 w 293751"/>
              <a:gd name="connsiteY10" fmla="*/ 3433157 h 3895880"/>
              <a:gd name="connsiteX11" fmla="*/ 266745 w 293751"/>
              <a:gd name="connsiteY11" fmla="*/ 3661757 h 3895880"/>
              <a:gd name="connsiteX12" fmla="*/ 293751 w 293751"/>
              <a:gd name="connsiteY12" fmla="*/ 3895880 h 3895880"/>
              <a:gd name="connsiteX13" fmla="*/ 0 w 293751"/>
              <a:gd name="connsiteY13" fmla="*/ 3886355 h 3895880"/>
              <a:gd name="connsiteX14" fmla="*/ 0 w 293751"/>
              <a:gd name="connsiteY14" fmla="*/ 155 h 38958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93751" h="3895880">
                <a:moveTo>
                  <a:pt x="0" y="155"/>
                </a:moveTo>
                <a:cubicBezTo>
                  <a:pt x="42672" y="-2893"/>
                  <a:pt x="112776" y="39779"/>
                  <a:pt x="155448" y="36731"/>
                </a:cubicBezTo>
                <a:lnTo>
                  <a:pt x="265176" y="155"/>
                </a:lnTo>
                <a:cubicBezTo>
                  <a:pt x="284519" y="34413"/>
                  <a:pt x="272833" y="-24291"/>
                  <a:pt x="276269" y="242282"/>
                </a:cubicBezTo>
                <a:cubicBezTo>
                  <a:pt x="278912" y="437418"/>
                  <a:pt x="265156" y="954275"/>
                  <a:pt x="271506" y="1180494"/>
                </a:cubicBezTo>
                <a:cubicBezTo>
                  <a:pt x="277856" y="1406713"/>
                  <a:pt x="290556" y="1456719"/>
                  <a:pt x="285794" y="1599594"/>
                </a:cubicBezTo>
                <a:cubicBezTo>
                  <a:pt x="281032" y="1742469"/>
                  <a:pt x="255633" y="1921063"/>
                  <a:pt x="252458" y="2028219"/>
                </a:cubicBezTo>
                <a:cubicBezTo>
                  <a:pt x="250338" y="2401948"/>
                  <a:pt x="252457" y="2104420"/>
                  <a:pt x="257219" y="2252057"/>
                </a:cubicBezTo>
                <a:cubicBezTo>
                  <a:pt x="261981" y="2399694"/>
                  <a:pt x="281033" y="2755294"/>
                  <a:pt x="281033" y="2914044"/>
                </a:cubicBezTo>
                <a:cubicBezTo>
                  <a:pt x="286589" y="3122800"/>
                  <a:pt x="266744" y="3105338"/>
                  <a:pt x="266744" y="3195032"/>
                </a:cubicBezTo>
                <a:cubicBezTo>
                  <a:pt x="266744" y="3284726"/>
                  <a:pt x="268333" y="3369657"/>
                  <a:pt x="261983" y="3433157"/>
                </a:cubicBezTo>
                <a:cubicBezTo>
                  <a:pt x="255633" y="3496657"/>
                  <a:pt x="263832" y="3594162"/>
                  <a:pt x="266745" y="3661757"/>
                </a:cubicBezTo>
                <a:lnTo>
                  <a:pt x="293751" y="3895880"/>
                </a:lnTo>
                <a:lnTo>
                  <a:pt x="0" y="3886355"/>
                </a:lnTo>
                <a:lnTo>
                  <a:pt x="0" y="155"/>
                </a:lnTo>
                <a:close/>
              </a:path>
            </a:pathLst>
          </a:custGeom>
          <a:pattFill prst="dkUpDiag">
            <a:fgClr>
              <a:schemeClr val="accent3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grpSp>
        <p:nvGrpSpPr>
          <p:cNvPr id="25" name="Gruppo 24"/>
          <p:cNvGrpSpPr/>
          <p:nvPr/>
        </p:nvGrpSpPr>
        <p:grpSpPr>
          <a:xfrm>
            <a:off x="1611505" y="2771926"/>
            <a:ext cx="1021292" cy="2246897"/>
            <a:chOff x="461977" y="3866322"/>
            <a:chExt cx="1235157" cy="2717412"/>
          </a:xfrm>
        </p:grpSpPr>
        <p:sp>
          <p:nvSpPr>
            <p:cNvPr id="19" name="Figura a mano libera 18"/>
            <p:cNvSpPr/>
            <p:nvPr/>
          </p:nvSpPr>
          <p:spPr>
            <a:xfrm>
              <a:off x="1221054" y="3866322"/>
              <a:ext cx="476080" cy="1731897"/>
            </a:xfrm>
            <a:custGeom>
              <a:avLst/>
              <a:gdLst>
                <a:gd name="connsiteX0" fmla="*/ 1459 w 476080"/>
                <a:gd name="connsiteY0" fmla="*/ 1729408 h 1731897"/>
                <a:gd name="connsiteX1" fmla="*/ 51155 w 476080"/>
                <a:gd name="connsiteY1" fmla="*/ 1659835 h 1731897"/>
                <a:gd name="connsiteX2" fmla="*/ 438781 w 476080"/>
                <a:gd name="connsiteY2" fmla="*/ 1093304 h 1731897"/>
                <a:gd name="connsiteX3" fmla="*/ 438781 w 476080"/>
                <a:gd name="connsiteY3" fmla="*/ 0 h 17318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76080" h="1731897">
                  <a:moveTo>
                    <a:pt x="1459" y="1729408"/>
                  </a:moveTo>
                  <a:cubicBezTo>
                    <a:pt x="-10137" y="1747630"/>
                    <a:pt x="51155" y="1659835"/>
                    <a:pt x="51155" y="1659835"/>
                  </a:cubicBezTo>
                  <a:cubicBezTo>
                    <a:pt x="124042" y="1553818"/>
                    <a:pt x="374177" y="1369943"/>
                    <a:pt x="438781" y="1093304"/>
                  </a:cubicBezTo>
                  <a:cubicBezTo>
                    <a:pt x="503385" y="816665"/>
                    <a:pt x="471083" y="408332"/>
                    <a:pt x="438781" y="0"/>
                  </a:cubicBezTo>
                </a:path>
              </a:pathLst>
            </a:custGeom>
            <a:noFill/>
            <a:ln w="38100" cmpd="dbl">
              <a:solidFill>
                <a:srgbClr val="002060"/>
              </a:solidFill>
              <a:headEnd w="lg" len="lg"/>
              <a:tailEnd type="oval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0" name="Rettangolo con singolo angolo ritagliato 9"/>
            <p:cNvSpPr/>
            <p:nvPr/>
          </p:nvSpPr>
          <p:spPr>
            <a:xfrm rot="18648123">
              <a:off x="148671" y="5606010"/>
              <a:ext cx="1291030" cy="664417"/>
            </a:xfrm>
            <a:prstGeom prst="snip1Rect">
              <a:avLst>
                <a:gd name="adj" fmla="val 34322"/>
              </a:avLst>
            </a:prstGeom>
            <a:pattFill prst="pct25">
              <a:fgClr>
                <a:schemeClr val="tx1">
                  <a:lumMod val="85000"/>
                  <a:lumOff val="15000"/>
                </a:schemeClr>
              </a:fgClr>
              <a:bgClr>
                <a:schemeClr val="bg1"/>
              </a:bgClr>
            </a:pattFill>
            <a:ln w="25400">
              <a:solidFill>
                <a:schemeClr val="tx1"/>
              </a:solidFill>
            </a:ln>
            <a:effectLst>
              <a:outerShdw blurRad="50800" dist="38100" dir="2700000" sx="110000" sy="11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20" name="Rettangolo arrotondato 19"/>
            <p:cNvSpPr/>
            <p:nvPr/>
          </p:nvSpPr>
          <p:spPr>
            <a:xfrm rot="18636994">
              <a:off x="230952" y="5877992"/>
              <a:ext cx="716624" cy="213691"/>
            </a:xfrm>
            <a:prstGeom prst="roundRect">
              <a:avLst/>
            </a:prstGeom>
            <a:effectLst>
              <a:innerShdw blurRad="63500" dist="50800" dir="13500000">
                <a:prstClr val="black">
                  <a:alpha val="50000"/>
                </a:prstClr>
              </a:inn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it-IT" sz="1488" dirty="0">
                  <a:solidFill>
                    <a:srgbClr val="002060"/>
                  </a:solidFill>
                  <a:latin typeface="Tw Cen MT Condensed" panose="020B0606020104020203" pitchFamily="34" charset="0"/>
                </a:rPr>
                <a:t>0.0125</a:t>
              </a:r>
              <a:endParaRPr lang="en-US" sz="1488" dirty="0">
                <a:solidFill>
                  <a:srgbClr val="002060"/>
                </a:solidFill>
                <a:latin typeface="Tw Cen MT Condensed" panose="020B0606020104020203" pitchFamily="34" charset="0"/>
              </a:endParaRPr>
            </a:p>
          </p:txBody>
        </p:sp>
        <p:sp>
          <p:nvSpPr>
            <p:cNvPr id="82" name="Rettangolo arrotondato 81"/>
            <p:cNvSpPr/>
            <p:nvPr/>
          </p:nvSpPr>
          <p:spPr>
            <a:xfrm rot="18636994">
              <a:off x="503897" y="6272006"/>
              <a:ext cx="284137" cy="77769"/>
            </a:xfrm>
            <a:prstGeom prst="roundRect">
              <a:avLst/>
            </a:prstGeom>
            <a:gradFill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lin ang="16200000" scaled="0"/>
            </a:gra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rgbClr val="002060"/>
                </a:solidFill>
                <a:latin typeface="Tw Cen MT Condensed" panose="020B0606020104020203" pitchFamily="34" charset="0"/>
              </a:endParaRPr>
            </a:p>
          </p:txBody>
        </p:sp>
        <p:sp>
          <p:nvSpPr>
            <p:cNvPr id="84" name="Rettangolo arrotondato 83"/>
            <p:cNvSpPr/>
            <p:nvPr/>
          </p:nvSpPr>
          <p:spPr>
            <a:xfrm rot="18636994">
              <a:off x="747902" y="6000085"/>
              <a:ext cx="284137" cy="77769"/>
            </a:xfrm>
            <a:prstGeom prst="roundRect">
              <a:avLst/>
            </a:prstGeom>
            <a:gradFill>
              <a:gsLst>
                <a:gs pos="0">
                  <a:srgbClr val="DDEBCF"/>
                </a:gs>
                <a:gs pos="50000">
                  <a:srgbClr val="9CB86E"/>
                </a:gs>
                <a:gs pos="100000">
                  <a:srgbClr val="156B13"/>
                </a:gs>
              </a:gsLst>
              <a:lin ang="16200000" scaled="0"/>
            </a:gradFill>
            <a:ln>
              <a:solidFill>
                <a:schemeClr val="tx1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rgbClr val="002060"/>
                </a:solidFill>
                <a:latin typeface="Tw Cen MT Condensed" panose="020B0606020104020203" pitchFamily="34" charset="0"/>
              </a:endParaRPr>
            </a:p>
          </p:txBody>
        </p:sp>
      </p:grpSp>
      <p:sp>
        <p:nvSpPr>
          <p:cNvPr id="88" name="AutoShape 310"/>
          <p:cNvSpPr>
            <a:spLocks/>
          </p:cNvSpPr>
          <p:nvPr/>
        </p:nvSpPr>
        <p:spPr bwMode="auto">
          <a:xfrm>
            <a:off x="3261122" y="4763625"/>
            <a:ext cx="1861375" cy="255198"/>
          </a:xfrm>
          <a:prstGeom prst="callout2">
            <a:avLst>
              <a:gd name="adj1" fmla="val 41170"/>
              <a:gd name="adj2" fmla="val -2461"/>
              <a:gd name="adj3" fmla="val 41170"/>
              <a:gd name="adj4" fmla="val -9871"/>
              <a:gd name="adj5" fmla="val -6896"/>
              <a:gd name="adj6" fmla="val -42419"/>
            </a:avLst>
          </a:prstGeom>
          <a:noFill/>
          <a:ln w="6350">
            <a:solidFill>
              <a:schemeClr val="tx1"/>
            </a:solidFill>
            <a:miter lim="800000"/>
            <a:headEnd type="none" w="lg" len="lg"/>
            <a:tailEnd type="triangle" w="sm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rIns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323" b="1" dirty="0">
                <a:latin typeface="Arial Narrow" pitchFamily="34" charset="0"/>
                <a:ea typeface="ＭＳ Ｐゴシック" charset="-128"/>
                <a:sym typeface="Symbol"/>
              </a:rPr>
              <a:t>(DIGITAL FEELER GAGE)</a:t>
            </a:r>
            <a:endParaRPr lang="en-US" sz="1323" b="1" dirty="0">
              <a:latin typeface="Arial Narrow" pitchFamily="34" charset="0"/>
              <a:ea typeface="ＭＳ Ｐゴシック" charset="-128"/>
            </a:endParaRPr>
          </a:p>
        </p:txBody>
      </p:sp>
      <p:sp>
        <p:nvSpPr>
          <p:cNvPr id="21" name="Rettangolo 20"/>
          <p:cNvSpPr/>
          <p:nvPr/>
        </p:nvSpPr>
        <p:spPr>
          <a:xfrm>
            <a:off x="5122497" y="706764"/>
            <a:ext cx="3580489" cy="3206122"/>
          </a:xfrm>
          <a:custGeom>
            <a:avLst/>
            <a:gdLst>
              <a:gd name="connsiteX0" fmla="*/ 0 w 3786808"/>
              <a:gd name="connsiteY0" fmla="*/ 0 h 3728418"/>
              <a:gd name="connsiteX1" fmla="*/ 3786808 w 3786808"/>
              <a:gd name="connsiteY1" fmla="*/ 0 h 3728418"/>
              <a:gd name="connsiteX2" fmla="*/ 3786808 w 3786808"/>
              <a:gd name="connsiteY2" fmla="*/ 3728418 h 3728418"/>
              <a:gd name="connsiteX3" fmla="*/ 0 w 3786808"/>
              <a:gd name="connsiteY3" fmla="*/ 3728418 h 3728418"/>
              <a:gd name="connsiteX4" fmla="*/ 0 w 3786808"/>
              <a:gd name="connsiteY4" fmla="*/ 0 h 3728418"/>
              <a:gd name="connsiteX0" fmla="*/ 0 w 3786808"/>
              <a:gd name="connsiteY0" fmla="*/ 0 h 3728418"/>
              <a:gd name="connsiteX1" fmla="*/ 3786808 w 3786808"/>
              <a:gd name="connsiteY1" fmla="*/ 0 h 3728418"/>
              <a:gd name="connsiteX2" fmla="*/ 3786808 w 3786808"/>
              <a:gd name="connsiteY2" fmla="*/ 3728418 h 3728418"/>
              <a:gd name="connsiteX3" fmla="*/ 0 w 3786808"/>
              <a:gd name="connsiteY3" fmla="*/ 3728418 h 3728418"/>
              <a:gd name="connsiteX4" fmla="*/ 0 w 3786808"/>
              <a:gd name="connsiteY4" fmla="*/ 1948070 h 3728418"/>
              <a:gd name="connsiteX5" fmla="*/ 0 w 3786808"/>
              <a:gd name="connsiteY5" fmla="*/ 0 h 3728418"/>
              <a:gd name="connsiteX0" fmla="*/ 119270 w 3906078"/>
              <a:gd name="connsiteY0" fmla="*/ 0 h 3728418"/>
              <a:gd name="connsiteX1" fmla="*/ 3906078 w 3906078"/>
              <a:gd name="connsiteY1" fmla="*/ 0 h 3728418"/>
              <a:gd name="connsiteX2" fmla="*/ 3906078 w 3906078"/>
              <a:gd name="connsiteY2" fmla="*/ 3728418 h 3728418"/>
              <a:gd name="connsiteX3" fmla="*/ 119270 w 3906078"/>
              <a:gd name="connsiteY3" fmla="*/ 3728418 h 3728418"/>
              <a:gd name="connsiteX4" fmla="*/ 119270 w 3906078"/>
              <a:gd name="connsiteY4" fmla="*/ 1948070 h 3728418"/>
              <a:gd name="connsiteX5" fmla="*/ 0 w 3906078"/>
              <a:gd name="connsiteY5" fmla="*/ 1828800 h 3728418"/>
              <a:gd name="connsiteX6" fmla="*/ 119270 w 3906078"/>
              <a:gd name="connsiteY6" fmla="*/ 0 h 3728418"/>
              <a:gd name="connsiteX0" fmla="*/ 119270 w 3906078"/>
              <a:gd name="connsiteY0" fmla="*/ 0 h 3728418"/>
              <a:gd name="connsiteX1" fmla="*/ 3906078 w 3906078"/>
              <a:gd name="connsiteY1" fmla="*/ 0 h 3728418"/>
              <a:gd name="connsiteX2" fmla="*/ 3906078 w 3906078"/>
              <a:gd name="connsiteY2" fmla="*/ 3728418 h 3728418"/>
              <a:gd name="connsiteX3" fmla="*/ 119270 w 3906078"/>
              <a:gd name="connsiteY3" fmla="*/ 3728418 h 3728418"/>
              <a:gd name="connsiteX4" fmla="*/ 119270 w 3906078"/>
              <a:gd name="connsiteY4" fmla="*/ 1948070 h 3728418"/>
              <a:gd name="connsiteX5" fmla="*/ 0 w 3906078"/>
              <a:gd name="connsiteY5" fmla="*/ 1828800 h 3728418"/>
              <a:gd name="connsiteX6" fmla="*/ 228600 w 3906078"/>
              <a:gd name="connsiteY6" fmla="*/ 1759226 h 3728418"/>
              <a:gd name="connsiteX7" fmla="*/ 119270 w 3906078"/>
              <a:gd name="connsiteY7" fmla="*/ 0 h 3728418"/>
              <a:gd name="connsiteX0" fmla="*/ 119270 w 3906078"/>
              <a:gd name="connsiteY0" fmla="*/ 0 h 3728418"/>
              <a:gd name="connsiteX1" fmla="*/ 3906078 w 3906078"/>
              <a:gd name="connsiteY1" fmla="*/ 0 h 3728418"/>
              <a:gd name="connsiteX2" fmla="*/ 3906078 w 3906078"/>
              <a:gd name="connsiteY2" fmla="*/ 3728418 h 3728418"/>
              <a:gd name="connsiteX3" fmla="*/ 119270 w 3906078"/>
              <a:gd name="connsiteY3" fmla="*/ 3728418 h 3728418"/>
              <a:gd name="connsiteX4" fmla="*/ 119270 w 3906078"/>
              <a:gd name="connsiteY4" fmla="*/ 1948070 h 3728418"/>
              <a:gd name="connsiteX5" fmla="*/ 0 w 3906078"/>
              <a:gd name="connsiteY5" fmla="*/ 1828800 h 3728418"/>
              <a:gd name="connsiteX6" fmla="*/ 228600 w 3906078"/>
              <a:gd name="connsiteY6" fmla="*/ 1759226 h 3728418"/>
              <a:gd name="connsiteX7" fmla="*/ 89452 w 3906078"/>
              <a:gd name="connsiteY7" fmla="*/ 1600200 h 3728418"/>
              <a:gd name="connsiteX8" fmla="*/ 119270 w 3906078"/>
              <a:gd name="connsiteY8" fmla="*/ 0 h 3728418"/>
              <a:gd name="connsiteX0" fmla="*/ 119270 w 3906078"/>
              <a:gd name="connsiteY0" fmla="*/ 0 h 3728418"/>
              <a:gd name="connsiteX1" fmla="*/ 1679713 w 3906078"/>
              <a:gd name="connsiteY1" fmla="*/ 9939 h 3728418"/>
              <a:gd name="connsiteX2" fmla="*/ 3906078 w 3906078"/>
              <a:gd name="connsiteY2" fmla="*/ 0 h 3728418"/>
              <a:gd name="connsiteX3" fmla="*/ 3906078 w 3906078"/>
              <a:gd name="connsiteY3" fmla="*/ 3728418 h 3728418"/>
              <a:gd name="connsiteX4" fmla="*/ 119270 w 3906078"/>
              <a:gd name="connsiteY4" fmla="*/ 3728418 h 3728418"/>
              <a:gd name="connsiteX5" fmla="*/ 119270 w 3906078"/>
              <a:gd name="connsiteY5" fmla="*/ 1948070 h 3728418"/>
              <a:gd name="connsiteX6" fmla="*/ 0 w 3906078"/>
              <a:gd name="connsiteY6" fmla="*/ 1828800 h 3728418"/>
              <a:gd name="connsiteX7" fmla="*/ 228600 w 3906078"/>
              <a:gd name="connsiteY7" fmla="*/ 1759226 h 3728418"/>
              <a:gd name="connsiteX8" fmla="*/ 89452 w 3906078"/>
              <a:gd name="connsiteY8" fmla="*/ 1600200 h 3728418"/>
              <a:gd name="connsiteX9" fmla="*/ 119270 w 3906078"/>
              <a:gd name="connsiteY9" fmla="*/ 0 h 3728418"/>
              <a:gd name="connsiteX0" fmla="*/ 119270 w 3906078"/>
              <a:gd name="connsiteY0" fmla="*/ 0 h 3728418"/>
              <a:gd name="connsiteX1" fmla="*/ 1679713 w 3906078"/>
              <a:gd name="connsiteY1" fmla="*/ 9939 h 3728418"/>
              <a:gd name="connsiteX2" fmla="*/ 1749287 w 3906078"/>
              <a:gd name="connsiteY2" fmla="*/ 139148 h 3728418"/>
              <a:gd name="connsiteX3" fmla="*/ 3906078 w 3906078"/>
              <a:gd name="connsiteY3" fmla="*/ 0 h 3728418"/>
              <a:gd name="connsiteX4" fmla="*/ 3906078 w 3906078"/>
              <a:gd name="connsiteY4" fmla="*/ 3728418 h 3728418"/>
              <a:gd name="connsiteX5" fmla="*/ 119270 w 3906078"/>
              <a:gd name="connsiteY5" fmla="*/ 3728418 h 3728418"/>
              <a:gd name="connsiteX6" fmla="*/ 119270 w 3906078"/>
              <a:gd name="connsiteY6" fmla="*/ 1948070 h 3728418"/>
              <a:gd name="connsiteX7" fmla="*/ 0 w 3906078"/>
              <a:gd name="connsiteY7" fmla="*/ 1828800 h 3728418"/>
              <a:gd name="connsiteX8" fmla="*/ 228600 w 3906078"/>
              <a:gd name="connsiteY8" fmla="*/ 1759226 h 3728418"/>
              <a:gd name="connsiteX9" fmla="*/ 89452 w 3906078"/>
              <a:gd name="connsiteY9" fmla="*/ 1600200 h 3728418"/>
              <a:gd name="connsiteX10" fmla="*/ 119270 w 3906078"/>
              <a:gd name="connsiteY10" fmla="*/ 0 h 3728418"/>
              <a:gd name="connsiteX0" fmla="*/ 119270 w 3906078"/>
              <a:gd name="connsiteY0" fmla="*/ 149087 h 3877505"/>
              <a:gd name="connsiteX1" fmla="*/ 1679713 w 3906078"/>
              <a:gd name="connsiteY1" fmla="*/ 159026 h 3877505"/>
              <a:gd name="connsiteX2" fmla="*/ 1749287 w 3906078"/>
              <a:gd name="connsiteY2" fmla="*/ 288235 h 3877505"/>
              <a:gd name="connsiteX3" fmla="*/ 1848678 w 3906078"/>
              <a:gd name="connsiteY3" fmla="*/ 0 h 3877505"/>
              <a:gd name="connsiteX4" fmla="*/ 3906078 w 3906078"/>
              <a:gd name="connsiteY4" fmla="*/ 149087 h 3877505"/>
              <a:gd name="connsiteX5" fmla="*/ 3906078 w 3906078"/>
              <a:gd name="connsiteY5" fmla="*/ 3877505 h 3877505"/>
              <a:gd name="connsiteX6" fmla="*/ 119270 w 3906078"/>
              <a:gd name="connsiteY6" fmla="*/ 3877505 h 3877505"/>
              <a:gd name="connsiteX7" fmla="*/ 119270 w 3906078"/>
              <a:gd name="connsiteY7" fmla="*/ 2097157 h 3877505"/>
              <a:gd name="connsiteX8" fmla="*/ 0 w 3906078"/>
              <a:gd name="connsiteY8" fmla="*/ 1977887 h 3877505"/>
              <a:gd name="connsiteX9" fmla="*/ 228600 w 3906078"/>
              <a:gd name="connsiteY9" fmla="*/ 1908313 h 3877505"/>
              <a:gd name="connsiteX10" fmla="*/ 89452 w 3906078"/>
              <a:gd name="connsiteY10" fmla="*/ 1749287 h 3877505"/>
              <a:gd name="connsiteX11" fmla="*/ 119270 w 3906078"/>
              <a:gd name="connsiteY11" fmla="*/ 149087 h 3877505"/>
              <a:gd name="connsiteX0" fmla="*/ 119270 w 3906078"/>
              <a:gd name="connsiteY0" fmla="*/ 149087 h 3877505"/>
              <a:gd name="connsiteX1" fmla="*/ 1679713 w 3906078"/>
              <a:gd name="connsiteY1" fmla="*/ 159026 h 3877505"/>
              <a:gd name="connsiteX2" fmla="*/ 1749287 w 3906078"/>
              <a:gd name="connsiteY2" fmla="*/ 288235 h 3877505"/>
              <a:gd name="connsiteX3" fmla="*/ 1848678 w 3906078"/>
              <a:gd name="connsiteY3" fmla="*/ 0 h 3877505"/>
              <a:gd name="connsiteX4" fmla="*/ 1928191 w 3906078"/>
              <a:gd name="connsiteY4" fmla="*/ 159027 h 3877505"/>
              <a:gd name="connsiteX5" fmla="*/ 3906078 w 3906078"/>
              <a:gd name="connsiteY5" fmla="*/ 149087 h 3877505"/>
              <a:gd name="connsiteX6" fmla="*/ 3906078 w 3906078"/>
              <a:gd name="connsiteY6" fmla="*/ 3877505 h 3877505"/>
              <a:gd name="connsiteX7" fmla="*/ 119270 w 3906078"/>
              <a:gd name="connsiteY7" fmla="*/ 3877505 h 3877505"/>
              <a:gd name="connsiteX8" fmla="*/ 119270 w 3906078"/>
              <a:gd name="connsiteY8" fmla="*/ 2097157 h 3877505"/>
              <a:gd name="connsiteX9" fmla="*/ 0 w 3906078"/>
              <a:gd name="connsiteY9" fmla="*/ 1977887 h 3877505"/>
              <a:gd name="connsiteX10" fmla="*/ 228600 w 3906078"/>
              <a:gd name="connsiteY10" fmla="*/ 1908313 h 3877505"/>
              <a:gd name="connsiteX11" fmla="*/ 89452 w 3906078"/>
              <a:gd name="connsiteY11" fmla="*/ 1749287 h 3877505"/>
              <a:gd name="connsiteX12" fmla="*/ 119270 w 3906078"/>
              <a:gd name="connsiteY12" fmla="*/ 149087 h 3877505"/>
              <a:gd name="connsiteX0" fmla="*/ 119270 w 3906078"/>
              <a:gd name="connsiteY0" fmla="*/ 149087 h 3877505"/>
              <a:gd name="connsiteX1" fmla="*/ 1679713 w 3906078"/>
              <a:gd name="connsiteY1" fmla="*/ 159026 h 3877505"/>
              <a:gd name="connsiteX2" fmla="*/ 1749287 w 3906078"/>
              <a:gd name="connsiteY2" fmla="*/ 288235 h 3877505"/>
              <a:gd name="connsiteX3" fmla="*/ 1848678 w 3906078"/>
              <a:gd name="connsiteY3" fmla="*/ 0 h 3877505"/>
              <a:gd name="connsiteX4" fmla="*/ 1928191 w 3906078"/>
              <a:gd name="connsiteY4" fmla="*/ 159027 h 3877505"/>
              <a:gd name="connsiteX5" fmla="*/ 3906078 w 3906078"/>
              <a:gd name="connsiteY5" fmla="*/ 149087 h 3877505"/>
              <a:gd name="connsiteX6" fmla="*/ 3886200 w 3906078"/>
              <a:gd name="connsiteY6" fmla="*/ 1451114 h 3877505"/>
              <a:gd name="connsiteX7" fmla="*/ 3906078 w 3906078"/>
              <a:gd name="connsiteY7" fmla="*/ 3877505 h 3877505"/>
              <a:gd name="connsiteX8" fmla="*/ 119270 w 3906078"/>
              <a:gd name="connsiteY8" fmla="*/ 3877505 h 3877505"/>
              <a:gd name="connsiteX9" fmla="*/ 119270 w 3906078"/>
              <a:gd name="connsiteY9" fmla="*/ 2097157 h 3877505"/>
              <a:gd name="connsiteX10" fmla="*/ 0 w 3906078"/>
              <a:gd name="connsiteY10" fmla="*/ 1977887 h 3877505"/>
              <a:gd name="connsiteX11" fmla="*/ 228600 w 3906078"/>
              <a:gd name="connsiteY11" fmla="*/ 1908313 h 3877505"/>
              <a:gd name="connsiteX12" fmla="*/ 89452 w 3906078"/>
              <a:gd name="connsiteY12" fmla="*/ 1749287 h 3877505"/>
              <a:gd name="connsiteX13" fmla="*/ 119270 w 3906078"/>
              <a:gd name="connsiteY13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749287 w 4035287"/>
              <a:gd name="connsiteY2" fmla="*/ 288235 h 3877505"/>
              <a:gd name="connsiteX3" fmla="*/ 1848678 w 4035287"/>
              <a:gd name="connsiteY3" fmla="*/ 0 h 3877505"/>
              <a:gd name="connsiteX4" fmla="*/ 1928191 w 4035287"/>
              <a:gd name="connsiteY4" fmla="*/ 159027 h 3877505"/>
              <a:gd name="connsiteX5" fmla="*/ 3906078 w 4035287"/>
              <a:gd name="connsiteY5" fmla="*/ 149087 h 3877505"/>
              <a:gd name="connsiteX6" fmla="*/ 3886200 w 4035287"/>
              <a:gd name="connsiteY6" fmla="*/ 1451114 h 3877505"/>
              <a:gd name="connsiteX7" fmla="*/ 4035287 w 4035287"/>
              <a:gd name="connsiteY7" fmla="*/ 1570384 h 3877505"/>
              <a:gd name="connsiteX8" fmla="*/ 3906078 w 4035287"/>
              <a:gd name="connsiteY8" fmla="*/ 3877505 h 3877505"/>
              <a:gd name="connsiteX9" fmla="*/ 119270 w 4035287"/>
              <a:gd name="connsiteY9" fmla="*/ 3877505 h 3877505"/>
              <a:gd name="connsiteX10" fmla="*/ 119270 w 4035287"/>
              <a:gd name="connsiteY10" fmla="*/ 2097157 h 3877505"/>
              <a:gd name="connsiteX11" fmla="*/ 0 w 4035287"/>
              <a:gd name="connsiteY11" fmla="*/ 1977887 h 3877505"/>
              <a:gd name="connsiteX12" fmla="*/ 228600 w 4035287"/>
              <a:gd name="connsiteY12" fmla="*/ 1908313 h 3877505"/>
              <a:gd name="connsiteX13" fmla="*/ 89452 w 4035287"/>
              <a:gd name="connsiteY13" fmla="*/ 1749287 h 3877505"/>
              <a:gd name="connsiteX14" fmla="*/ 119270 w 4035287"/>
              <a:gd name="connsiteY14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749287 w 4035287"/>
              <a:gd name="connsiteY2" fmla="*/ 288235 h 3877505"/>
              <a:gd name="connsiteX3" fmla="*/ 1848678 w 4035287"/>
              <a:gd name="connsiteY3" fmla="*/ 0 h 3877505"/>
              <a:gd name="connsiteX4" fmla="*/ 1928191 w 4035287"/>
              <a:gd name="connsiteY4" fmla="*/ 159027 h 3877505"/>
              <a:gd name="connsiteX5" fmla="*/ 3906078 w 4035287"/>
              <a:gd name="connsiteY5" fmla="*/ 149087 h 3877505"/>
              <a:gd name="connsiteX6" fmla="*/ 3886200 w 4035287"/>
              <a:gd name="connsiteY6" fmla="*/ 1451114 h 3877505"/>
              <a:gd name="connsiteX7" fmla="*/ 4035287 w 4035287"/>
              <a:gd name="connsiteY7" fmla="*/ 1570384 h 3877505"/>
              <a:gd name="connsiteX8" fmla="*/ 3766931 w 4035287"/>
              <a:gd name="connsiteY8" fmla="*/ 1659836 h 3877505"/>
              <a:gd name="connsiteX9" fmla="*/ 3906078 w 4035287"/>
              <a:gd name="connsiteY9" fmla="*/ 3877505 h 3877505"/>
              <a:gd name="connsiteX10" fmla="*/ 119270 w 4035287"/>
              <a:gd name="connsiteY10" fmla="*/ 3877505 h 3877505"/>
              <a:gd name="connsiteX11" fmla="*/ 119270 w 4035287"/>
              <a:gd name="connsiteY11" fmla="*/ 2097157 h 3877505"/>
              <a:gd name="connsiteX12" fmla="*/ 0 w 4035287"/>
              <a:gd name="connsiteY12" fmla="*/ 1977887 h 3877505"/>
              <a:gd name="connsiteX13" fmla="*/ 228600 w 4035287"/>
              <a:gd name="connsiteY13" fmla="*/ 1908313 h 3877505"/>
              <a:gd name="connsiteX14" fmla="*/ 89452 w 4035287"/>
              <a:gd name="connsiteY14" fmla="*/ 1749287 h 3877505"/>
              <a:gd name="connsiteX15" fmla="*/ 119270 w 4035287"/>
              <a:gd name="connsiteY15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749287 w 4035287"/>
              <a:gd name="connsiteY2" fmla="*/ 288235 h 3877505"/>
              <a:gd name="connsiteX3" fmla="*/ 1848678 w 4035287"/>
              <a:gd name="connsiteY3" fmla="*/ 0 h 3877505"/>
              <a:gd name="connsiteX4" fmla="*/ 1928191 w 4035287"/>
              <a:gd name="connsiteY4" fmla="*/ 159027 h 3877505"/>
              <a:gd name="connsiteX5" fmla="*/ 3906078 w 4035287"/>
              <a:gd name="connsiteY5" fmla="*/ 149087 h 3877505"/>
              <a:gd name="connsiteX6" fmla="*/ 3886200 w 4035287"/>
              <a:gd name="connsiteY6" fmla="*/ 1451114 h 3877505"/>
              <a:gd name="connsiteX7" fmla="*/ 4035287 w 4035287"/>
              <a:gd name="connsiteY7" fmla="*/ 1570384 h 3877505"/>
              <a:gd name="connsiteX8" fmla="*/ 3766931 w 4035287"/>
              <a:gd name="connsiteY8" fmla="*/ 1659836 h 3877505"/>
              <a:gd name="connsiteX9" fmla="*/ 3906078 w 4035287"/>
              <a:gd name="connsiteY9" fmla="*/ 1779106 h 3877505"/>
              <a:gd name="connsiteX10" fmla="*/ 3906078 w 4035287"/>
              <a:gd name="connsiteY10" fmla="*/ 3877505 h 3877505"/>
              <a:gd name="connsiteX11" fmla="*/ 119270 w 4035287"/>
              <a:gd name="connsiteY11" fmla="*/ 3877505 h 3877505"/>
              <a:gd name="connsiteX12" fmla="*/ 119270 w 4035287"/>
              <a:gd name="connsiteY12" fmla="*/ 2097157 h 3877505"/>
              <a:gd name="connsiteX13" fmla="*/ 0 w 4035287"/>
              <a:gd name="connsiteY13" fmla="*/ 1977887 h 3877505"/>
              <a:gd name="connsiteX14" fmla="*/ 228600 w 4035287"/>
              <a:gd name="connsiteY14" fmla="*/ 1908313 h 3877505"/>
              <a:gd name="connsiteX15" fmla="*/ 89452 w 4035287"/>
              <a:gd name="connsiteY15" fmla="*/ 1749287 h 3877505"/>
              <a:gd name="connsiteX16" fmla="*/ 119270 w 4035287"/>
              <a:gd name="connsiteY16" fmla="*/ 149087 h 38775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4035287" h="3877505">
                <a:moveTo>
                  <a:pt x="119270" y="149087"/>
                </a:moveTo>
                <a:lnTo>
                  <a:pt x="1679713" y="159026"/>
                </a:lnTo>
                <a:cubicBezTo>
                  <a:pt x="1706217" y="159026"/>
                  <a:pt x="1722783" y="288235"/>
                  <a:pt x="1749287" y="288235"/>
                </a:cubicBezTo>
                <a:cubicBezTo>
                  <a:pt x="1785730" y="284922"/>
                  <a:pt x="1812235" y="3313"/>
                  <a:pt x="1848678" y="0"/>
                </a:cubicBezTo>
                <a:cubicBezTo>
                  <a:pt x="1875182" y="3313"/>
                  <a:pt x="1901687" y="155714"/>
                  <a:pt x="1928191" y="159027"/>
                </a:cubicBezTo>
                <a:lnTo>
                  <a:pt x="3906078" y="149087"/>
                </a:lnTo>
                <a:cubicBezTo>
                  <a:pt x="3902765" y="586409"/>
                  <a:pt x="3889513" y="1013792"/>
                  <a:pt x="3886200" y="1451114"/>
                </a:cubicBezTo>
                <a:cubicBezTo>
                  <a:pt x="3886200" y="1480931"/>
                  <a:pt x="4035287" y="1540567"/>
                  <a:pt x="4035287" y="1570384"/>
                </a:cubicBezTo>
                <a:cubicBezTo>
                  <a:pt x="4031974" y="1610140"/>
                  <a:pt x="3770244" y="1620080"/>
                  <a:pt x="3766931" y="1659836"/>
                </a:cubicBezTo>
                <a:cubicBezTo>
                  <a:pt x="3766931" y="1696279"/>
                  <a:pt x="3906078" y="1742663"/>
                  <a:pt x="3906078" y="1779106"/>
                </a:cubicBezTo>
                <a:lnTo>
                  <a:pt x="3906078" y="3877505"/>
                </a:lnTo>
                <a:lnTo>
                  <a:pt x="119270" y="3877505"/>
                </a:lnTo>
                <a:lnTo>
                  <a:pt x="119270" y="2097157"/>
                </a:lnTo>
                <a:cubicBezTo>
                  <a:pt x="115957" y="2020957"/>
                  <a:pt x="3313" y="2054087"/>
                  <a:pt x="0" y="1977887"/>
                </a:cubicBezTo>
                <a:cubicBezTo>
                  <a:pt x="6626" y="1948070"/>
                  <a:pt x="221974" y="1938130"/>
                  <a:pt x="228600" y="1908313"/>
                </a:cubicBezTo>
                <a:cubicBezTo>
                  <a:pt x="221974" y="1845365"/>
                  <a:pt x="96078" y="1812235"/>
                  <a:pt x="89452" y="1749287"/>
                </a:cubicBezTo>
                <a:lnTo>
                  <a:pt x="119270" y="149087"/>
                </a:lnTo>
                <a:close/>
              </a:path>
            </a:pathLst>
          </a:custGeom>
          <a:pattFill prst="dkUpDiag">
            <a:fgClr>
              <a:schemeClr val="accent3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dirty="0">
              <a:solidFill>
                <a:schemeClr val="tx1"/>
              </a:solidFill>
            </a:endParaRPr>
          </a:p>
        </p:txBody>
      </p:sp>
      <p:sp>
        <p:nvSpPr>
          <p:cNvPr id="89" name="Rettangolo 20"/>
          <p:cNvSpPr/>
          <p:nvPr/>
        </p:nvSpPr>
        <p:spPr>
          <a:xfrm>
            <a:off x="5245770" y="2225349"/>
            <a:ext cx="3336585" cy="2010711"/>
          </a:xfrm>
          <a:custGeom>
            <a:avLst/>
            <a:gdLst>
              <a:gd name="connsiteX0" fmla="*/ 0 w 3786808"/>
              <a:gd name="connsiteY0" fmla="*/ 0 h 3728418"/>
              <a:gd name="connsiteX1" fmla="*/ 3786808 w 3786808"/>
              <a:gd name="connsiteY1" fmla="*/ 0 h 3728418"/>
              <a:gd name="connsiteX2" fmla="*/ 3786808 w 3786808"/>
              <a:gd name="connsiteY2" fmla="*/ 3728418 h 3728418"/>
              <a:gd name="connsiteX3" fmla="*/ 0 w 3786808"/>
              <a:gd name="connsiteY3" fmla="*/ 3728418 h 3728418"/>
              <a:gd name="connsiteX4" fmla="*/ 0 w 3786808"/>
              <a:gd name="connsiteY4" fmla="*/ 0 h 3728418"/>
              <a:gd name="connsiteX0" fmla="*/ 0 w 3786808"/>
              <a:gd name="connsiteY0" fmla="*/ 0 h 3728418"/>
              <a:gd name="connsiteX1" fmla="*/ 3786808 w 3786808"/>
              <a:gd name="connsiteY1" fmla="*/ 0 h 3728418"/>
              <a:gd name="connsiteX2" fmla="*/ 3786808 w 3786808"/>
              <a:gd name="connsiteY2" fmla="*/ 3728418 h 3728418"/>
              <a:gd name="connsiteX3" fmla="*/ 0 w 3786808"/>
              <a:gd name="connsiteY3" fmla="*/ 3728418 h 3728418"/>
              <a:gd name="connsiteX4" fmla="*/ 0 w 3786808"/>
              <a:gd name="connsiteY4" fmla="*/ 1948070 h 3728418"/>
              <a:gd name="connsiteX5" fmla="*/ 0 w 3786808"/>
              <a:gd name="connsiteY5" fmla="*/ 0 h 3728418"/>
              <a:gd name="connsiteX0" fmla="*/ 119270 w 3906078"/>
              <a:gd name="connsiteY0" fmla="*/ 0 h 3728418"/>
              <a:gd name="connsiteX1" fmla="*/ 3906078 w 3906078"/>
              <a:gd name="connsiteY1" fmla="*/ 0 h 3728418"/>
              <a:gd name="connsiteX2" fmla="*/ 3906078 w 3906078"/>
              <a:gd name="connsiteY2" fmla="*/ 3728418 h 3728418"/>
              <a:gd name="connsiteX3" fmla="*/ 119270 w 3906078"/>
              <a:gd name="connsiteY3" fmla="*/ 3728418 h 3728418"/>
              <a:gd name="connsiteX4" fmla="*/ 119270 w 3906078"/>
              <a:gd name="connsiteY4" fmla="*/ 1948070 h 3728418"/>
              <a:gd name="connsiteX5" fmla="*/ 0 w 3906078"/>
              <a:gd name="connsiteY5" fmla="*/ 1828800 h 3728418"/>
              <a:gd name="connsiteX6" fmla="*/ 119270 w 3906078"/>
              <a:gd name="connsiteY6" fmla="*/ 0 h 3728418"/>
              <a:gd name="connsiteX0" fmla="*/ 119270 w 3906078"/>
              <a:gd name="connsiteY0" fmla="*/ 0 h 3728418"/>
              <a:gd name="connsiteX1" fmla="*/ 3906078 w 3906078"/>
              <a:gd name="connsiteY1" fmla="*/ 0 h 3728418"/>
              <a:gd name="connsiteX2" fmla="*/ 3906078 w 3906078"/>
              <a:gd name="connsiteY2" fmla="*/ 3728418 h 3728418"/>
              <a:gd name="connsiteX3" fmla="*/ 119270 w 3906078"/>
              <a:gd name="connsiteY3" fmla="*/ 3728418 h 3728418"/>
              <a:gd name="connsiteX4" fmla="*/ 119270 w 3906078"/>
              <a:gd name="connsiteY4" fmla="*/ 1948070 h 3728418"/>
              <a:gd name="connsiteX5" fmla="*/ 0 w 3906078"/>
              <a:gd name="connsiteY5" fmla="*/ 1828800 h 3728418"/>
              <a:gd name="connsiteX6" fmla="*/ 228600 w 3906078"/>
              <a:gd name="connsiteY6" fmla="*/ 1759226 h 3728418"/>
              <a:gd name="connsiteX7" fmla="*/ 119270 w 3906078"/>
              <a:gd name="connsiteY7" fmla="*/ 0 h 3728418"/>
              <a:gd name="connsiteX0" fmla="*/ 119270 w 3906078"/>
              <a:gd name="connsiteY0" fmla="*/ 0 h 3728418"/>
              <a:gd name="connsiteX1" fmla="*/ 3906078 w 3906078"/>
              <a:gd name="connsiteY1" fmla="*/ 0 h 3728418"/>
              <a:gd name="connsiteX2" fmla="*/ 3906078 w 3906078"/>
              <a:gd name="connsiteY2" fmla="*/ 3728418 h 3728418"/>
              <a:gd name="connsiteX3" fmla="*/ 119270 w 3906078"/>
              <a:gd name="connsiteY3" fmla="*/ 3728418 h 3728418"/>
              <a:gd name="connsiteX4" fmla="*/ 119270 w 3906078"/>
              <a:gd name="connsiteY4" fmla="*/ 1948070 h 3728418"/>
              <a:gd name="connsiteX5" fmla="*/ 0 w 3906078"/>
              <a:gd name="connsiteY5" fmla="*/ 1828800 h 3728418"/>
              <a:gd name="connsiteX6" fmla="*/ 228600 w 3906078"/>
              <a:gd name="connsiteY6" fmla="*/ 1759226 h 3728418"/>
              <a:gd name="connsiteX7" fmla="*/ 89452 w 3906078"/>
              <a:gd name="connsiteY7" fmla="*/ 1600200 h 3728418"/>
              <a:gd name="connsiteX8" fmla="*/ 119270 w 3906078"/>
              <a:gd name="connsiteY8" fmla="*/ 0 h 3728418"/>
              <a:gd name="connsiteX0" fmla="*/ 119270 w 3906078"/>
              <a:gd name="connsiteY0" fmla="*/ 0 h 3728418"/>
              <a:gd name="connsiteX1" fmla="*/ 1679713 w 3906078"/>
              <a:gd name="connsiteY1" fmla="*/ 9939 h 3728418"/>
              <a:gd name="connsiteX2" fmla="*/ 3906078 w 3906078"/>
              <a:gd name="connsiteY2" fmla="*/ 0 h 3728418"/>
              <a:gd name="connsiteX3" fmla="*/ 3906078 w 3906078"/>
              <a:gd name="connsiteY3" fmla="*/ 3728418 h 3728418"/>
              <a:gd name="connsiteX4" fmla="*/ 119270 w 3906078"/>
              <a:gd name="connsiteY4" fmla="*/ 3728418 h 3728418"/>
              <a:gd name="connsiteX5" fmla="*/ 119270 w 3906078"/>
              <a:gd name="connsiteY5" fmla="*/ 1948070 h 3728418"/>
              <a:gd name="connsiteX6" fmla="*/ 0 w 3906078"/>
              <a:gd name="connsiteY6" fmla="*/ 1828800 h 3728418"/>
              <a:gd name="connsiteX7" fmla="*/ 228600 w 3906078"/>
              <a:gd name="connsiteY7" fmla="*/ 1759226 h 3728418"/>
              <a:gd name="connsiteX8" fmla="*/ 89452 w 3906078"/>
              <a:gd name="connsiteY8" fmla="*/ 1600200 h 3728418"/>
              <a:gd name="connsiteX9" fmla="*/ 119270 w 3906078"/>
              <a:gd name="connsiteY9" fmla="*/ 0 h 3728418"/>
              <a:gd name="connsiteX0" fmla="*/ 119270 w 3906078"/>
              <a:gd name="connsiteY0" fmla="*/ 0 h 3728418"/>
              <a:gd name="connsiteX1" fmla="*/ 1679713 w 3906078"/>
              <a:gd name="connsiteY1" fmla="*/ 9939 h 3728418"/>
              <a:gd name="connsiteX2" fmla="*/ 1749287 w 3906078"/>
              <a:gd name="connsiteY2" fmla="*/ 139148 h 3728418"/>
              <a:gd name="connsiteX3" fmla="*/ 3906078 w 3906078"/>
              <a:gd name="connsiteY3" fmla="*/ 0 h 3728418"/>
              <a:gd name="connsiteX4" fmla="*/ 3906078 w 3906078"/>
              <a:gd name="connsiteY4" fmla="*/ 3728418 h 3728418"/>
              <a:gd name="connsiteX5" fmla="*/ 119270 w 3906078"/>
              <a:gd name="connsiteY5" fmla="*/ 3728418 h 3728418"/>
              <a:gd name="connsiteX6" fmla="*/ 119270 w 3906078"/>
              <a:gd name="connsiteY6" fmla="*/ 1948070 h 3728418"/>
              <a:gd name="connsiteX7" fmla="*/ 0 w 3906078"/>
              <a:gd name="connsiteY7" fmla="*/ 1828800 h 3728418"/>
              <a:gd name="connsiteX8" fmla="*/ 228600 w 3906078"/>
              <a:gd name="connsiteY8" fmla="*/ 1759226 h 3728418"/>
              <a:gd name="connsiteX9" fmla="*/ 89452 w 3906078"/>
              <a:gd name="connsiteY9" fmla="*/ 1600200 h 3728418"/>
              <a:gd name="connsiteX10" fmla="*/ 119270 w 3906078"/>
              <a:gd name="connsiteY10" fmla="*/ 0 h 3728418"/>
              <a:gd name="connsiteX0" fmla="*/ 119270 w 3906078"/>
              <a:gd name="connsiteY0" fmla="*/ 149087 h 3877505"/>
              <a:gd name="connsiteX1" fmla="*/ 1679713 w 3906078"/>
              <a:gd name="connsiteY1" fmla="*/ 159026 h 3877505"/>
              <a:gd name="connsiteX2" fmla="*/ 1749287 w 3906078"/>
              <a:gd name="connsiteY2" fmla="*/ 288235 h 3877505"/>
              <a:gd name="connsiteX3" fmla="*/ 1848678 w 3906078"/>
              <a:gd name="connsiteY3" fmla="*/ 0 h 3877505"/>
              <a:gd name="connsiteX4" fmla="*/ 3906078 w 3906078"/>
              <a:gd name="connsiteY4" fmla="*/ 149087 h 3877505"/>
              <a:gd name="connsiteX5" fmla="*/ 3906078 w 3906078"/>
              <a:gd name="connsiteY5" fmla="*/ 3877505 h 3877505"/>
              <a:gd name="connsiteX6" fmla="*/ 119270 w 3906078"/>
              <a:gd name="connsiteY6" fmla="*/ 3877505 h 3877505"/>
              <a:gd name="connsiteX7" fmla="*/ 119270 w 3906078"/>
              <a:gd name="connsiteY7" fmla="*/ 2097157 h 3877505"/>
              <a:gd name="connsiteX8" fmla="*/ 0 w 3906078"/>
              <a:gd name="connsiteY8" fmla="*/ 1977887 h 3877505"/>
              <a:gd name="connsiteX9" fmla="*/ 228600 w 3906078"/>
              <a:gd name="connsiteY9" fmla="*/ 1908313 h 3877505"/>
              <a:gd name="connsiteX10" fmla="*/ 89452 w 3906078"/>
              <a:gd name="connsiteY10" fmla="*/ 1749287 h 3877505"/>
              <a:gd name="connsiteX11" fmla="*/ 119270 w 3906078"/>
              <a:gd name="connsiteY11" fmla="*/ 149087 h 3877505"/>
              <a:gd name="connsiteX0" fmla="*/ 119270 w 3906078"/>
              <a:gd name="connsiteY0" fmla="*/ 149087 h 3877505"/>
              <a:gd name="connsiteX1" fmla="*/ 1679713 w 3906078"/>
              <a:gd name="connsiteY1" fmla="*/ 159026 h 3877505"/>
              <a:gd name="connsiteX2" fmla="*/ 1749287 w 3906078"/>
              <a:gd name="connsiteY2" fmla="*/ 288235 h 3877505"/>
              <a:gd name="connsiteX3" fmla="*/ 1848678 w 3906078"/>
              <a:gd name="connsiteY3" fmla="*/ 0 h 3877505"/>
              <a:gd name="connsiteX4" fmla="*/ 1928191 w 3906078"/>
              <a:gd name="connsiteY4" fmla="*/ 159027 h 3877505"/>
              <a:gd name="connsiteX5" fmla="*/ 3906078 w 3906078"/>
              <a:gd name="connsiteY5" fmla="*/ 149087 h 3877505"/>
              <a:gd name="connsiteX6" fmla="*/ 3906078 w 3906078"/>
              <a:gd name="connsiteY6" fmla="*/ 3877505 h 3877505"/>
              <a:gd name="connsiteX7" fmla="*/ 119270 w 3906078"/>
              <a:gd name="connsiteY7" fmla="*/ 3877505 h 3877505"/>
              <a:gd name="connsiteX8" fmla="*/ 119270 w 3906078"/>
              <a:gd name="connsiteY8" fmla="*/ 2097157 h 3877505"/>
              <a:gd name="connsiteX9" fmla="*/ 0 w 3906078"/>
              <a:gd name="connsiteY9" fmla="*/ 1977887 h 3877505"/>
              <a:gd name="connsiteX10" fmla="*/ 228600 w 3906078"/>
              <a:gd name="connsiteY10" fmla="*/ 1908313 h 3877505"/>
              <a:gd name="connsiteX11" fmla="*/ 89452 w 3906078"/>
              <a:gd name="connsiteY11" fmla="*/ 1749287 h 3877505"/>
              <a:gd name="connsiteX12" fmla="*/ 119270 w 3906078"/>
              <a:gd name="connsiteY12" fmla="*/ 149087 h 3877505"/>
              <a:gd name="connsiteX0" fmla="*/ 119270 w 3906078"/>
              <a:gd name="connsiteY0" fmla="*/ 149087 h 3877505"/>
              <a:gd name="connsiteX1" fmla="*/ 1679713 w 3906078"/>
              <a:gd name="connsiteY1" fmla="*/ 159026 h 3877505"/>
              <a:gd name="connsiteX2" fmla="*/ 1749287 w 3906078"/>
              <a:gd name="connsiteY2" fmla="*/ 288235 h 3877505"/>
              <a:gd name="connsiteX3" fmla="*/ 1848678 w 3906078"/>
              <a:gd name="connsiteY3" fmla="*/ 0 h 3877505"/>
              <a:gd name="connsiteX4" fmla="*/ 1928191 w 3906078"/>
              <a:gd name="connsiteY4" fmla="*/ 159027 h 3877505"/>
              <a:gd name="connsiteX5" fmla="*/ 3906078 w 3906078"/>
              <a:gd name="connsiteY5" fmla="*/ 149087 h 3877505"/>
              <a:gd name="connsiteX6" fmla="*/ 3886200 w 3906078"/>
              <a:gd name="connsiteY6" fmla="*/ 1451114 h 3877505"/>
              <a:gd name="connsiteX7" fmla="*/ 3906078 w 3906078"/>
              <a:gd name="connsiteY7" fmla="*/ 3877505 h 3877505"/>
              <a:gd name="connsiteX8" fmla="*/ 119270 w 3906078"/>
              <a:gd name="connsiteY8" fmla="*/ 3877505 h 3877505"/>
              <a:gd name="connsiteX9" fmla="*/ 119270 w 3906078"/>
              <a:gd name="connsiteY9" fmla="*/ 2097157 h 3877505"/>
              <a:gd name="connsiteX10" fmla="*/ 0 w 3906078"/>
              <a:gd name="connsiteY10" fmla="*/ 1977887 h 3877505"/>
              <a:gd name="connsiteX11" fmla="*/ 228600 w 3906078"/>
              <a:gd name="connsiteY11" fmla="*/ 1908313 h 3877505"/>
              <a:gd name="connsiteX12" fmla="*/ 89452 w 3906078"/>
              <a:gd name="connsiteY12" fmla="*/ 1749287 h 3877505"/>
              <a:gd name="connsiteX13" fmla="*/ 119270 w 3906078"/>
              <a:gd name="connsiteY13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749287 w 4035287"/>
              <a:gd name="connsiteY2" fmla="*/ 288235 h 3877505"/>
              <a:gd name="connsiteX3" fmla="*/ 1848678 w 4035287"/>
              <a:gd name="connsiteY3" fmla="*/ 0 h 3877505"/>
              <a:gd name="connsiteX4" fmla="*/ 1928191 w 4035287"/>
              <a:gd name="connsiteY4" fmla="*/ 159027 h 3877505"/>
              <a:gd name="connsiteX5" fmla="*/ 3906078 w 4035287"/>
              <a:gd name="connsiteY5" fmla="*/ 149087 h 3877505"/>
              <a:gd name="connsiteX6" fmla="*/ 3886200 w 4035287"/>
              <a:gd name="connsiteY6" fmla="*/ 1451114 h 3877505"/>
              <a:gd name="connsiteX7" fmla="*/ 4035287 w 4035287"/>
              <a:gd name="connsiteY7" fmla="*/ 1570384 h 3877505"/>
              <a:gd name="connsiteX8" fmla="*/ 3906078 w 4035287"/>
              <a:gd name="connsiteY8" fmla="*/ 3877505 h 3877505"/>
              <a:gd name="connsiteX9" fmla="*/ 119270 w 4035287"/>
              <a:gd name="connsiteY9" fmla="*/ 3877505 h 3877505"/>
              <a:gd name="connsiteX10" fmla="*/ 119270 w 4035287"/>
              <a:gd name="connsiteY10" fmla="*/ 2097157 h 3877505"/>
              <a:gd name="connsiteX11" fmla="*/ 0 w 4035287"/>
              <a:gd name="connsiteY11" fmla="*/ 1977887 h 3877505"/>
              <a:gd name="connsiteX12" fmla="*/ 228600 w 4035287"/>
              <a:gd name="connsiteY12" fmla="*/ 1908313 h 3877505"/>
              <a:gd name="connsiteX13" fmla="*/ 89452 w 4035287"/>
              <a:gd name="connsiteY13" fmla="*/ 1749287 h 3877505"/>
              <a:gd name="connsiteX14" fmla="*/ 119270 w 4035287"/>
              <a:gd name="connsiteY14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749287 w 4035287"/>
              <a:gd name="connsiteY2" fmla="*/ 288235 h 3877505"/>
              <a:gd name="connsiteX3" fmla="*/ 1848678 w 4035287"/>
              <a:gd name="connsiteY3" fmla="*/ 0 h 3877505"/>
              <a:gd name="connsiteX4" fmla="*/ 1928191 w 4035287"/>
              <a:gd name="connsiteY4" fmla="*/ 159027 h 3877505"/>
              <a:gd name="connsiteX5" fmla="*/ 3906078 w 4035287"/>
              <a:gd name="connsiteY5" fmla="*/ 149087 h 3877505"/>
              <a:gd name="connsiteX6" fmla="*/ 3886200 w 4035287"/>
              <a:gd name="connsiteY6" fmla="*/ 1451114 h 3877505"/>
              <a:gd name="connsiteX7" fmla="*/ 4035287 w 4035287"/>
              <a:gd name="connsiteY7" fmla="*/ 1570384 h 3877505"/>
              <a:gd name="connsiteX8" fmla="*/ 3766931 w 4035287"/>
              <a:gd name="connsiteY8" fmla="*/ 1659836 h 3877505"/>
              <a:gd name="connsiteX9" fmla="*/ 3906078 w 4035287"/>
              <a:gd name="connsiteY9" fmla="*/ 3877505 h 3877505"/>
              <a:gd name="connsiteX10" fmla="*/ 119270 w 4035287"/>
              <a:gd name="connsiteY10" fmla="*/ 3877505 h 3877505"/>
              <a:gd name="connsiteX11" fmla="*/ 119270 w 4035287"/>
              <a:gd name="connsiteY11" fmla="*/ 2097157 h 3877505"/>
              <a:gd name="connsiteX12" fmla="*/ 0 w 4035287"/>
              <a:gd name="connsiteY12" fmla="*/ 1977887 h 3877505"/>
              <a:gd name="connsiteX13" fmla="*/ 228600 w 4035287"/>
              <a:gd name="connsiteY13" fmla="*/ 1908313 h 3877505"/>
              <a:gd name="connsiteX14" fmla="*/ 89452 w 4035287"/>
              <a:gd name="connsiteY14" fmla="*/ 1749287 h 3877505"/>
              <a:gd name="connsiteX15" fmla="*/ 119270 w 4035287"/>
              <a:gd name="connsiteY15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749287 w 4035287"/>
              <a:gd name="connsiteY2" fmla="*/ 288235 h 3877505"/>
              <a:gd name="connsiteX3" fmla="*/ 1848678 w 4035287"/>
              <a:gd name="connsiteY3" fmla="*/ 0 h 3877505"/>
              <a:gd name="connsiteX4" fmla="*/ 1928191 w 4035287"/>
              <a:gd name="connsiteY4" fmla="*/ 159027 h 3877505"/>
              <a:gd name="connsiteX5" fmla="*/ 3906078 w 4035287"/>
              <a:gd name="connsiteY5" fmla="*/ 149087 h 3877505"/>
              <a:gd name="connsiteX6" fmla="*/ 3886200 w 4035287"/>
              <a:gd name="connsiteY6" fmla="*/ 1451114 h 3877505"/>
              <a:gd name="connsiteX7" fmla="*/ 4035287 w 4035287"/>
              <a:gd name="connsiteY7" fmla="*/ 1570384 h 3877505"/>
              <a:gd name="connsiteX8" fmla="*/ 3766931 w 4035287"/>
              <a:gd name="connsiteY8" fmla="*/ 1659836 h 3877505"/>
              <a:gd name="connsiteX9" fmla="*/ 3906078 w 4035287"/>
              <a:gd name="connsiteY9" fmla="*/ 1779106 h 3877505"/>
              <a:gd name="connsiteX10" fmla="*/ 3906078 w 4035287"/>
              <a:gd name="connsiteY10" fmla="*/ 3877505 h 3877505"/>
              <a:gd name="connsiteX11" fmla="*/ 119270 w 4035287"/>
              <a:gd name="connsiteY11" fmla="*/ 3877505 h 3877505"/>
              <a:gd name="connsiteX12" fmla="*/ 119270 w 4035287"/>
              <a:gd name="connsiteY12" fmla="*/ 2097157 h 3877505"/>
              <a:gd name="connsiteX13" fmla="*/ 0 w 4035287"/>
              <a:gd name="connsiteY13" fmla="*/ 1977887 h 3877505"/>
              <a:gd name="connsiteX14" fmla="*/ 228600 w 4035287"/>
              <a:gd name="connsiteY14" fmla="*/ 1908313 h 3877505"/>
              <a:gd name="connsiteX15" fmla="*/ 89452 w 4035287"/>
              <a:gd name="connsiteY15" fmla="*/ 1749287 h 3877505"/>
              <a:gd name="connsiteX16" fmla="*/ 119270 w 4035287"/>
              <a:gd name="connsiteY16" fmla="*/ 149087 h 3877505"/>
              <a:gd name="connsiteX0" fmla="*/ 119270 w 4035287"/>
              <a:gd name="connsiteY0" fmla="*/ 149087 h 3877505"/>
              <a:gd name="connsiteX1" fmla="*/ 1679713 w 4035287"/>
              <a:gd name="connsiteY1" fmla="*/ 159026 h 3877505"/>
              <a:gd name="connsiteX2" fmla="*/ 1848678 w 4035287"/>
              <a:gd name="connsiteY2" fmla="*/ 0 h 3877505"/>
              <a:gd name="connsiteX3" fmla="*/ 1928191 w 4035287"/>
              <a:gd name="connsiteY3" fmla="*/ 159027 h 3877505"/>
              <a:gd name="connsiteX4" fmla="*/ 3906078 w 4035287"/>
              <a:gd name="connsiteY4" fmla="*/ 149087 h 3877505"/>
              <a:gd name="connsiteX5" fmla="*/ 3886200 w 4035287"/>
              <a:gd name="connsiteY5" fmla="*/ 1451114 h 3877505"/>
              <a:gd name="connsiteX6" fmla="*/ 4035287 w 4035287"/>
              <a:gd name="connsiteY6" fmla="*/ 1570384 h 3877505"/>
              <a:gd name="connsiteX7" fmla="*/ 3766931 w 4035287"/>
              <a:gd name="connsiteY7" fmla="*/ 1659836 h 3877505"/>
              <a:gd name="connsiteX8" fmla="*/ 3906078 w 4035287"/>
              <a:gd name="connsiteY8" fmla="*/ 1779106 h 3877505"/>
              <a:gd name="connsiteX9" fmla="*/ 3906078 w 4035287"/>
              <a:gd name="connsiteY9" fmla="*/ 3877505 h 3877505"/>
              <a:gd name="connsiteX10" fmla="*/ 119270 w 4035287"/>
              <a:gd name="connsiteY10" fmla="*/ 3877505 h 3877505"/>
              <a:gd name="connsiteX11" fmla="*/ 119270 w 4035287"/>
              <a:gd name="connsiteY11" fmla="*/ 2097157 h 3877505"/>
              <a:gd name="connsiteX12" fmla="*/ 0 w 4035287"/>
              <a:gd name="connsiteY12" fmla="*/ 1977887 h 3877505"/>
              <a:gd name="connsiteX13" fmla="*/ 228600 w 4035287"/>
              <a:gd name="connsiteY13" fmla="*/ 1908313 h 3877505"/>
              <a:gd name="connsiteX14" fmla="*/ 89452 w 4035287"/>
              <a:gd name="connsiteY14" fmla="*/ 1749287 h 3877505"/>
              <a:gd name="connsiteX15" fmla="*/ 119270 w 4035287"/>
              <a:gd name="connsiteY15" fmla="*/ 149087 h 3877505"/>
              <a:gd name="connsiteX0" fmla="*/ 119270 w 4035287"/>
              <a:gd name="connsiteY0" fmla="*/ 149087 h 3877505"/>
              <a:gd name="connsiteX1" fmla="*/ 1848678 w 4035287"/>
              <a:gd name="connsiteY1" fmla="*/ 0 h 3877505"/>
              <a:gd name="connsiteX2" fmla="*/ 1928191 w 4035287"/>
              <a:gd name="connsiteY2" fmla="*/ 159027 h 3877505"/>
              <a:gd name="connsiteX3" fmla="*/ 3906078 w 4035287"/>
              <a:gd name="connsiteY3" fmla="*/ 149087 h 3877505"/>
              <a:gd name="connsiteX4" fmla="*/ 3886200 w 4035287"/>
              <a:gd name="connsiteY4" fmla="*/ 1451114 h 3877505"/>
              <a:gd name="connsiteX5" fmla="*/ 4035287 w 4035287"/>
              <a:gd name="connsiteY5" fmla="*/ 1570384 h 3877505"/>
              <a:gd name="connsiteX6" fmla="*/ 3766931 w 4035287"/>
              <a:gd name="connsiteY6" fmla="*/ 1659836 h 3877505"/>
              <a:gd name="connsiteX7" fmla="*/ 3906078 w 4035287"/>
              <a:gd name="connsiteY7" fmla="*/ 1779106 h 3877505"/>
              <a:gd name="connsiteX8" fmla="*/ 3906078 w 4035287"/>
              <a:gd name="connsiteY8" fmla="*/ 3877505 h 3877505"/>
              <a:gd name="connsiteX9" fmla="*/ 119270 w 4035287"/>
              <a:gd name="connsiteY9" fmla="*/ 3877505 h 3877505"/>
              <a:gd name="connsiteX10" fmla="*/ 119270 w 4035287"/>
              <a:gd name="connsiteY10" fmla="*/ 2097157 h 3877505"/>
              <a:gd name="connsiteX11" fmla="*/ 0 w 4035287"/>
              <a:gd name="connsiteY11" fmla="*/ 1977887 h 3877505"/>
              <a:gd name="connsiteX12" fmla="*/ 228600 w 4035287"/>
              <a:gd name="connsiteY12" fmla="*/ 1908313 h 3877505"/>
              <a:gd name="connsiteX13" fmla="*/ 89452 w 4035287"/>
              <a:gd name="connsiteY13" fmla="*/ 1749287 h 3877505"/>
              <a:gd name="connsiteX14" fmla="*/ 119270 w 4035287"/>
              <a:gd name="connsiteY14" fmla="*/ 149087 h 3877505"/>
              <a:gd name="connsiteX0" fmla="*/ 119270 w 4035287"/>
              <a:gd name="connsiteY0" fmla="*/ 0 h 3728418"/>
              <a:gd name="connsiteX1" fmla="*/ 1928191 w 4035287"/>
              <a:gd name="connsiteY1" fmla="*/ 9940 h 3728418"/>
              <a:gd name="connsiteX2" fmla="*/ 3906078 w 4035287"/>
              <a:gd name="connsiteY2" fmla="*/ 0 h 3728418"/>
              <a:gd name="connsiteX3" fmla="*/ 3886200 w 4035287"/>
              <a:gd name="connsiteY3" fmla="*/ 1302027 h 3728418"/>
              <a:gd name="connsiteX4" fmla="*/ 4035287 w 4035287"/>
              <a:gd name="connsiteY4" fmla="*/ 1421297 h 3728418"/>
              <a:gd name="connsiteX5" fmla="*/ 3766931 w 4035287"/>
              <a:gd name="connsiteY5" fmla="*/ 1510749 h 3728418"/>
              <a:gd name="connsiteX6" fmla="*/ 3906078 w 4035287"/>
              <a:gd name="connsiteY6" fmla="*/ 1630019 h 3728418"/>
              <a:gd name="connsiteX7" fmla="*/ 3906078 w 4035287"/>
              <a:gd name="connsiteY7" fmla="*/ 3728418 h 3728418"/>
              <a:gd name="connsiteX8" fmla="*/ 119270 w 4035287"/>
              <a:gd name="connsiteY8" fmla="*/ 3728418 h 3728418"/>
              <a:gd name="connsiteX9" fmla="*/ 119270 w 4035287"/>
              <a:gd name="connsiteY9" fmla="*/ 1948070 h 3728418"/>
              <a:gd name="connsiteX10" fmla="*/ 0 w 4035287"/>
              <a:gd name="connsiteY10" fmla="*/ 1828800 h 3728418"/>
              <a:gd name="connsiteX11" fmla="*/ 228600 w 4035287"/>
              <a:gd name="connsiteY11" fmla="*/ 1759226 h 3728418"/>
              <a:gd name="connsiteX12" fmla="*/ 89452 w 4035287"/>
              <a:gd name="connsiteY12" fmla="*/ 1600200 h 3728418"/>
              <a:gd name="connsiteX13" fmla="*/ 119270 w 4035287"/>
              <a:gd name="connsiteY13" fmla="*/ 0 h 3728418"/>
              <a:gd name="connsiteX0" fmla="*/ 119270 w 4035287"/>
              <a:gd name="connsiteY0" fmla="*/ 0 h 3728418"/>
              <a:gd name="connsiteX1" fmla="*/ 3906078 w 4035287"/>
              <a:gd name="connsiteY1" fmla="*/ 0 h 3728418"/>
              <a:gd name="connsiteX2" fmla="*/ 3886200 w 4035287"/>
              <a:gd name="connsiteY2" fmla="*/ 1302027 h 3728418"/>
              <a:gd name="connsiteX3" fmla="*/ 4035287 w 4035287"/>
              <a:gd name="connsiteY3" fmla="*/ 1421297 h 3728418"/>
              <a:gd name="connsiteX4" fmla="*/ 3766931 w 4035287"/>
              <a:gd name="connsiteY4" fmla="*/ 1510749 h 3728418"/>
              <a:gd name="connsiteX5" fmla="*/ 3906078 w 4035287"/>
              <a:gd name="connsiteY5" fmla="*/ 1630019 h 3728418"/>
              <a:gd name="connsiteX6" fmla="*/ 3906078 w 4035287"/>
              <a:gd name="connsiteY6" fmla="*/ 3728418 h 3728418"/>
              <a:gd name="connsiteX7" fmla="*/ 119270 w 4035287"/>
              <a:gd name="connsiteY7" fmla="*/ 3728418 h 3728418"/>
              <a:gd name="connsiteX8" fmla="*/ 119270 w 4035287"/>
              <a:gd name="connsiteY8" fmla="*/ 1948070 h 3728418"/>
              <a:gd name="connsiteX9" fmla="*/ 0 w 4035287"/>
              <a:gd name="connsiteY9" fmla="*/ 1828800 h 3728418"/>
              <a:gd name="connsiteX10" fmla="*/ 228600 w 4035287"/>
              <a:gd name="connsiteY10" fmla="*/ 1759226 h 3728418"/>
              <a:gd name="connsiteX11" fmla="*/ 89452 w 4035287"/>
              <a:gd name="connsiteY11" fmla="*/ 1600200 h 3728418"/>
              <a:gd name="connsiteX12" fmla="*/ 119270 w 4035287"/>
              <a:gd name="connsiteY12" fmla="*/ 0 h 3728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35287" h="3728418">
                <a:moveTo>
                  <a:pt x="119270" y="0"/>
                </a:moveTo>
                <a:lnTo>
                  <a:pt x="3906078" y="0"/>
                </a:lnTo>
                <a:cubicBezTo>
                  <a:pt x="3902765" y="437322"/>
                  <a:pt x="3889513" y="864705"/>
                  <a:pt x="3886200" y="1302027"/>
                </a:cubicBezTo>
                <a:cubicBezTo>
                  <a:pt x="3886200" y="1331844"/>
                  <a:pt x="4035287" y="1391480"/>
                  <a:pt x="4035287" y="1421297"/>
                </a:cubicBezTo>
                <a:cubicBezTo>
                  <a:pt x="4031974" y="1461053"/>
                  <a:pt x="3770244" y="1470993"/>
                  <a:pt x="3766931" y="1510749"/>
                </a:cubicBezTo>
                <a:cubicBezTo>
                  <a:pt x="3766931" y="1547192"/>
                  <a:pt x="3906078" y="1593576"/>
                  <a:pt x="3906078" y="1630019"/>
                </a:cubicBezTo>
                <a:lnTo>
                  <a:pt x="3906078" y="3728418"/>
                </a:lnTo>
                <a:lnTo>
                  <a:pt x="119270" y="3728418"/>
                </a:lnTo>
                <a:lnTo>
                  <a:pt x="119270" y="1948070"/>
                </a:lnTo>
                <a:cubicBezTo>
                  <a:pt x="115957" y="1871870"/>
                  <a:pt x="3313" y="1905000"/>
                  <a:pt x="0" y="1828800"/>
                </a:cubicBezTo>
                <a:cubicBezTo>
                  <a:pt x="6626" y="1798983"/>
                  <a:pt x="221974" y="1789043"/>
                  <a:pt x="228600" y="1759226"/>
                </a:cubicBezTo>
                <a:cubicBezTo>
                  <a:pt x="221974" y="1696278"/>
                  <a:pt x="96078" y="1663148"/>
                  <a:pt x="89452" y="1600200"/>
                </a:cubicBezTo>
                <a:lnTo>
                  <a:pt x="119270" y="0"/>
                </a:lnTo>
                <a:close/>
              </a:path>
            </a:pathLst>
          </a:custGeom>
          <a:solidFill>
            <a:schemeClr val="accent4">
              <a:lumMod val="75000"/>
              <a:alpha val="50000"/>
            </a:schemeClr>
          </a:solid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b="1" dirty="0">
              <a:solidFill>
                <a:schemeClr val="tx1"/>
              </a:solidFill>
            </a:endParaRPr>
          </a:p>
        </p:txBody>
      </p:sp>
      <p:sp>
        <p:nvSpPr>
          <p:cNvPr id="23" name="Rettangolo arrotondato 22"/>
          <p:cNvSpPr/>
          <p:nvPr/>
        </p:nvSpPr>
        <p:spPr>
          <a:xfrm>
            <a:off x="5492315" y="2240982"/>
            <a:ext cx="2777748" cy="1578764"/>
          </a:xfrm>
          <a:prstGeom prst="roundRect">
            <a:avLst>
              <a:gd name="adj" fmla="val 5298"/>
            </a:avLst>
          </a:prstGeom>
          <a:solidFill>
            <a:srgbClr val="FFC000">
              <a:alpha val="20000"/>
            </a:srgbClr>
          </a:solidFill>
          <a:ln w="19050">
            <a:solidFill>
              <a:srgbClr val="002060"/>
            </a:solidFill>
            <a:prstDash val="dash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b="1" dirty="0">
              <a:latin typeface="Arial Narrow" panose="020B0606020202030204" pitchFamily="34" charset="0"/>
            </a:endParaRPr>
          </a:p>
        </p:txBody>
      </p:sp>
      <p:grpSp>
        <p:nvGrpSpPr>
          <p:cNvPr id="90" name="Gruppo 89"/>
          <p:cNvGrpSpPr/>
          <p:nvPr/>
        </p:nvGrpSpPr>
        <p:grpSpPr>
          <a:xfrm>
            <a:off x="6394799" y="1874589"/>
            <a:ext cx="487810" cy="420149"/>
            <a:chOff x="2119903" y="3366946"/>
            <a:chExt cx="589960" cy="508131"/>
          </a:xfrm>
        </p:grpSpPr>
        <p:sp>
          <p:nvSpPr>
            <p:cNvPr id="91" name="Ovale 90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94" name="CasellaDiTesto 93"/>
            <p:cNvSpPr txBox="1"/>
            <p:nvPr/>
          </p:nvSpPr>
          <p:spPr>
            <a:xfrm>
              <a:off x="2205038" y="3366946"/>
              <a:ext cx="504825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B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98" name="Gruppo 97"/>
          <p:cNvGrpSpPr/>
          <p:nvPr/>
        </p:nvGrpSpPr>
        <p:grpSpPr>
          <a:xfrm>
            <a:off x="7321791" y="1874588"/>
            <a:ext cx="440555" cy="396179"/>
            <a:chOff x="2119903" y="3395935"/>
            <a:chExt cx="532810" cy="479142"/>
          </a:xfrm>
        </p:grpSpPr>
        <p:sp>
          <p:nvSpPr>
            <p:cNvPr id="99" name="Ovale 98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00" name="CasellaDiTesto 99"/>
            <p:cNvSpPr txBox="1"/>
            <p:nvPr/>
          </p:nvSpPr>
          <p:spPr>
            <a:xfrm>
              <a:off x="2147887" y="3395935"/>
              <a:ext cx="504826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C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01" name="Gruppo 100"/>
          <p:cNvGrpSpPr/>
          <p:nvPr/>
        </p:nvGrpSpPr>
        <p:grpSpPr>
          <a:xfrm>
            <a:off x="8215177" y="1903865"/>
            <a:ext cx="438501" cy="387961"/>
            <a:chOff x="2119903" y="3405874"/>
            <a:chExt cx="530326" cy="469203"/>
          </a:xfrm>
        </p:grpSpPr>
        <p:sp>
          <p:nvSpPr>
            <p:cNvPr id="102" name="Ovale 101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03" name="CasellaDiTesto 102"/>
            <p:cNvSpPr txBox="1"/>
            <p:nvPr/>
          </p:nvSpPr>
          <p:spPr>
            <a:xfrm>
              <a:off x="2145405" y="3405874"/>
              <a:ext cx="504824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D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04" name="Gruppo 103"/>
          <p:cNvGrpSpPr/>
          <p:nvPr/>
        </p:nvGrpSpPr>
        <p:grpSpPr>
          <a:xfrm>
            <a:off x="8215177" y="3438291"/>
            <a:ext cx="471373" cy="414327"/>
            <a:chOff x="2119903" y="3373987"/>
            <a:chExt cx="570082" cy="501090"/>
          </a:xfrm>
        </p:grpSpPr>
        <p:sp>
          <p:nvSpPr>
            <p:cNvPr id="105" name="Ovale 104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06" name="CasellaDiTesto 105"/>
            <p:cNvSpPr txBox="1"/>
            <p:nvPr/>
          </p:nvSpPr>
          <p:spPr>
            <a:xfrm>
              <a:off x="2185160" y="3373987"/>
              <a:ext cx="504825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E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07" name="Gruppo 106"/>
          <p:cNvGrpSpPr/>
          <p:nvPr/>
        </p:nvGrpSpPr>
        <p:grpSpPr>
          <a:xfrm>
            <a:off x="7289973" y="3460156"/>
            <a:ext cx="479934" cy="407136"/>
            <a:chOff x="2119903" y="3382684"/>
            <a:chExt cx="580435" cy="492393"/>
          </a:xfrm>
        </p:grpSpPr>
        <p:sp>
          <p:nvSpPr>
            <p:cNvPr id="108" name="Ovale 107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12" name="CasellaDiTesto 111"/>
            <p:cNvSpPr txBox="1"/>
            <p:nvPr/>
          </p:nvSpPr>
          <p:spPr>
            <a:xfrm>
              <a:off x="2195513" y="3382684"/>
              <a:ext cx="504825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F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13" name="Gruppo 112"/>
          <p:cNvGrpSpPr/>
          <p:nvPr/>
        </p:nvGrpSpPr>
        <p:grpSpPr>
          <a:xfrm>
            <a:off x="6355817" y="3455074"/>
            <a:ext cx="479934" cy="407136"/>
            <a:chOff x="2119903" y="3382684"/>
            <a:chExt cx="580435" cy="492393"/>
          </a:xfrm>
        </p:grpSpPr>
        <p:sp>
          <p:nvSpPr>
            <p:cNvPr id="114" name="Ovale 113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15" name="CasellaDiTesto 114"/>
            <p:cNvSpPr txBox="1"/>
            <p:nvPr/>
          </p:nvSpPr>
          <p:spPr>
            <a:xfrm>
              <a:off x="2195513" y="3382684"/>
              <a:ext cx="504825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G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16" name="Gruppo 115"/>
          <p:cNvGrpSpPr/>
          <p:nvPr/>
        </p:nvGrpSpPr>
        <p:grpSpPr>
          <a:xfrm>
            <a:off x="5483927" y="3446855"/>
            <a:ext cx="479934" cy="415354"/>
            <a:chOff x="2119903" y="3372745"/>
            <a:chExt cx="580435" cy="502332"/>
          </a:xfrm>
        </p:grpSpPr>
        <p:sp>
          <p:nvSpPr>
            <p:cNvPr id="117" name="Ovale 116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18" name="CasellaDiTesto 117"/>
            <p:cNvSpPr txBox="1"/>
            <p:nvPr/>
          </p:nvSpPr>
          <p:spPr>
            <a:xfrm>
              <a:off x="2195513" y="3372745"/>
              <a:ext cx="504825" cy="38859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H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19" name="Gruppo 118"/>
          <p:cNvGrpSpPr/>
          <p:nvPr/>
        </p:nvGrpSpPr>
        <p:grpSpPr>
          <a:xfrm>
            <a:off x="5492316" y="1881264"/>
            <a:ext cx="463498" cy="410562"/>
            <a:chOff x="2119903" y="3378541"/>
            <a:chExt cx="560557" cy="496536"/>
          </a:xfrm>
        </p:grpSpPr>
        <p:sp>
          <p:nvSpPr>
            <p:cNvPr id="120" name="Ovale 119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21" name="CasellaDiTesto 120"/>
            <p:cNvSpPr txBox="1"/>
            <p:nvPr/>
          </p:nvSpPr>
          <p:spPr>
            <a:xfrm>
              <a:off x="2175635" y="3378541"/>
              <a:ext cx="504825" cy="388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A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sp>
        <p:nvSpPr>
          <p:cNvPr id="24" name="Rettangolo 23"/>
          <p:cNvSpPr/>
          <p:nvPr/>
        </p:nvSpPr>
        <p:spPr>
          <a:xfrm>
            <a:off x="5352606" y="3984665"/>
            <a:ext cx="3122912" cy="251395"/>
          </a:xfrm>
          <a:prstGeom prst="rect">
            <a:avLst/>
          </a:prstGeom>
          <a:pattFill prst="dkDnDiag">
            <a:fgClr>
              <a:schemeClr val="accent4">
                <a:lumMod val="75000"/>
              </a:schemeClr>
            </a:fgClr>
            <a:bgClr>
              <a:schemeClr val="bg1"/>
            </a:bgClr>
          </a:pattFill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 b="1" dirty="0">
              <a:solidFill>
                <a:schemeClr val="tx1"/>
              </a:solidFill>
            </a:endParaRPr>
          </a:p>
        </p:txBody>
      </p:sp>
      <p:sp>
        <p:nvSpPr>
          <p:cNvPr id="122" name="AutoShape 310"/>
          <p:cNvSpPr>
            <a:spLocks/>
          </p:cNvSpPr>
          <p:nvPr/>
        </p:nvSpPr>
        <p:spPr bwMode="auto">
          <a:xfrm flipH="1">
            <a:off x="4724890" y="4509289"/>
            <a:ext cx="1518073" cy="255198"/>
          </a:xfrm>
          <a:prstGeom prst="callout2">
            <a:avLst>
              <a:gd name="adj1" fmla="val 41170"/>
              <a:gd name="adj2" fmla="val -2461"/>
              <a:gd name="adj3" fmla="val 41170"/>
              <a:gd name="adj4" fmla="val -9871"/>
              <a:gd name="adj5" fmla="val -298911"/>
              <a:gd name="adj6" fmla="val -46908"/>
            </a:avLst>
          </a:prstGeom>
          <a:noFill/>
          <a:ln w="6350">
            <a:solidFill>
              <a:schemeClr val="tx1"/>
            </a:solidFill>
            <a:miter lim="800000"/>
            <a:headEnd type="none" w="lg" len="lg"/>
            <a:tailEnd type="triangle" w="sm" len="lg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rIns="0">
            <a:spAutoFit/>
          </a:bodyPr>
          <a:lstStyle/>
          <a:p>
            <a:pPr algn="r">
              <a:lnSpc>
                <a:spcPct val="80000"/>
              </a:lnSpc>
            </a:pPr>
            <a:r>
              <a:rPr lang="en-US" sz="1323" b="1" dirty="0">
                <a:latin typeface="Arial Narrow" pitchFamily="34" charset="0"/>
                <a:ea typeface="ＭＳ Ｐゴシック" charset="-128"/>
                <a:sym typeface="Symbol"/>
              </a:rPr>
              <a:t>SHIM FOOTPRINT</a:t>
            </a:r>
            <a:endParaRPr lang="en-US" sz="1323" b="1" dirty="0">
              <a:latin typeface="Arial Narrow" pitchFamily="34" charset="0"/>
              <a:ea typeface="ＭＳ Ｐゴシック" charset="-128"/>
            </a:endParaRPr>
          </a:p>
        </p:txBody>
      </p:sp>
      <p:sp>
        <p:nvSpPr>
          <p:cNvPr id="123" name="Titolo 1"/>
          <p:cNvSpPr txBox="1">
            <a:spLocks/>
          </p:cNvSpPr>
          <p:nvPr/>
        </p:nvSpPr>
        <p:spPr>
          <a:xfrm>
            <a:off x="2857109" y="958663"/>
            <a:ext cx="4363781" cy="550279"/>
          </a:xfrm>
          <a:prstGeom prst="rect">
            <a:avLst/>
          </a:prstGeom>
          <a:solidFill>
            <a:srgbClr val="CCFF33"/>
          </a:solidFill>
        </p:spPr>
        <p:txBody>
          <a:bodyPr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Ad </a:t>
            </a:r>
            <a:r>
              <a:rPr lang="en-US" sz="1488" dirty="0" err="1" smtClean="0"/>
              <a:t>oggi</a:t>
            </a:r>
            <a:r>
              <a:rPr lang="en-US" sz="1488" dirty="0" smtClean="0"/>
              <a:t> </a:t>
            </a:r>
            <a:r>
              <a:rPr lang="en-US" sz="1488" dirty="0" err="1" smtClean="0"/>
              <a:t>il</a:t>
            </a:r>
            <a:r>
              <a:rPr lang="en-US" sz="1488" dirty="0" smtClean="0"/>
              <a:t> GAP </a:t>
            </a:r>
            <a:r>
              <a:rPr lang="en-US" sz="1488" dirty="0" err="1" smtClean="0"/>
              <a:t>viene</a:t>
            </a:r>
            <a:r>
              <a:rPr lang="en-US" sz="1488" dirty="0" smtClean="0"/>
              <a:t> </a:t>
            </a:r>
            <a:r>
              <a:rPr lang="en-US" sz="1488" dirty="0" err="1" smtClean="0"/>
              <a:t>misurato</a:t>
            </a:r>
            <a:r>
              <a:rPr lang="en-US" sz="1488" dirty="0" smtClean="0"/>
              <a:t> con un Filler Gage in </a:t>
            </a:r>
            <a:r>
              <a:rPr lang="en-US" sz="1488" dirty="0" err="1" smtClean="0"/>
              <a:t>diversi</a:t>
            </a:r>
            <a:r>
              <a:rPr lang="en-US" sz="1488" dirty="0" smtClean="0"/>
              <a:t> </a:t>
            </a:r>
            <a:r>
              <a:rPr lang="en-US" sz="1488" dirty="0" err="1" smtClean="0"/>
              <a:t>punti</a:t>
            </a:r>
            <a:endParaRPr lang="en-US" sz="1488" dirty="0"/>
          </a:p>
        </p:txBody>
      </p:sp>
      <p:grpSp>
        <p:nvGrpSpPr>
          <p:cNvPr id="124" name="Gruppo 123"/>
          <p:cNvGrpSpPr/>
          <p:nvPr/>
        </p:nvGrpSpPr>
        <p:grpSpPr>
          <a:xfrm>
            <a:off x="2664280" y="1937236"/>
            <a:ext cx="479934" cy="410562"/>
            <a:chOff x="2119903" y="3378541"/>
            <a:chExt cx="580435" cy="496536"/>
          </a:xfrm>
        </p:grpSpPr>
        <p:sp>
          <p:nvSpPr>
            <p:cNvPr id="125" name="Ovale 124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26" name="CasellaDiTesto 125"/>
            <p:cNvSpPr txBox="1"/>
            <p:nvPr/>
          </p:nvSpPr>
          <p:spPr>
            <a:xfrm>
              <a:off x="2195513" y="3378541"/>
              <a:ext cx="504825" cy="388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A’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31" name="Gruppo 130"/>
          <p:cNvGrpSpPr/>
          <p:nvPr/>
        </p:nvGrpSpPr>
        <p:grpSpPr>
          <a:xfrm>
            <a:off x="2267051" y="1936737"/>
            <a:ext cx="417415" cy="410562"/>
            <a:chOff x="1827770" y="3378541"/>
            <a:chExt cx="504825" cy="496536"/>
          </a:xfrm>
        </p:grpSpPr>
        <p:sp>
          <p:nvSpPr>
            <p:cNvPr id="134" name="Ovale 133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56" name="CasellaDiTesto 155"/>
            <p:cNvSpPr txBox="1"/>
            <p:nvPr/>
          </p:nvSpPr>
          <p:spPr>
            <a:xfrm>
              <a:off x="1827770" y="3378541"/>
              <a:ext cx="504825" cy="388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A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57" name="Gruppo 156"/>
          <p:cNvGrpSpPr/>
          <p:nvPr/>
        </p:nvGrpSpPr>
        <p:grpSpPr>
          <a:xfrm>
            <a:off x="2642198" y="3409184"/>
            <a:ext cx="479934" cy="410562"/>
            <a:chOff x="2119903" y="3378541"/>
            <a:chExt cx="580435" cy="496536"/>
          </a:xfrm>
        </p:grpSpPr>
        <p:sp>
          <p:nvSpPr>
            <p:cNvPr id="159" name="Ovale 158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60" name="CasellaDiTesto 159"/>
            <p:cNvSpPr txBox="1"/>
            <p:nvPr/>
          </p:nvSpPr>
          <p:spPr>
            <a:xfrm>
              <a:off x="2195513" y="3378541"/>
              <a:ext cx="504825" cy="388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H’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161" name="Gruppo 160"/>
          <p:cNvGrpSpPr/>
          <p:nvPr/>
        </p:nvGrpSpPr>
        <p:grpSpPr>
          <a:xfrm>
            <a:off x="2244969" y="3408684"/>
            <a:ext cx="417415" cy="410562"/>
            <a:chOff x="1827770" y="3378541"/>
            <a:chExt cx="504825" cy="496536"/>
          </a:xfrm>
        </p:grpSpPr>
        <p:sp>
          <p:nvSpPr>
            <p:cNvPr id="162" name="Ovale 161"/>
            <p:cNvSpPr/>
            <p:nvPr/>
          </p:nvSpPr>
          <p:spPr>
            <a:xfrm>
              <a:off x="2119903" y="3745051"/>
              <a:ext cx="141695" cy="130026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b="1" dirty="0">
                <a:latin typeface="Arial Narrow" panose="020B0606020202030204" pitchFamily="34" charset="0"/>
              </a:endParaRPr>
            </a:p>
          </p:txBody>
        </p:sp>
        <p:sp>
          <p:nvSpPr>
            <p:cNvPr id="163" name="CasellaDiTesto 162"/>
            <p:cNvSpPr txBox="1"/>
            <p:nvPr/>
          </p:nvSpPr>
          <p:spPr>
            <a:xfrm>
              <a:off x="1827770" y="3378541"/>
              <a:ext cx="504825" cy="38858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88" b="1" dirty="0">
                  <a:latin typeface="Arial Narrow" panose="020B0606020202030204" pitchFamily="34" charset="0"/>
                </a:rPr>
                <a:t>H</a:t>
              </a:r>
              <a:endParaRPr lang="en-US" sz="1488" b="1" dirty="0">
                <a:latin typeface="Arial Narrow" panose="020B060602020203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24831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Titolo 1"/>
          <p:cNvSpPr txBox="1">
            <a:spLocks/>
          </p:cNvSpPr>
          <p:nvPr/>
        </p:nvSpPr>
        <p:spPr>
          <a:xfrm>
            <a:off x="822960" y="525466"/>
            <a:ext cx="2746634" cy="338621"/>
          </a:xfrm>
          <a:prstGeom prst="rect">
            <a:avLst/>
          </a:prstGeom>
          <a:solidFill>
            <a:srgbClr val="CCFF33"/>
          </a:solidFill>
        </p:spPr>
        <p:txBody>
          <a:bodyPr>
            <a:no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Il GAP </a:t>
            </a:r>
            <a:r>
              <a:rPr lang="en-US" sz="1488" dirty="0" err="1" smtClean="0"/>
              <a:t>differisce</a:t>
            </a:r>
            <a:r>
              <a:rPr lang="en-US" sz="1488" dirty="0" smtClean="0"/>
              <a:t> dal </a:t>
            </a:r>
            <a:r>
              <a:rPr lang="en-US" sz="1488" dirty="0" err="1" smtClean="0"/>
              <a:t>rilievo</a:t>
            </a:r>
            <a:endParaRPr lang="en-US" sz="1488" dirty="0"/>
          </a:p>
        </p:txBody>
      </p:sp>
      <p:sp>
        <p:nvSpPr>
          <p:cNvPr id="119" name="Titolo 1"/>
          <p:cNvSpPr txBox="1">
            <a:spLocks/>
          </p:cNvSpPr>
          <p:nvPr/>
        </p:nvSpPr>
        <p:spPr>
          <a:xfrm>
            <a:off x="782403" y="4506536"/>
            <a:ext cx="5425184" cy="321306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I </a:t>
            </a:r>
            <a:r>
              <a:rPr lang="en-US" sz="1488" dirty="0" err="1" smtClean="0"/>
              <a:t>punti</a:t>
            </a:r>
            <a:r>
              <a:rPr lang="en-US" sz="1488" dirty="0" smtClean="0"/>
              <a:t> </a:t>
            </a:r>
            <a:r>
              <a:rPr lang="en-US" sz="1488" dirty="0" err="1" smtClean="0"/>
              <a:t>acquisiti</a:t>
            </a:r>
            <a:r>
              <a:rPr lang="en-US" sz="1488" dirty="0" smtClean="0"/>
              <a:t> </a:t>
            </a:r>
            <a:r>
              <a:rPr lang="en-US" sz="1488" dirty="0" err="1" smtClean="0"/>
              <a:t>vengono</a:t>
            </a:r>
            <a:r>
              <a:rPr lang="en-US" sz="1488" dirty="0" smtClean="0"/>
              <a:t> interpolate al fine di </a:t>
            </a:r>
            <a:r>
              <a:rPr lang="en-US" sz="1488" dirty="0" err="1" smtClean="0"/>
              <a:t>creare</a:t>
            </a:r>
            <a:r>
              <a:rPr lang="en-US" sz="1488" dirty="0" smtClean="0"/>
              <a:t> </a:t>
            </a:r>
            <a:r>
              <a:rPr lang="en-US" sz="1488" dirty="0" err="1" smtClean="0"/>
              <a:t>una</a:t>
            </a:r>
            <a:r>
              <a:rPr lang="en-US" sz="1488" dirty="0" smtClean="0"/>
              <a:t> </a:t>
            </a:r>
            <a:r>
              <a:rPr lang="en-US" sz="1488" dirty="0" err="1" smtClean="0"/>
              <a:t>superifcie</a:t>
            </a:r>
            <a:endParaRPr lang="en-US" sz="1488" dirty="0"/>
          </a:p>
        </p:txBody>
      </p:sp>
      <p:grpSp>
        <p:nvGrpSpPr>
          <p:cNvPr id="68" name="Gruppo 67"/>
          <p:cNvGrpSpPr/>
          <p:nvPr/>
        </p:nvGrpSpPr>
        <p:grpSpPr>
          <a:xfrm>
            <a:off x="2114706" y="657577"/>
            <a:ext cx="5923095" cy="3560924"/>
            <a:chOff x="1237936" y="1332682"/>
            <a:chExt cx="7163429" cy="4306605"/>
          </a:xfrm>
        </p:grpSpPr>
        <p:sp>
          <p:nvSpPr>
            <p:cNvPr id="2" name="Figura a mano libera 1"/>
            <p:cNvSpPr/>
            <p:nvPr/>
          </p:nvSpPr>
          <p:spPr>
            <a:xfrm>
              <a:off x="1292951" y="1827748"/>
              <a:ext cx="5014489" cy="1621896"/>
            </a:xfrm>
            <a:custGeom>
              <a:avLst/>
              <a:gdLst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647825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36117"/>
                <a:gd name="connsiteX1" fmla="*/ 1000125 w 6086475"/>
                <a:gd name="connsiteY1" fmla="*/ 1533525 h 2036117"/>
                <a:gd name="connsiteX2" fmla="*/ 1647825 w 6086475"/>
                <a:gd name="connsiteY2" fmla="*/ 1962150 h 2036117"/>
                <a:gd name="connsiteX3" fmla="*/ 2581275 w 6086475"/>
                <a:gd name="connsiteY3" fmla="*/ 1809750 h 2036117"/>
                <a:gd name="connsiteX4" fmla="*/ 3829050 w 6086475"/>
                <a:gd name="connsiteY4" fmla="*/ 1295400 h 2036117"/>
                <a:gd name="connsiteX5" fmla="*/ 4772025 w 6086475"/>
                <a:gd name="connsiteY5" fmla="*/ 1409700 h 2036117"/>
                <a:gd name="connsiteX6" fmla="*/ 6086475 w 6086475"/>
                <a:gd name="connsiteY6" fmla="*/ 781050 h 2036117"/>
                <a:gd name="connsiteX7" fmla="*/ 4772025 w 6086475"/>
                <a:gd name="connsiteY7" fmla="*/ 0 h 2036117"/>
                <a:gd name="connsiteX8" fmla="*/ 3429000 w 6086475"/>
                <a:gd name="connsiteY8" fmla="*/ 285750 h 2036117"/>
                <a:gd name="connsiteX9" fmla="*/ 1800225 w 6086475"/>
                <a:gd name="connsiteY9" fmla="*/ 533400 h 2036117"/>
                <a:gd name="connsiteX10" fmla="*/ 476250 w 6086475"/>
                <a:gd name="connsiteY10" fmla="*/ 1171575 h 2036117"/>
                <a:gd name="connsiteX11" fmla="*/ 0 w 6086475"/>
                <a:gd name="connsiteY11" fmla="*/ 1495425 h 2036117"/>
                <a:gd name="connsiteX0" fmla="*/ 0 w 6086475"/>
                <a:gd name="connsiteY0" fmla="*/ 1495425 h 1982788"/>
                <a:gd name="connsiteX1" fmla="*/ 1000125 w 6086475"/>
                <a:gd name="connsiteY1" fmla="*/ 1533525 h 1982788"/>
                <a:gd name="connsiteX2" fmla="*/ 1647825 w 6086475"/>
                <a:gd name="connsiteY2" fmla="*/ 1962150 h 1982788"/>
                <a:gd name="connsiteX3" fmla="*/ 2676525 w 6086475"/>
                <a:gd name="connsiteY3" fmla="*/ 1666875 h 1982788"/>
                <a:gd name="connsiteX4" fmla="*/ 3829050 w 6086475"/>
                <a:gd name="connsiteY4" fmla="*/ 1295400 h 1982788"/>
                <a:gd name="connsiteX5" fmla="*/ 4772025 w 6086475"/>
                <a:gd name="connsiteY5" fmla="*/ 1409700 h 1982788"/>
                <a:gd name="connsiteX6" fmla="*/ 6086475 w 6086475"/>
                <a:gd name="connsiteY6" fmla="*/ 781050 h 1982788"/>
                <a:gd name="connsiteX7" fmla="*/ 4772025 w 6086475"/>
                <a:gd name="connsiteY7" fmla="*/ 0 h 1982788"/>
                <a:gd name="connsiteX8" fmla="*/ 3429000 w 6086475"/>
                <a:gd name="connsiteY8" fmla="*/ 285750 h 1982788"/>
                <a:gd name="connsiteX9" fmla="*/ 1800225 w 6086475"/>
                <a:gd name="connsiteY9" fmla="*/ 533400 h 1982788"/>
                <a:gd name="connsiteX10" fmla="*/ 476250 w 6086475"/>
                <a:gd name="connsiteY10" fmla="*/ 1171575 h 1982788"/>
                <a:gd name="connsiteX11" fmla="*/ 0 w 6086475"/>
                <a:gd name="connsiteY11" fmla="*/ 1495425 h 1982788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2055941"/>
                <a:gd name="connsiteX1" fmla="*/ 1000125 w 6086475"/>
                <a:gd name="connsiteY1" fmla="*/ 1533525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2068"/>
                <a:gd name="connsiteX1" fmla="*/ 866775 w 6086475"/>
                <a:gd name="connsiteY1" fmla="*/ 1485900 h 2052068"/>
                <a:gd name="connsiteX2" fmla="*/ 1628775 w 6086475"/>
                <a:gd name="connsiteY2" fmla="*/ 2047875 h 2052068"/>
                <a:gd name="connsiteX3" fmla="*/ 3009900 w 6086475"/>
                <a:gd name="connsiteY3" fmla="*/ 1581150 h 2052068"/>
                <a:gd name="connsiteX4" fmla="*/ 3829050 w 6086475"/>
                <a:gd name="connsiteY4" fmla="*/ 1295400 h 2052068"/>
                <a:gd name="connsiteX5" fmla="*/ 5019675 w 6086475"/>
                <a:gd name="connsiteY5" fmla="*/ 1314450 h 2052068"/>
                <a:gd name="connsiteX6" fmla="*/ 6086475 w 6086475"/>
                <a:gd name="connsiteY6" fmla="*/ 781050 h 2052068"/>
                <a:gd name="connsiteX7" fmla="*/ 4772025 w 6086475"/>
                <a:gd name="connsiteY7" fmla="*/ 0 h 2052068"/>
                <a:gd name="connsiteX8" fmla="*/ 3429000 w 6086475"/>
                <a:gd name="connsiteY8" fmla="*/ 285750 h 2052068"/>
                <a:gd name="connsiteX9" fmla="*/ 1800225 w 6086475"/>
                <a:gd name="connsiteY9" fmla="*/ 533400 h 2052068"/>
                <a:gd name="connsiteX10" fmla="*/ 476250 w 6086475"/>
                <a:gd name="connsiteY10" fmla="*/ 1171575 h 2052068"/>
                <a:gd name="connsiteX11" fmla="*/ 0 w 6086475"/>
                <a:gd name="connsiteY11" fmla="*/ 1495425 h 2052068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5019675 w 6086475"/>
                <a:gd name="connsiteY5" fmla="*/ 1314450 h 2050429"/>
                <a:gd name="connsiteX6" fmla="*/ 6086475 w 6086475"/>
                <a:gd name="connsiteY6" fmla="*/ 781050 h 2050429"/>
                <a:gd name="connsiteX7" fmla="*/ 4772025 w 6086475"/>
                <a:gd name="connsiteY7" fmla="*/ 0 h 2050429"/>
                <a:gd name="connsiteX8" fmla="*/ 3429000 w 6086475"/>
                <a:gd name="connsiteY8" fmla="*/ 285750 h 2050429"/>
                <a:gd name="connsiteX9" fmla="*/ 1800225 w 6086475"/>
                <a:gd name="connsiteY9" fmla="*/ 533400 h 2050429"/>
                <a:gd name="connsiteX10" fmla="*/ 476250 w 6086475"/>
                <a:gd name="connsiteY10" fmla="*/ 1171575 h 2050429"/>
                <a:gd name="connsiteX11" fmla="*/ 0 w 6086475"/>
                <a:gd name="connsiteY11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3429000 w 6086475"/>
                <a:gd name="connsiteY7" fmla="*/ 285750 h 2050429"/>
                <a:gd name="connsiteX8" fmla="*/ 1800225 w 6086475"/>
                <a:gd name="connsiteY8" fmla="*/ 533400 h 2050429"/>
                <a:gd name="connsiteX9" fmla="*/ 476250 w 6086475"/>
                <a:gd name="connsiteY9" fmla="*/ 1171575 h 2050429"/>
                <a:gd name="connsiteX10" fmla="*/ 0 w 6086475"/>
                <a:gd name="connsiteY10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3429000 w 6086475"/>
                <a:gd name="connsiteY7" fmla="*/ 285750 h 2050429"/>
                <a:gd name="connsiteX8" fmla="*/ 1800225 w 6086475"/>
                <a:gd name="connsiteY8" fmla="*/ 533400 h 2050429"/>
                <a:gd name="connsiteX9" fmla="*/ 0 w 6086475"/>
                <a:gd name="connsiteY9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3429000 w 6086475"/>
                <a:gd name="connsiteY7" fmla="*/ 285750 h 2050429"/>
                <a:gd name="connsiteX8" fmla="*/ 1390650 w 6086475"/>
                <a:gd name="connsiteY8" fmla="*/ 704850 h 2050429"/>
                <a:gd name="connsiteX9" fmla="*/ 0 w 6086475"/>
                <a:gd name="connsiteY9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2847975 w 6086475"/>
                <a:gd name="connsiteY7" fmla="*/ 485775 h 2050429"/>
                <a:gd name="connsiteX8" fmla="*/ 1390650 w 6086475"/>
                <a:gd name="connsiteY8" fmla="*/ 704850 h 2050429"/>
                <a:gd name="connsiteX9" fmla="*/ 0 w 6086475"/>
                <a:gd name="connsiteY9" fmla="*/ 1495425 h 2050429"/>
                <a:gd name="connsiteX0" fmla="*/ 0 w 6086475"/>
                <a:gd name="connsiteY0" fmla="*/ 1419225 h 1974229"/>
                <a:gd name="connsiteX1" fmla="*/ 866775 w 6086475"/>
                <a:gd name="connsiteY1" fmla="*/ 1409700 h 1974229"/>
                <a:gd name="connsiteX2" fmla="*/ 1628775 w 6086475"/>
                <a:gd name="connsiteY2" fmla="*/ 1971675 h 1974229"/>
                <a:gd name="connsiteX3" fmla="*/ 3009900 w 6086475"/>
                <a:gd name="connsiteY3" fmla="*/ 1504950 h 1974229"/>
                <a:gd name="connsiteX4" fmla="*/ 4467225 w 6086475"/>
                <a:gd name="connsiteY4" fmla="*/ 952500 h 1974229"/>
                <a:gd name="connsiteX5" fmla="*/ 6086475 w 6086475"/>
                <a:gd name="connsiteY5" fmla="*/ 704850 h 1974229"/>
                <a:gd name="connsiteX6" fmla="*/ 4495800 w 6086475"/>
                <a:gd name="connsiteY6" fmla="*/ 0 h 1974229"/>
                <a:gd name="connsiteX7" fmla="*/ 2847975 w 6086475"/>
                <a:gd name="connsiteY7" fmla="*/ 409575 h 1974229"/>
                <a:gd name="connsiteX8" fmla="*/ 1390650 w 6086475"/>
                <a:gd name="connsiteY8" fmla="*/ 628650 h 1974229"/>
                <a:gd name="connsiteX9" fmla="*/ 0 w 6086475"/>
                <a:gd name="connsiteY9" fmla="*/ 1419225 h 1974229"/>
                <a:gd name="connsiteX0" fmla="*/ 0 w 6086475"/>
                <a:gd name="connsiteY0" fmla="*/ 1419225 h 1974229"/>
                <a:gd name="connsiteX1" fmla="*/ 866775 w 6086475"/>
                <a:gd name="connsiteY1" fmla="*/ 1409700 h 1974229"/>
                <a:gd name="connsiteX2" fmla="*/ 1628775 w 6086475"/>
                <a:gd name="connsiteY2" fmla="*/ 1971675 h 1974229"/>
                <a:gd name="connsiteX3" fmla="*/ 3009900 w 6086475"/>
                <a:gd name="connsiteY3" fmla="*/ 1504950 h 1974229"/>
                <a:gd name="connsiteX4" fmla="*/ 4467225 w 6086475"/>
                <a:gd name="connsiteY4" fmla="*/ 952500 h 1974229"/>
                <a:gd name="connsiteX5" fmla="*/ 6086475 w 6086475"/>
                <a:gd name="connsiteY5" fmla="*/ 704850 h 1974229"/>
                <a:gd name="connsiteX6" fmla="*/ 4495800 w 6086475"/>
                <a:gd name="connsiteY6" fmla="*/ 0 h 1974229"/>
                <a:gd name="connsiteX7" fmla="*/ 2847975 w 6086475"/>
                <a:gd name="connsiteY7" fmla="*/ 409575 h 1974229"/>
                <a:gd name="connsiteX8" fmla="*/ 1390650 w 6086475"/>
                <a:gd name="connsiteY8" fmla="*/ 628650 h 1974229"/>
                <a:gd name="connsiteX9" fmla="*/ 0 w 6086475"/>
                <a:gd name="connsiteY9" fmla="*/ 1419225 h 1974229"/>
                <a:gd name="connsiteX0" fmla="*/ 0 w 6057900"/>
                <a:gd name="connsiteY0" fmla="*/ 1419225 h 1974229"/>
                <a:gd name="connsiteX1" fmla="*/ 838200 w 6057900"/>
                <a:gd name="connsiteY1" fmla="*/ 1409700 h 1974229"/>
                <a:gd name="connsiteX2" fmla="*/ 1600200 w 6057900"/>
                <a:gd name="connsiteY2" fmla="*/ 1971675 h 1974229"/>
                <a:gd name="connsiteX3" fmla="*/ 2981325 w 6057900"/>
                <a:gd name="connsiteY3" fmla="*/ 1504950 h 1974229"/>
                <a:gd name="connsiteX4" fmla="*/ 4438650 w 6057900"/>
                <a:gd name="connsiteY4" fmla="*/ 952500 h 1974229"/>
                <a:gd name="connsiteX5" fmla="*/ 6057900 w 6057900"/>
                <a:gd name="connsiteY5" fmla="*/ 704850 h 1974229"/>
                <a:gd name="connsiteX6" fmla="*/ 4467225 w 6057900"/>
                <a:gd name="connsiteY6" fmla="*/ 0 h 1974229"/>
                <a:gd name="connsiteX7" fmla="*/ 2819400 w 6057900"/>
                <a:gd name="connsiteY7" fmla="*/ 409575 h 1974229"/>
                <a:gd name="connsiteX8" fmla="*/ 1362075 w 6057900"/>
                <a:gd name="connsiteY8" fmla="*/ 628650 h 1974229"/>
                <a:gd name="connsiteX9" fmla="*/ 0 w 6057900"/>
                <a:gd name="connsiteY9" fmla="*/ 1419225 h 1974229"/>
                <a:gd name="connsiteX0" fmla="*/ 0 w 6057900"/>
                <a:gd name="connsiteY0" fmla="*/ 1419225 h 1972150"/>
                <a:gd name="connsiteX1" fmla="*/ 1600200 w 6057900"/>
                <a:gd name="connsiteY1" fmla="*/ 1971675 h 1972150"/>
                <a:gd name="connsiteX2" fmla="*/ 2981325 w 6057900"/>
                <a:gd name="connsiteY2" fmla="*/ 1504950 h 1972150"/>
                <a:gd name="connsiteX3" fmla="*/ 4438650 w 6057900"/>
                <a:gd name="connsiteY3" fmla="*/ 952500 h 1972150"/>
                <a:gd name="connsiteX4" fmla="*/ 6057900 w 6057900"/>
                <a:gd name="connsiteY4" fmla="*/ 704850 h 1972150"/>
                <a:gd name="connsiteX5" fmla="*/ 4467225 w 6057900"/>
                <a:gd name="connsiteY5" fmla="*/ 0 h 1972150"/>
                <a:gd name="connsiteX6" fmla="*/ 2819400 w 6057900"/>
                <a:gd name="connsiteY6" fmla="*/ 409575 h 1972150"/>
                <a:gd name="connsiteX7" fmla="*/ 1362075 w 6057900"/>
                <a:gd name="connsiteY7" fmla="*/ 628650 h 1972150"/>
                <a:gd name="connsiteX8" fmla="*/ 0 w 6057900"/>
                <a:gd name="connsiteY8" fmla="*/ 1419225 h 1972150"/>
                <a:gd name="connsiteX0" fmla="*/ 0 w 6057900"/>
                <a:gd name="connsiteY0" fmla="*/ 1419225 h 1972150"/>
                <a:gd name="connsiteX1" fmla="*/ 1600200 w 6057900"/>
                <a:gd name="connsiteY1" fmla="*/ 1971675 h 1972150"/>
                <a:gd name="connsiteX2" fmla="*/ 2981325 w 6057900"/>
                <a:gd name="connsiteY2" fmla="*/ 1504950 h 1972150"/>
                <a:gd name="connsiteX3" fmla="*/ 4438650 w 6057900"/>
                <a:gd name="connsiteY3" fmla="*/ 952500 h 1972150"/>
                <a:gd name="connsiteX4" fmla="*/ 6057900 w 6057900"/>
                <a:gd name="connsiteY4" fmla="*/ 704850 h 1972150"/>
                <a:gd name="connsiteX5" fmla="*/ 4467225 w 6057900"/>
                <a:gd name="connsiteY5" fmla="*/ 0 h 1972150"/>
                <a:gd name="connsiteX6" fmla="*/ 2819400 w 6057900"/>
                <a:gd name="connsiteY6" fmla="*/ 409575 h 1972150"/>
                <a:gd name="connsiteX7" fmla="*/ 1362075 w 6057900"/>
                <a:gd name="connsiteY7" fmla="*/ 628650 h 1972150"/>
                <a:gd name="connsiteX8" fmla="*/ 0 w 6057900"/>
                <a:gd name="connsiteY8" fmla="*/ 1419225 h 1972150"/>
                <a:gd name="connsiteX0" fmla="*/ 0 w 6057900"/>
                <a:gd name="connsiteY0" fmla="*/ 1419225 h 1972150"/>
                <a:gd name="connsiteX1" fmla="*/ 1600200 w 6057900"/>
                <a:gd name="connsiteY1" fmla="*/ 1971675 h 1972150"/>
                <a:gd name="connsiteX2" fmla="*/ 2981325 w 6057900"/>
                <a:gd name="connsiteY2" fmla="*/ 1504950 h 1972150"/>
                <a:gd name="connsiteX3" fmla="*/ 4438650 w 6057900"/>
                <a:gd name="connsiteY3" fmla="*/ 952500 h 1972150"/>
                <a:gd name="connsiteX4" fmla="*/ 6057900 w 6057900"/>
                <a:gd name="connsiteY4" fmla="*/ 704850 h 1972150"/>
                <a:gd name="connsiteX5" fmla="*/ 4467225 w 6057900"/>
                <a:gd name="connsiteY5" fmla="*/ 0 h 1972150"/>
                <a:gd name="connsiteX6" fmla="*/ 2819400 w 6057900"/>
                <a:gd name="connsiteY6" fmla="*/ 409575 h 1972150"/>
                <a:gd name="connsiteX7" fmla="*/ 1362075 w 6057900"/>
                <a:gd name="connsiteY7" fmla="*/ 628650 h 1972150"/>
                <a:gd name="connsiteX8" fmla="*/ 0 w 6057900"/>
                <a:gd name="connsiteY8" fmla="*/ 1419225 h 1972150"/>
                <a:gd name="connsiteX0" fmla="*/ 0 w 6057900"/>
                <a:gd name="connsiteY0" fmla="*/ 1409700 h 1962625"/>
                <a:gd name="connsiteX1" fmla="*/ 1600200 w 6057900"/>
                <a:gd name="connsiteY1" fmla="*/ 1962150 h 1962625"/>
                <a:gd name="connsiteX2" fmla="*/ 2981325 w 6057900"/>
                <a:gd name="connsiteY2" fmla="*/ 1495425 h 1962625"/>
                <a:gd name="connsiteX3" fmla="*/ 4438650 w 6057900"/>
                <a:gd name="connsiteY3" fmla="*/ 942975 h 1962625"/>
                <a:gd name="connsiteX4" fmla="*/ 6057900 w 6057900"/>
                <a:gd name="connsiteY4" fmla="*/ 695325 h 1962625"/>
                <a:gd name="connsiteX5" fmla="*/ 4438650 w 6057900"/>
                <a:gd name="connsiteY5" fmla="*/ 0 h 1962625"/>
                <a:gd name="connsiteX6" fmla="*/ 2819400 w 6057900"/>
                <a:gd name="connsiteY6" fmla="*/ 400050 h 1962625"/>
                <a:gd name="connsiteX7" fmla="*/ 1362075 w 6057900"/>
                <a:gd name="connsiteY7" fmla="*/ 619125 h 1962625"/>
                <a:gd name="connsiteX8" fmla="*/ 0 w 6057900"/>
                <a:gd name="connsiteY8" fmla="*/ 1409700 h 1962625"/>
                <a:gd name="connsiteX0" fmla="*/ 0 w 6057900"/>
                <a:gd name="connsiteY0" fmla="*/ 1409700 h 1962625"/>
                <a:gd name="connsiteX1" fmla="*/ 1600200 w 6057900"/>
                <a:gd name="connsiteY1" fmla="*/ 1962150 h 1962625"/>
                <a:gd name="connsiteX2" fmla="*/ 2981325 w 6057900"/>
                <a:gd name="connsiteY2" fmla="*/ 1495425 h 1962625"/>
                <a:gd name="connsiteX3" fmla="*/ 4438650 w 6057900"/>
                <a:gd name="connsiteY3" fmla="*/ 942975 h 1962625"/>
                <a:gd name="connsiteX4" fmla="*/ 6057900 w 6057900"/>
                <a:gd name="connsiteY4" fmla="*/ 695325 h 1962625"/>
                <a:gd name="connsiteX5" fmla="*/ 4438650 w 6057900"/>
                <a:gd name="connsiteY5" fmla="*/ 0 h 1962625"/>
                <a:gd name="connsiteX6" fmla="*/ 2819400 w 6057900"/>
                <a:gd name="connsiteY6" fmla="*/ 400050 h 1962625"/>
                <a:gd name="connsiteX7" fmla="*/ 1362075 w 6057900"/>
                <a:gd name="connsiteY7" fmla="*/ 619125 h 1962625"/>
                <a:gd name="connsiteX8" fmla="*/ 0 w 6057900"/>
                <a:gd name="connsiteY8" fmla="*/ 1409700 h 1962625"/>
                <a:gd name="connsiteX0" fmla="*/ 0 w 6057900"/>
                <a:gd name="connsiteY0" fmla="*/ 1409700 h 1962480"/>
                <a:gd name="connsiteX1" fmla="*/ 1600200 w 6057900"/>
                <a:gd name="connsiteY1" fmla="*/ 1962150 h 1962480"/>
                <a:gd name="connsiteX2" fmla="*/ 2981325 w 6057900"/>
                <a:gd name="connsiteY2" fmla="*/ 1495425 h 1962480"/>
                <a:gd name="connsiteX3" fmla="*/ 4438650 w 6057900"/>
                <a:gd name="connsiteY3" fmla="*/ 942975 h 1962480"/>
                <a:gd name="connsiteX4" fmla="*/ 6057900 w 6057900"/>
                <a:gd name="connsiteY4" fmla="*/ 695325 h 1962480"/>
                <a:gd name="connsiteX5" fmla="*/ 4438650 w 6057900"/>
                <a:gd name="connsiteY5" fmla="*/ 0 h 1962480"/>
                <a:gd name="connsiteX6" fmla="*/ 2819400 w 6057900"/>
                <a:gd name="connsiteY6" fmla="*/ 400050 h 1962480"/>
                <a:gd name="connsiteX7" fmla="*/ 1362075 w 6057900"/>
                <a:gd name="connsiteY7" fmla="*/ 619125 h 1962480"/>
                <a:gd name="connsiteX8" fmla="*/ 0 w 6057900"/>
                <a:gd name="connsiteY8" fmla="*/ 1409700 h 1962480"/>
                <a:gd name="connsiteX0" fmla="*/ 0 w 6057900"/>
                <a:gd name="connsiteY0" fmla="*/ 1409700 h 1962494"/>
                <a:gd name="connsiteX1" fmla="*/ 1600200 w 6057900"/>
                <a:gd name="connsiteY1" fmla="*/ 1962150 h 1962494"/>
                <a:gd name="connsiteX2" fmla="*/ 2981325 w 6057900"/>
                <a:gd name="connsiteY2" fmla="*/ 1495425 h 1962494"/>
                <a:gd name="connsiteX3" fmla="*/ 4438650 w 6057900"/>
                <a:gd name="connsiteY3" fmla="*/ 942975 h 1962494"/>
                <a:gd name="connsiteX4" fmla="*/ 6057900 w 6057900"/>
                <a:gd name="connsiteY4" fmla="*/ 695325 h 1962494"/>
                <a:gd name="connsiteX5" fmla="*/ 4438650 w 6057900"/>
                <a:gd name="connsiteY5" fmla="*/ 0 h 1962494"/>
                <a:gd name="connsiteX6" fmla="*/ 2819400 w 6057900"/>
                <a:gd name="connsiteY6" fmla="*/ 400050 h 1962494"/>
                <a:gd name="connsiteX7" fmla="*/ 1362075 w 6057900"/>
                <a:gd name="connsiteY7" fmla="*/ 619125 h 1962494"/>
                <a:gd name="connsiteX8" fmla="*/ 0 w 6057900"/>
                <a:gd name="connsiteY8" fmla="*/ 1409700 h 1962494"/>
                <a:gd name="connsiteX0" fmla="*/ 0 w 6057900"/>
                <a:gd name="connsiteY0" fmla="*/ 1409700 h 1962494"/>
                <a:gd name="connsiteX1" fmla="*/ 1600200 w 6057900"/>
                <a:gd name="connsiteY1" fmla="*/ 1962150 h 1962494"/>
                <a:gd name="connsiteX2" fmla="*/ 2981325 w 6057900"/>
                <a:gd name="connsiteY2" fmla="*/ 1495425 h 1962494"/>
                <a:gd name="connsiteX3" fmla="*/ 4438650 w 6057900"/>
                <a:gd name="connsiteY3" fmla="*/ 942975 h 1962494"/>
                <a:gd name="connsiteX4" fmla="*/ 6057900 w 6057900"/>
                <a:gd name="connsiteY4" fmla="*/ 695325 h 1962494"/>
                <a:gd name="connsiteX5" fmla="*/ 4438650 w 6057900"/>
                <a:gd name="connsiteY5" fmla="*/ 0 h 1962494"/>
                <a:gd name="connsiteX6" fmla="*/ 2819400 w 6057900"/>
                <a:gd name="connsiteY6" fmla="*/ 400050 h 1962494"/>
                <a:gd name="connsiteX7" fmla="*/ 1362075 w 6057900"/>
                <a:gd name="connsiteY7" fmla="*/ 619125 h 1962494"/>
                <a:gd name="connsiteX8" fmla="*/ 0 w 6057900"/>
                <a:gd name="connsiteY8" fmla="*/ 1409700 h 1962494"/>
                <a:gd name="connsiteX0" fmla="*/ 0 w 6057900"/>
                <a:gd name="connsiteY0" fmla="*/ 1409700 h 1962494"/>
                <a:gd name="connsiteX1" fmla="*/ 1600200 w 6057900"/>
                <a:gd name="connsiteY1" fmla="*/ 1962150 h 1962494"/>
                <a:gd name="connsiteX2" fmla="*/ 2981325 w 6057900"/>
                <a:gd name="connsiteY2" fmla="*/ 1495425 h 1962494"/>
                <a:gd name="connsiteX3" fmla="*/ 4438650 w 6057900"/>
                <a:gd name="connsiteY3" fmla="*/ 942975 h 1962494"/>
                <a:gd name="connsiteX4" fmla="*/ 6057900 w 6057900"/>
                <a:gd name="connsiteY4" fmla="*/ 695325 h 1962494"/>
                <a:gd name="connsiteX5" fmla="*/ 4438650 w 6057900"/>
                <a:gd name="connsiteY5" fmla="*/ 0 h 1962494"/>
                <a:gd name="connsiteX6" fmla="*/ 2819400 w 6057900"/>
                <a:gd name="connsiteY6" fmla="*/ 400050 h 1962494"/>
                <a:gd name="connsiteX7" fmla="*/ 1362075 w 6057900"/>
                <a:gd name="connsiteY7" fmla="*/ 619125 h 1962494"/>
                <a:gd name="connsiteX8" fmla="*/ 0 w 6057900"/>
                <a:gd name="connsiteY8" fmla="*/ 1409700 h 1962494"/>
                <a:gd name="connsiteX0" fmla="*/ 7504 w 6065404"/>
                <a:gd name="connsiteY0" fmla="*/ 1409700 h 1962494"/>
                <a:gd name="connsiteX1" fmla="*/ 757493 w 6065404"/>
                <a:gd name="connsiteY1" fmla="*/ 1450700 h 1962494"/>
                <a:gd name="connsiteX2" fmla="*/ 1607704 w 6065404"/>
                <a:gd name="connsiteY2" fmla="*/ 1962150 h 1962494"/>
                <a:gd name="connsiteX3" fmla="*/ 2988829 w 6065404"/>
                <a:gd name="connsiteY3" fmla="*/ 1495425 h 1962494"/>
                <a:gd name="connsiteX4" fmla="*/ 4446154 w 6065404"/>
                <a:gd name="connsiteY4" fmla="*/ 942975 h 1962494"/>
                <a:gd name="connsiteX5" fmla="*/ 6065404 w 6065404"/>
                <a:gd name="connsiteY5" fmla="*/ 695325 h 1962494"/>
                <a:gd name="connsiteX6" fmla="*/ 4446154 w 6065404"/>
                <a:gd name="connsiteY6" fmla="*/ 0 h 1962494"/>
                <a:gd name="connsiteX7" fmla="*/ 2826904 w 6065404"/>
                <a:gd name="connsiteY7" fmla="*/ 400050 h 1962494"/>
                <a:gd name="connsiteX8" fmla="*/ 1369579 w 6065404"/>
                <a:gd name="connsiteY8" fmla="*/ 619125 h 1962494"/>
                <a:gd name="connsiteX9" fmla="*/ 7504 w 6065404"/>
                <a:gd name="connsiteY9" fmla="*/ 1409700 h 1962494"/>
                <a:gd name="connsiteX0" fmla="*/ 7504 w 6065404"/>
                <a:gd name="connsiteY0" fmla="*/ 1409700 h 1962494"/>
                <a:gd name="connsiteX1" fmla="*/ 757493 w 6065404"/>
                <a:gd name="connsiteY1" fmla="*/ 1450700 h 1962494"/>
                <a:gd name="connsiteX2" fmla="*/ 1607704 w 6065404"/>
                <a:gd name="connsiteY2" fmla="*/ 1962150 h 1962494"/>
                <a:gd name="connsiteX3" fmla="*/ 2988829 w 6065404"/>
                <a:gd name="connsiteY3" fmla="*/ 1495425 h 1962494"/>
                <a:gd name="connsiteX4" fmla="*/ 4446154 w 6065404"/>
                <a:gd name="connsiteY4" fmla="*/ 942975 h 1962494"/>
                <a:gd name="connsiteX5" fmla="*/ 6065404 w 6065404"/>
                <a:gd name="connsiteY5" fmla="*/ 695325 h 1962494"/>
                <a:gd name="connsiteX6" fmla="*/ 4446154 w 6065404"/>
                <a:gd name="connsiteY6" fmla="*/ 0 h 1962494"/>
                <a:gd name="connsiteX7" fmla="*/ 2826904 w 6065404"/>
                <a:gd name="connsiteY7" fmla="*/ 400050 h 1962494"/>
                <a:gd name="connsiteX8" fmla="*/ 1369579 w 6065404"/>
                <a:gd name="connsiteY8" fmla="*/ 619125 h 1962494"/>
                <a:gd name="connsiteX9" fmla="*/ 7504 w 6065404"/>
                <a:gd name="connsiteY9" fmla="*/ 1409700 h 1962494"/>
                <a:gd name="connsiteX0" fmla="*/ 7504 w 6065404"/>
                <a:gd name="connsiteY0" fmla="*/ 1409700 h 1969848"/>
                <a:gd name="connsiteX1" fmla="*/ 757493 w 6065404"/>
                <a:gd name="connsiteY1" fmla="*/ 1450700 h 1969848"/>
                <a:gd name="connsiteX2" fmla="*/ 1095424 w 6065404"/>
                <a:gd name="connsiteY2" fmla="*/ 1808509 h 1969848"/>
                <a:gd name="connsiteX3" fmla="*/ 1607704 w 6065404"/>
                <a:gd name="connsiteY3" fmla="*/ 1962150 h 1969848"/>
                <a:gd name="connsiteX4" fmla="*/ 2988829 w 6065404"/>
                <a:gd name="connsiteY4" fmla="*/ 1495425 h 1969848"/>
                <a:gd name="connsiteX5" fmla="*/ 4446154 w 6065404"/>
                <a:gd name="connsiteY5" fmla="*/ 942975 h 1969848"/>
                <a:gd name="connsiteX6" fmla="*/ 6065404 w 6065404"/>
                <a:gd name="connsiteY6" fmla="*/ 695325 h 1969848"/>
                <a:gd name="connsiteX7" fmla="*/ 4446154 w 6065404"/>
                <a:gd name="connsiteY7" fmla="*/ 0 h 1969848"/>
                <a:gd name="connsiteX8" fmla="*/ 2826904 w 6065404"/>
                <a:gd name="connsiteY8" fmla="*/ 400050 h 1969848"/>
                <a:gd name="connsiteX9" fmla="*/ 1369579 w 6065404"/>
                <a:gd name="connsiteY9" fmla="*/ 619125 h 1969848"/>
                <a:gd name="connsiteX10" fmla="*/ 7504 w 6065404"/>
                <a:gd name="connsiteY10" fmla="*/ 1409700 h 1969848"/>
                <a:gd name="connsiteX0" fmla="*/ 7504 w 6065404"/>
                <a:gd name="connsiteY0" fmla="*/ 1409700 h 1965537"/>
                <a:gd name="connsiteX1" fmla="*/ 757493 w 6065404"/>
                <a:gd name="connsiteY1" fmla="*/ 1450700 h 1965537"/>
                <a:gd name="connsiteX2" fmla="*/ 1095424 w 6065404"/>
                <a:gd name="connsiteY2" fmla="*/ 1808509 h 1965537"/>
                <a:gd name="connsiteX3" fmla="*/ 1607704 w 6065404"/>
                <a:gd name="connsiteY3" fmla="*/ 1962150 h 1965537"/>
                <a:gd name="connsiteX4" fmla="*/ 2988829 w 6065404"/>
                <a:gd name="connsiteY4" fmla="*/ 1495425 h 1965537"/>
                <a:gd name="connsiteX5" fmla="*/ 4446154 w 6065404"/>
                <a:gd name="connsiteY5" fmla="*/ 942975 h 1965537"/>
                <a:gd name="connsiteX6" fmla="*/ 6065404 w 6065404"/>
                <a:gd name="connsiteY6" fmla="*/ 695325 h 1965537"/>
                <a:gd name="connsiteX7" fmla="*/ 4446154 w 6065404"/>
                <a:gd name="connsiteY7" fmla="*/ 0 h 1965537"/>
                <a:gd name="connsiteX8" fmla="*/ 2826904 w 6065404"/>
                <a:gd name="connsiteY8" fmla="*/ 400050 h 1965537"/>
                <a:gd name="connsiteX9" fmla="*/ 1369579 w 6065404"/>
                <a:gd name="connsiteY9" fmla="*/ 619125 h 1965537"/>
                <a:gd name="connsiteX10" fmla="*/ 7504 w 6065404"/>
                <a:gd name="connsiteY10" fmla="*/ 1409700 h 1965537"/>
                <a:gd name="connsiteX0" fmla="*/ 7504 w 6065404"/>
                <a:gd name="connsiteY0" fmla="*/ 1409700 h 1962494"/>
                <a:gd name="connsiteX1" fmla="*/ 757493 w 6065404"/>
                <a:gd name="connsiteY1" fmla="*/ 1450700 h 1962494"/>
                <a:gd name="connsiteX2" fmla="*/ 1095424 w 6065404"/>
                <a:gd name="connsiteY2" fmla="*/ 1808509 h 1962494"/>
                <a:gd name="connsiteX3" fmla="*/ 1607704 w 6065404"/>
                <a:gd name="connsiteY3" fmla="*/ 1962150 h 1962494"/>
                <a:gd name="connsiteX4" fmla="*/ 2988829 w 6065404"/>
                <a:gd name="connsiteY4" fmla="*/ 1495425 h 1962494"/>
                <a:gd name="connsiteX5" fmla="*/ 4446154 w 6065404"/>
                <a:gd name="connsiteY5" fmla="*/ 942975 h 1962494"/>
                <a:gd name="connsiteX6" fmla="*/ 6065404 w 6065404"/>
                <a:gd name="connsiteY6" fmla="*/ 695325 h 1962494"/>
                <a:gd name="connsiteX7" fmla="*/ 4446154 w 6065404"/>
                <a:gd name="connsiteY7" fmla="*/ 0 h 1962494"/>
                <a:gd name="connsiteX8" fmla="*/ 2826904 w 6065404"/>
                <a:gd name="connsiteY8" fmla="*/ 400050 h 1962494"/>
                <a:gd name="connsiteX9" fmla="*/ 1369579 w 6065404"/>
                <a:gd name="connsiteY9" fmla="*/ 619125 h 1962494"/>
                <a:gd name="connsiteX10" fmla="*/ 7504 w 6065404"/>
                <a:gd name="connsiteY10" fmla="*/ 1409700 h 1962494"/>
                <a:gd name="connsiteX0" fmla="*/ 7504 w 6065404"/>
                <a:gd name="connsiteY0" fmla="*/ 1409700 h 1962494"/>
                <a:gd name="connsiteX1" fmla="*/ 757493 w 6065404"/>
                <a:gd name="connsiteY1" fmla="*/ 1450700 h 1962494"/>
                <a:gd name="connsiteX2" fmla="*/ 1045729 w 6065404"/>
                <a:gd name="connsiteY2" fmla="*/ 1709118 h 1962494"/>
                <a:gd name="connsiteX3" fmla="*/ 1607704 w 6065404"/>
                <a:gd name="connsiteY3" fmla="*/ 1962150 h 1962494"/>
                <a:gd name="connsiteX4" fmla="*/ 2988829 w 6065404"/>
                <a:gd name="connsiteY4" fmla="*/ 1495425 h 1962494"/>
                <a:gd name="connsiteX5" fmla="*/ 4446154 w 6065404"/>
                <a:gd name="connsiteY5" fmla="*/ 942975 h 1962494"/>
                <a:gd name="connsiteX6" fmla="*/ 6065404 w 6065404"/>
                <a:gd name="connsiteY6" fmla="*/ 695325 h 1962494"/>
                <a:gd name="connsiteX7" fmla="*/ 4446154 w 6065404"/>
                <a:gd name="connsiteY7" fmla="*/ 0 h 1962494"/>
                <a:gd name="connsiteX8" fmla="*/ 2826904 w 6065404"/>
                <a:gd name="connsiteY8" fmla="*/ 400050 h 1962494"/>
                <a:gd name="connsiteX9" fmla="*/ 1369579 w 6065404"/>
                <a:gd name="connsiteY9" fmla="*/ 619125 h 1962494"/>
                <a:gd name="connsiteX10" fmla="*/ 7504 w 6065404"/>
                <a:gd name="connsiteY10" fmla="*/ 1409700 h 1962494"/>
                <a:gd name="connsiteX0" fmla="*/ 9632 w 6067532"/>
                <a:gd name="connsiteY0" fmla="*/ 1409700 h 1962494"/>
                <a:gd name="connsiteX1" fmla="*/ 620473 w 6067532"/>
                <a:gd name="connsiteY1" fmla="*/ 1430821 h 1962494"/>
                <a:gd name="connsiteX2" fmla="*/ 1047857 w 6067532"/>
                <a:gd name="connsiteY2" fmla="*/ 1709118 h 1962494"/>
                <a:gd name="connsiteX3" fmla="*/ 1609832 w 6067532"/>
                <a:gd name="connsiteY3" fmla="*/ 1962150 h 1962494"/>
                <a:gd name="connsiteX4" fmla="*/ 2990957 w 6067532"/>
                <a:gd name="connsiteY4" fmla="*/ 1495425 h 1962494"/>
                <a:gd name="connsiteX5" fmla="*/ 4448282 w 6067532"/>
                <a:gd name="connsiteY5" fmla="*/ 942975 h 1962494"/>
                <a:gd name="connsiteX6" fmla="*/ 6067532 w 6067532"/>
                <a:gd name="connsiteY6" fmla="*/ 695325 h 1962494"/>
                <a:gd name="connsiteX7" fmla="*/ 4448282 w 6067532"/>
                <a:gd name="connsiteY7" fmla="*/ 0 h 1962494"/>
                <a:gd name="connsiteX8" fmla="*/ 2829032 w 6067532"/>
                <a:gd name="connsiteY8" fmla="*/ 400050 h 1962494"/>
                <a:gd name="connsiteX9" fmla="*/ 1371707 w 6067532"/>
                <a:gd name="connsiteY9" fmla="*/ 619125 h 1962494"/>
                <a:gd name="connsiteX10" fmla="*/ 9632 w 6067532"/>
                <a:gd name="connsiteY10" fmla="*/ 1409700 h 1962494"/>
                <a:gd name="connsiteX0" fmla="*/ 9632 w 6067532"/>
                <a:gd name="connsiteY0" fmla="*/ 1409700 h 1962494"/>
                <a:gd name="connsiteX1" fmla="*/ 620473 w 6067532"/>
                <a:gd name="connsiteY1" fmla="*/ 1430821 h 1962494"/>
                <a:gd name="connsiteX2" fmla="*/ 1047857 w 6067532"/>
                <a:gd name="connsiteY2" fmla="*/ 1709118 h 1962494"/>
                <a:gd name="connsiteX3" fmla="*/ 1609832 w 6067532"/>
                <a:gd name="connsiteY3" fmla="*/ 1962150 h 1962494"/>
                <a:gd name="connsiteX4" fmla="*/ 2990957 w 6067532"/>
                <a:gd name="connsiteY4" fmla="*/ 1495425 h 1962494"/>
                <a:gd name="connsiteX5" fmla="*/ 4448282 w 6067532"/>
                <a:gd name="connsiteY5" fmla="*/ 942975 h 1962494"/>
                <a:gd name="connsiteX6" fmla="*/ 6067532 w 6067532"/>
                <a:gd name="connsiteY6" fmla="*/ 695325 h 1962494"/>
                <a:gd name="connsiteX7" fmla="*/ 4448282 w 6067532"/>
                <a:gd name="connsiteY7" fmla="*/ 0 h 1962494"/>
                <a:gd name="connsiteX8" fmla="*/ 2829032 w 6067532"/>
                <a:gd name="connsiteY8" fmla="*/ 400050 h 1962494"/>
                <a:gd name="connsiteX9" fmla="*/ 1371707 w 6067532"/>
                <a:gd name="connsiteY9" fmla="*/ 619125 h 1962494"/>
                <a:gd name="connsiteX10" fmla="*/ 9632 w 6067532"/>
                <a:gd name="connsiteY10" fmla="*/ 1409700 h 1962494"/>
                <a:gd name="connsiteX0" fmla="*/ 9632 w 6067532"/>
                <a:gd name="connsiteY0" fmla="*/ 1409700 h 1962494"/>
                <a:gd name="connsiteX1" fmla="*/ 620473 w 6067532"/>
                <a:gd name="connsiteY1" fmla="*/ 1430821 h 1962494"/>
                <a:gd name="connsiteX2" fmla="*/ 1047857 w 6067532"/>
                <a:gd name="connsiteY2" fmla="*/ 1709118 h 1962494"/>
                <a:gd name="connsiteX3" fmla="*/ 1609832 w 6067532"/>
                <a:gd name="connsiteY3" fmla="*/ 1962150 h 1962494"/>
                <a:gd name="connsiteX4" fmla="*/ 2990957 w 6067532"/>
                <a:gd name="connsiteY4" fmla="*/ 1495425 h 1962494"/>
                <a:gd name="connsiteX5" fmla="*/ 4448282 w 6067532"/>
                <a:gd name="connsiteY5" fmla="*/ 942975 h 1962494"/>
                <a:gd name="connsiteX6" fmla="*/ 6067532 w 6067532"/>
                <a:gd name="connsiteY6" fmla="*/ 695325 h 1962494"/>
                <a:gd name="connsiteX7" fmla="*/ 4448282 w 6067532"/>
                <a:gd name="connsiteY7" fmla="*/ 0 h 1962494"/>
                <a:gd name="connsiteX8" fmla="*/ 2829032 w 6067532"/>
                <a:gd name="connsiteY8" fmla="*/ 400050 h 1962494"/>
                <a:gd name="connsiteX9" fmla="*/ 1371707 w 6067532"/>
                <a:gd name="connsiteY9" fmla="*/ 619125 h 1962494"/>
                <a:gd name="connsiteX10" fmla="*/ 9632 w 6067532"/>
                <a:gd name="connsiteY10" fmla="*/ 1409700 h 1962494"/>
                <a:gd name="connsiteX0" fmla="*/ 9632 w 6067532"/>
                <a:gd name="connsiteY0" fmla="*/ 1409700 h 1962494"/>
                <a:gd name="connsiteX1" fmla="*/ 620473 w 6067532"/>
                <a:gd name="connsiteY1" fmla="*/ 1430821 h 1962494"/>
                <a:gd name="connsiteX2" fmla="*/ 1018039 w 6067532"/>
                <a:gd name="connsiteY2" fmla="*/ 1659423 h 1962494"/>
                <a:gd name="connsiteX3" fmla="*/ 1609832 w 6067532"/>
                <a:gd name="connsiteY3" fmla="*/ 1962150 h 1962494"/>
                <a:gd name="connsiteX4" fmla="*/ 2990957 w 6067532"/>
                <a:gd name="connsiteY4" fmla="*/ 1495425 h 1962494"/>
                <a:gd name="connsiteX5" fmla="*/ 4448282 w 6067532"/>
                <a:gd name="connsiteY5" fmla="*/ 942975 h 1962494"/>
                <a:gd name="connsiteX6" fmla="*/ 6067532 w 6067532"/>
                <a:gd name="connsiteY6" fmla="*/ 695325 h 1962494"/>
                <a:gd name="connsiteX7" fmla="*/ 4448282 w 6067532"/>
                <a:gd name="connsiteY7" fmla="*/ 0 h 1962494"/>
                <a:gd name="connsiteX8" fmla="*/ 2829032 w 6067532"/>
                <a:gd name="connsiteY8" fmla="*/ 400050 h 1962494"/>
                <a:gd name="connsiteX9" fmla="*/ 1371707 w 6067532"/>
                <a:gd name="connsiteY9" fmla="*/ 619125 h 1962494"/>
                <a:gd name="connsiteX10" fmla="*/ 9632 w 6067532"/>
                <a:gd name="connsiteY10" fmla="*/ 1409700 h 1962494"/>
                <a:gd name="connsiteX0" fmla="*/ 9632 w 6067532"/>
                <a:gd name="connsiteY0" fmla="*/ 1409700 h 1962494"/>
                <a:gd name="connsiteX1" fmla="*/ 620473 w 6067532"/>
                <a:gd name="connsiteY1" fmla="*/ 1430821 h 1962494"/>
                <a:gd name="connsiteX2" fmla="*/ 1018039 w 6067532"/>
                <a:gd name="connsiteY2" fmla="*/ 1659423 h 1962494"/>
                <a:gd name="connsiteX3" fmla="*/ 1609832 w 6067532"/>
                <a:gd name="connsiteY3" fmla="*/ 1962150 h 1962494"/>
                <a:gd name="connsiteX4" fmla="*/ 2990957 w 6067532"/>
                <a:gd name="connsiteY4" fmla="*/ 1495425 h 1962494"/>
                <a:gd name="connsiteX5" fmla="*/ 4448282 w 6067532"/>
                <a:gd name="connsiteY5" fmla="*/ 942975 h 1962494"/>
                <a:gd name="connsiteX6" fmla="*/ 6067532 w 6067532"/>
                <a:gd name="connsiteY6" fmla="*/ 695325 h 1962494"/>
                <a:gd name="connsiteX7" fmla="*/ 4448282 w 6067532"/>
                <a:gd name="connsiteY7" fmla="*/ 0 h 1962494"/>
                <a:gd name="connsiteX8" fmla="*/ 2829032 w 6067532"/>
                <a:gd name="connsiteY8" fmla="*/ 400050 h 1962494"/>
                <a:gd name="connsiteX9" fmla="*/ 1371707 w 6067532"/>
                <a:gd name="connsiteY9" fmla="*/ 619125 h 1962494"/>
                <a:gd name="connsiteX10" fmla="*/ 9632 w 6067532"/>
                <a:gd name="connsiteY10" fmla="*/ 1409700 h 19624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067532" h="1962494">
                  <a:moveTo>
                    <a:pt x="9632" y="1409700"/>
                  </a:moveTo>
                  <a:cubicBezTo>
                    <a:pt x="-69191" y="1546639"/>
                    <a:pt x="353773" y="1338746"/>
                    <a:pt x="620473" y="1430821"/>
                  </a:cubicBezTo>
                  <a:cubicBezTo>
                    <a:pt x="801793" y="1571832"/>
                    <a:pt x="707372" y="1564242"/>
                    <a:pt x="1018039" y="1659423"/>
                  </a:cubicBezTo>
                  <a:cubicBezTo>
                    <a:pt x="1507610" y="1655212"/>
                    <a:pt x="1443352" y="1810579"/>
                    <a:pt x="1609832" y="1962150"/>
                  </a:cubicBezTo>
                  <a:cubicBezTo>
                    <a:pt x="2106720" y="1976438"/>
                    <a:pt x="2041632" y="1541463"/>
                    <a:pt x="2990957" y="1495425"/>
                  </a:cubicBezTo>
                  <a:cubicBezTo>
                    <a:pt x="3940282" y="1449387"/>
                    <a:pt x="3525945" y="1200150"/>
                    <a:pt x="4448282" y="942975"/>
                  </a:cubicBezTo>
                  <a:cubicBezTo>
                    <a:pt x="5370619" y="685800"/>
                    <a:pt x="5216632" y="666750"/>
                    <a:pt x="6067532" y="695325"/>
                  </a:cubicBezTo>
                  <a:cubicBezTo>
                    <a:pt x="5276957" y="587375"/>
                    <a:pt x="5410307" y="241300"/>
                    <a:pt x="4448282" y="0"/>
                  </a:cubicBezTo>
                  <a:cubicBezTo>
                    <a:pt x="3899007" y="136525"/>
                    <a:pt x="3341794" y="296863"/>
                    <a:pt x="2829032" y="400050"/>
                  </a:cubicBezTo>
                  <a:cubicBezTo>
                    <a:pt x="2316270" y="503237"/>
                    <a:pt x="1841607" y="450850"/>
                    <a:pt x="1371707" y="619125"/>
                  </a:cubicBezTo>
                  <a:cubicBezTo>
                    <a:pt x="901807" y="787400"/>
                    <a:pt x="165207" y="1250950"/>
                    <a:pt x="9632" y="1409700"/>
                  </a:cubicBezTo>
                  <a:close/>
                </a:path>
              </a:pathLst>
            </a:custGeom>
            <a:solidFill>
              <a:schemeClr val="accent1">
                <a:alpha val="75000"/>
              </a:schemeClr>
            </a:solidFill>
            <a:ln w="15875">
              <a:solidFill>
                <a:srgbClr val="00B0F0"/>
              </a:solidFill>
              <a:prstDash val="sys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1" name="Figura a mano libera 10"/>
            <p:cNvSpPr/>
            <p:nvPr/>
          </p:nvSpPr>
          <p:spPr>
            <a:xfrm>
              <a:off x="2969754" y="3595045"/>
              <a:ext cx="5014401" cy="1629483"/>
            </a:xfrm>
            <a:custGeom>
              <a:avLst/>
              <a:gdLst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647825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36117"/>
                <a:gd name="connsiteX1" fmla="*/ 1000125 w 6086475"/>
                <a:gd name="connsiteY1" fmla="*/ 1533525 h 2036117"/>
                <a:gd name="connsiteX2" fmla="*/ 1647825 w 6086475"/>
                <a:gd name="connsiteY2" fmla="*/ 1962150 h 2036117"/>
                <a:gd name="connsiteX3" fmla="*/ 2581275 w 6086475"/>
                <a:gd name="connsiteY3" fmla="*/ 1809750 h 2036117"/>
                <a:gd name="connsiteX4" fmla="*/ 3829050 w 6086475"/>
                <a:gd name="connsiteY4" fmla="*/ 1295400 h 2036117"/>
                <a:gd name="connsiteX5" fmla="*/ 4772025 w 6086475"/>
                <a:gd name="connsiteY5" fmla="*/ 1409700 h 2036117"/>
                <a:gd name="connsiteX6" fmla="*/ 6086475 w 6086475"/>
                <a:gd name="connsiteY6" fmla="*/ 781050 h 2036117"/>
                <a:gd name="connsiteX7" fmla="*/ 4772025 w 6086475"/>
                <a:gd name="connsiteY7" fmla="*/ 0 h 2036117"/>
                <a:gd name="connsiteX8" fmla="*/ 3429000 w 6086475"/>
                <a:gd name="connsiteY8" fmla="*/ 285750 h 2036117"/>
                <a:gd name="connsiteX9" fmla="*/ 1800225 w 6086475"/>
                <a:gd name="connsiteY9" fmla="*/ 533400 h 2036117"/>
                <a:gd name="connsiteX10" fmla="*/ 476250 w 6086475"/>
                <a:gd name="connsiteY10" fmla="*/ 1171575 h 2036117"/>
                <a:gd name="connsiteX11" fmla="*/ 0 w 6086475"/>
                <a:gd name="connsiteY11" fmla="*/ 1495425 h 2036117"/>
                <a:gd name="connsiteX0" fmla="*/ 0 w 6086475"/>
                <a:gd name="connsiteY0" fmla="*/ 1495425 h 1982788"/>
                <a:gd name="connsiteX1" fmla="*/ 1000125 w 6086475"/>
                <a:gd name="connsiteY1" fmla="*/ 1533525 h 1982788"/>
                <a:gd name="connsiteX2" fmla="*/ 1647825 w 6086475"/>
                <a:gd name="connsiteY2" fmla="*/ 1962150 h 1982788"/>
                <a:gd name="connsiteX3" fmla="*/ 2676525 w 6086475"/>
                <a:gd name="connsiteY3" fmla="*/ 1666875 h 1982788"/>
                <a:gd name="connsiteX4" fmla="*/ 3829050 w 6086475"/>
                <a:gd name="connsiteY4" fmla="*/ 1295400 h 1982788"/>
                <a:gd name="connsiteX5" fmla="*/ 4772025 w 6086475"/>
                <a:gd name="connsiteY5" fmla="*/ 1409700 h 1982788"/>
                <a:gd name="connsiteX6" fmla="*/ 6086475 w 6086475"/>
                <a:gd name="connsiteY6" fmla="*/ 781050 h 1982788"/>
                <a:gd name="connsiteX7" fmla="*/ 4772025 w 6086475"/>
                <a:gd name="connsiteY7" fmla="*/ 0 h 1982788"/>
                <a:gd name="connsiteX8" fmla="*/ 3429000 w 6086475"/>
                <a:gd name="connsiteY8" fmla="*/ 285750 h 1982788"/>
                <a:gd name="connsiteX9" fmla="*/ 1800225 w 6086475"/>
                <a:gd name="connsiteY9" fmla="*/ 533400 h 1982788"/>
                <a:gd name="connsiteX10" fmla="*/ 476250 w 6086475"/>
                <a:gd name="connsiteY10" fmla="*/ 1171575 h 1982788"/>
                <a:gd name="connsiteX11" fmla="*/ 0 w 6086475"/>
                <a:gd name="connsiteY11" fmla="*/ 1495425 h 1982788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2055941"/>
                <a:gd name="connsiteX1" fmla="*/ 1000125 w 6086475"/>
                <a:gd name="connsiteY1" fmla="*/ 1533525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2068"/>
                <a:gd name="connsiteX1" fmla="*/ 866775 w 6086475"/>
                <a:gd name="connsiteY1" fmla="*/ 1485900 h 2052068"/>
                <a:gd name="connsiteX2" fmla="*/ 1628775 w 6086475"/>
                <a:gd name="connsiteY2" fmla="*/ 2047875 h 2052068"/>
                <a:gd name="connsiteX3" fmla="*/ 3009900 w 6086475"/>
                <a:gd name="connsiteY3" fmla="*/ 1581150 h 2052068"/>
                <a:gd name="connsiteX4" fmla="*/ 3829050 w 6086475"/>
                <a:gd name="connsiteY4" fmla="*/ 1295400 h 2052068"/>
                <a:gd name="connsiteX5" fmla="*/ 5019675 w 6086475"/>
                <a:gd name="connsiteY5" fmla="*/ 1314450 h 2052068"/>
                <a:gd name="connsiteX6" fmla="*/ 6086475 w 6086475"/>
                <a:gd name="connsiteY6" fmla="*/ 781050 h 2052068"/>
                <a:gd name="connsiteX7" fmla="*/ 4772025 w 6086475"/>
                <a:gd name="connsiteY7" fmla="*/ 0 h 2052068"/>
                <a:gd name="connsiteX8" fmla="*/ 3429000 w 6086475"/>
                <a:gd name="connsiteY8" fmla="*/ 285750 h 2052068"/>
                <a:gd name="connsiteX9" fmla="*/ 1800225 w 6086475"/>
                <a:gd name="connsiteY9" fmla="*/ 533400 h 2052068"/>
                <a:gd name="connsiteX10" fmla="*/ 476250 w 6086475"/>
                <a:gd name="connsiteY10" fmla="*/ 1171575 h 2052068"/>
                <a:gd name="connsiteX11" fmla="*/ 0 w 6086475"/>
                <a:gd name="connsiteY11" fmla="*/ 1495425 h 2052068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5019675 w 6086475"/>
                <a:gd name="connsiteY5" fmla="*/ 1314450 h 2050429"/>
                <a:gd name="connsiteX6" fmla="*/ 6086475 w 6086475"/>
                <a:gd name="connsiteY6" fmla="*/ 781050 h 2050429"/>
                <a:gd name="connsiteX7" fmla="*/ 4772025 w 6086475"/>
                <a:gd name="connsiteY7" fmla="*/ 0 h 2050429"/>
                <a:gd name="connsiteX8" fmla="*/ 3429000 w 6086475"/>
                <a:gd name="connsiteY8" fmla="*/ 285750 h 2050429"/>
                <a:gd name="connsiteX9" fmla="*/ 1800225 w 6086475"/>
                <a:gd name="connsiteY9" fmla="*/ 533400 h 2050429"/>
                <a:gd name="connsiteX10" fmla="*/ 476250 w 6086475"/>
                <a:gd name="connsiteY10" fmla="*/ 1171575 h 2050429"/>
                <a:gd name="connsiteX11" fmla="*/ 0 w 6086475"/>
                <a:gd name="connsiteY11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3429000 w 6086475"/>
                <a:gd name="connsiteY7" fmla="*/ 285750 h 2050429"/>
                <a:gd name="connsiteX8" fmla="*/ 1800225 w 6086475"/>
                <a:gd name="connsiteY8" fmla="*/ 533400 h 2050429"/>
                <a:gd name="connsiteX9" fmla="*/ 476250 w 6086475"/>
                <a:gd name="connsiteY9" fmla="*/ 1171575 h 2050429"/>
                <a:gd name="connsiteX10" fmla="*/ 0 w 6086475"/>
                <a:gd name="connsiteY10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3429000 w 6086475"/>
                <a:gd name="connsiteY7" fmla="*/ 285750 h 2050429"/>
                <a:gd name="connsiteX8" fmla="*/ 1800225 w 6086475"/>
                <a:gd name="connsiteY8" fmla="*/ 533400 h 2050429"/>
                <a:gd name="connsiteX9" fmla="*/ 0 w 6086475"/>
                <a:gd name="connsiteY9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3429000 w 6086475"/>
                <a:gd name="connsiteY7" fmla="*/ 285750 h 2050429"/>
                <a:gd name="connsiteX8" fmla="*/ 1390650 w 6086475"/>
                <a:gd name="connsiteY8" fmla="*/ 704850 h 2050429"/>
                <a:gd name="connsiteX9" fmla="*/ 0 w 6086475"/>
                <a:gd name="connsiteY9" fmla="*/ 1495425 h 2050429"/>
                <a:gd name="connsiteX0" fmla="*/ 0 w 6086475"/>
                <a:gd name="connsiteY0" fmla="*/ 1495425 h 2050429"/>
                <a:gd name="connsiteX1" fmla="*/ 866775 w 6086475"/>
                <a:gd name="connsiteY1" fmla="*/ 1485900 h 2050429"/>
                <a:gd name="connsiteX2" fmla="*/ 1628775 w 6086475"/>
                <a:gd name="connsiteY2" fmla="*/ 2047875 h 2050429"/>
                <a:gd name="connsiteX3" fmla="*/ 3009900 w 6086475"/>
                <a:gd name="connsiteY3" fmla="*/ 1581150 h 2050429"/>
                <a:gd name="connsiteX4" fmla="*/ 4467225 w 6086475"/>
                <a:gd name="connsiteY4" fmla="*/ 1028700 h 2050429"/>
                <a:gd name="connsiteX5" fmla="*/ 6086475 w 6086475"/>
                <a:gd name="connsiteY5" fmla="*/ 781050 h 2050429"/>
                <a:gd name="connsiteX6" fmla="*/ 4772025 w 6086475"/>
                <a:gd name="connsiteY6" fmla="*/ 0 h 2050429"/>
                <a:gd name="connsiteX7" fmla="*/ 2847975 w 6086475"/>
                <a:gd name="connsiteY7" fmla="*/ 485775 h 2050429"/>
                <a:gd name="connsiteX8" fmla="*/ 1390650 w 6086475"/>
                <a:gd name="connsiteY8" fmla="*/ 704850 h 2050429"/>
                <a:gd name="connsiteX9" fmla="*/ 0 w 6086475"/>
                <a:gd name="connsiteY9" fmla="*/ 1495425 h 2050429"/>
                <a:gd name="connsiteX0" fmla="*/ 0 w 6086475"/>
                <a:gd name="connsiteY0" fmla="*/ 1419225 h 1974229"/>
                <a:gd name="connsiteX1" fmla="*/ 866775 w 6086475"/>
                <a:gd name="connsiteY1" fmla="*/ 1409700 h 1974229"/>
                <a:gd name="connsiteX2" fmla="*/ 1628775 w 6086475"/>
                <a:gd name="connsiteY2" fmla="*/ 1971675 h 1974229"/>
                <a:gd name="connsiteX3" fmla="*/ 3009900 w 6086475"/>
                <a:gd name="connsiteY3" fmla="*/ 1504950 h 1974229"/>
                <a:gd name="connsiteX4" fmla="*/ 4467225 w 6086475"/>
                <a:gd name="connsiteY4" fmla="*/ 952500 h 1974229"/>
                <a:gd name="connsiteX5" fmla="*/ 6086475 w 6086475"/>
                <a:gd name="connsiteY5" fmla="*/ 704850 h 1974229"/>
                <a:gd name="connsiteX6" fmla="*/ 4495800 w 6086475"/>
                <a:gd name="connsiteY6" fmla="*/ 0 h 1974229"/>
                <a:gd name="connsiteX7" fmla="*/ 2847975 w 6086475"/>
                <a:gd name="connsiteY7" fmla="*/ 409575 h 1974229"/>
                <a:gd name="connsiteX8" fmla="*/ 1390650 w 6086475"/>
                <a:gd name="connsiteY8" fmla="*/ 628650 h 1974229"/>
                <a:gd name="connsiteX9" fmla="*/ 0 w 6086475"/>
                <a:gd name="connsiteY9" fmla="*/ 1419225 h 1974229"/>
                <a:gd name="connsiteX0" fmla="*/ 0 w 6086475"/>
                <a:gd name="connsiteY0" fmla="*/ 1419225 h 1974229"/>
                <a:gd name="connsiteX1" fmla="*/ 866775 w 6086475"/>
                <a:gd name="connsiteY1" fmla="*/ 1409700 h 1974229"/>
                <a:gd name="connsiteX2" fmla="*/ 1628775 w 6086475"/>
                <a:gd name="connsiteY2" fmla="*/ 1971675 h 1974229"/>
                <a:gd name="connsiteX3" fmla="*/ 3009900 w 6086475"/>
                <a:gd name="connsiteY3" fmla="*/ 1504950 h 1974229"/>
                <a:gd name="connsiteX4" fmla="*/ 4467225 w 6086475"/>
                <a:gd name="connsiteY4" fmla="*/ 952500 h 1974229"/>
                <a:gd name="connsiteX5" fmla="*/ 6086475 w 6086475"/>
                <a:gd name="connsiteY5" fmla="*/ 704850 h 1974229"/>
                <a:gd name="connsiteX6" fmla="*/ 4495800 w 6086475"/>
                <a:gd name="connsiteY6" fmla="*/ 0 h 1974229"/>
                <a:gd name="connsiteX7" fmla="*/ 2847975 w 6086475"/>
                <a:gd name="connsiteY7" fmla="*/ 409575 h 1974229"/>
                <a:gd name="connsiteX8" fmla="*/ 1390650 w 6086475"/>
                <a:gd name="connsiteY8" fmla="*/ 628650 h 1974229"/>
                <a:gd name="connsiteX9" fmla="*/ 0 w 6086475"/>
                <a:gd name="connsiteY9" fmla="*/ 1419225 h 1974229"/>
                <a:gd name="connsiteX0" fmla="*/ 0 w 6038850"/>
                <a:gd name="connsiteY0" fmla="*/ 1276350 h 1974229"/>
                <a:gd name="connsiteX1" fmla="*/ 819150 w 6038850"/>
                <a:gd name="connsiteY1" fmla="*/ 1409700 h 1974229"/>
                <a:gd name="connsiteX2" fmla="*/ 1581150 w 6038850"/>
                <a:gd name="connsiteY2" fmla="*/ 1971675 h 1974229"/>
                <a:gd name="connsiteX3" fmla="*/ 2962275 w 6038850"/>
                <a:gd name="connsiteY3" fmla="*/ 1504950 h 1974229"/>
                <a:gd name="connsiteX4" fmla="*/ 4419600 w 6038850"/>
                <a:gd name="connsiteY4" fmla="*/ 952500 h 1974229"/>
                <a:gd name="connsiteX5" fmla="*/ 6038850 w 6038850"/>
                <a:gd name="connsiteY5" fmla="*/ 704850 h 1974229"/>
                <a:gd name="connsiteX6" fmla="*/ 4448175 w 6038850"/>
                <a:gd name="connsiteY6" fmla="*/ 0 h 1974229"/>
                <a:gd name="connsiteX7" fmla="*/ 2800350 w 6038850"/>
                <a:gd name="connsiteY7" fmla="*/ 409575 h 1974229"/>
                <a:gd name="connsiteX8" fmla="*/ 1343025 w 6038850"/>
                <a:gd name="connsiteY8" fmla="*/ 628650 h 1974229"/>
                <a:gd name="connsiteX9" fmla="*/ 0 w 6038850"/>
                <a:gd name="connsiteY9" fmla="*/ 1276350 h 1974229"/>
                <a:gd name="connsiteX0" fmla="*/ 0 w 6038850"/>
                <a:gd name="connsiteY0" fmla="*/ 1276350 h 1974669"/>
                <a:gd name="connsiteX1" fmla="*/ 1581150 w 6038850"/>
                <a:gd name="connsiteY1" fmla="*/ 1971675 h 1974669"/>
                <a:gd name="connsiteX2" fmla="*/ 2962275 w 6038850"/>
                <a:gd name="connsiteY2" fmla="*/ 1504950 h 1974669"/>
                <a:gd name="connsiteX3" fmla="*/ 4419600 w 6038850"/>
                <a:gd name="connsiteY3" fmla="*/ 952500 h 1974669"/>
                <a:gd name="connsiteX4" fmla="*/ 6038850 w 6038850"/>
                <a:gd name="connsiteY4" fmla="*/ 704850 h 1974669"/>
                <a:gd name="connsiteX5" fmla="*/ 4448175 w 6038850"/>
                <a:gd name="connsiteY5" fmla="*/ 0 h 1974669"/>
                <a:gd name="connsiteX6" fmla="*/ 2800350 w 6038850"/>
                <a:gd name="connsiteY6" fmla="*/ 409575 h 1974669"/>
                <a:gd name="connsiteX7" fmla="*/ 1343025 w 6038850"/>
                <a:gd name="connsiteY7" fmla="*/ 628650 h 1974669"/>
                <a:gd name="connsiteX8" fmla="*/ 0 w 6038850"/>
                <a:gd name="connsiteY8" fmla="*/ 1276350 h 1974669"/>
                <a:gd name="connsiteX0" fmla="*/ 0 w 6038850"/>
                <a:gd name="connsiteY0" fmla="*/ 1276350 h 1974669"/>
                <a:gd name="connsiteX1" fmla="*/ 1581150 w 6038850"/>
                <a:gd name="connsiteY1" fmla="*/ 1971675 h 1974669"/>
                <a:gd name="connsiteX2" fmla="*/ 2962275 w 6038850"/>
                <a:gd name="connsiteY2" fmla="*/ 1504950 h 1974669"/>
                <a:gd name="connsiteX3" fmla="*/ 4419600 w 6038850"/>
                <a:gd name="connsiteY3" fmla="*/ 952500 h 1974669"/>
                <a:gd name="connsiteX4" fmla="*/ 6038850 w 6038850"/>
                <a:gd name="connsiteY4" fmla="*/ 704850 h 1974669"/>
                <a:gd name="connsiteX5" fmla="*/ 4448175 w 6038850"/>
                <a:gd name="connsiteY5" fmla="*/ 0 h 1974669"/>
                <a:gd name="connsiteX6" fmla="*/ 2800350 w 6038850"/>
                <a:gd name="connsiteY6" fmla="*/ 409575 h 1974669"/>
                <a:gd name="connsiteX7" fmla="*/ 1343025 w 6038850"/>
                <a:gd name="connsiteY7" fmla="*/ 628650 h 1974669"/>
                <a:gd name="connsiteX8" fmla="*/ 0 w 6038850"/>
                <a:gd name="connsiteY8" fmla="*/ 1276350 h 1974669"/>
                <a:gd name="connsiteX0" fmla="*/ 0 w 6038850"/>
                <a:gd name="connsiteY0" fmla="*/ 1276350 h 1971675"/>
                <a:gd name="connsiteX1" fmla="*/ 1581150 w 6038850"/>
                <a:gd name="connsiteY1" fmla="*/ 1971675 h 1971675"/>
                <a:gd name="connsiteX2" fmla="*/ 4419600 w 6038850"/>
                <a:gd name="connsiteY2" fmla="*/ 952500 h 1971675"/>
                <a:gd name="connsiteX3" fmla="*/ 6038850 w 6038850"/>
                <a:gd name="connsiteY3" fmla="*/ 704850 h 1971675"/>
                <a:gd name="connsiteX4" fmla="*/ 4448175 w 6038850"/>
                <a:gd name="connsiteY4" fmla="*/ 0 h 1971675"/>
                <a:gd name="connsiteX5" fmla="*/ 2800350 w 6038850"/>
                <a:gd name="connsiteY5" fmla="*/ 409575 h 1971675"/>
                <a:gd name="connsiteX6" fmla="*/ 1343025 w 6038850"/>
                <a:gd name="connsiteY6" fmla="*/ 628650 h 1971675"/>
                <a:gd name="connsiteX7" fmla="*/ 0 w 6038850"/>
                <a:gd name="connsiteY7" fmla="*/ 1276350 h 1971675"/>
                <a:gd name="connsiteX0" fmla="*/ 0 w 6038850"/>
                <a:gd name="connsiteY0" fmla="*/ 1276350 h 1971675"/>
                <a:gd name="connsiteX1" fmla="*/ 1581150 w 6038850"/>
                <a:gd name="connsiteY1" fmla="*/ 1971675 h 1971675"/>
                <a:gd name="connsiteX2" fmla="*/ 6038850 w 6038850"/>
                <a:gd name="connsiteY2" fmla="*/ 704850 h 1971675"/>
                <a:gd name="connsiteX3" fmla="*/ 4448175 w 6038850"/>
                <a:gd name="connsiteY3" fmla="*/ 0 h 1971675"/>
                <a:gd name="connsiteX4" fmla="*/ 2800350 w 6038850"/>
                <a:gd name="connsiteY4" fmla="*/ 409575 h 1971675"/>
                <a:gd name="connsiteX5" fmla="*/ 1343025 w 6038850"/>
                <a:gd name="connsiteY5" fmla="*/ 628650 h 1971675"/>
                <a:gd name="connsiteX6" fmla="*/ 0 w 6038850"/>
                <a:gd name="connsiteY6" fmla="*/ 1276350 h 1971675"/>
                <a:gd name="connsiteX0" fmla="*/ 0 w 6038850"/>
                <a:gd name="connsiteY0" fmla="*/ 1276350 h 1971675"/>
                <a:gd name="connsiteX1" fmla="*/ 1581150 w 6038850"/>
                <a:gd name="connsiteY1" fmla="*/ 1971675 h 1971675"/>
                <a:gd name="connsiteX2" fmla="*/ 6038850 w 6038850"/>
                <a:gd name="connsiteY2" fmla="*/ 704850 h 1971675"/>
                <a:gd name="connsiteX3" fmla="*/ 4448175 w 6038850"/>
                <a:gd name="connsiteY3" fmla="*/ 0 h 1971675"/>
                <a:gd name="connsiteX4" fmla="*/ 2800350 w 6038850"/>
                <a:gd name="connsiteY4" fmla="*/ 409575 h 1971675"/>
                <a:gd name="connsiteX5" fmla="*/ 1343025 w 6038850"/>
                <a:gd name="connsiteY5" fmla="*/ 628650 h 1971675"/>
                <a:gd name="connsiteX6" fmla="*/ 0 w 6038850"/>
                <a:gd name="connsiteY6" fmla="*/ 1276350 h 1971675"/>
                <a:gd name="connsiteX0" fmla="*/ 0 w 6067425"/>
                <a:gd name="connsiteY0" fmla="*/ 1276350 h 1971675"/>
                <a:gd name="connsiteX1" fmla="*/ 1581150 w 6067425"/>
                <a:gd name="connsiteY1" fmla="*/ 1971675 h 1971675"/>
                <a:gd name="connsiteX2" fmla="*/ 6067425 w 6067425"/>
                <a:gd name="connsiteY2" fmla="*/ 733425 h 1971675"/>
                <a:gd name="connsiteX3" fmla="*/ 4448175 w 6067425"/>
                <a:gd name="connsiteY3" fmla="*/ 0 h 1971675"/>
                <a:gd name="connsiteX4" fmla="*/ 2800350 w 6067425"/>
                <a:gd name="connsiteY4" fmla="*/ 409575 h 1971675"/>
                <a:gd name="connsiteX5" fmla="*/ 1343025 w 6067425"/>
                <a:gd name="connsiteY5" fmla="*/ 628650 h 1971675"/>
                <a:gd name="connsiteX6" fmla="*/ 0 w 6067425"/>
                <a:gd name="connsiteY6" fmla="*/ 1276350 h 1971675"/>
                <a:gd name="connsiteX0" fmla="*/ 0 w 6067425"/>
                <a:gd name="connsiteY0" fmla="*/ 1276350 h 2000250"/>
                <a:gd name="connsiteX1" fmla="*/ 1685925 w 6067425"/>
                <a:gd name="connsiteY1" fmla="*/ 2000250 h 2000250"/>
                <a:gd name="connsiteX2" fmla="*/ 6067425 w 6067425"/>
                <a:gd name="connsiteY2" fmla="*/ 733425 h 2000250"/>
                <a:gd name="connsiteX3" fmla="*/ 4448175 w 6067425"/>
                <a:gd name="connsiteY3" fmla="*/ 0 h 2000250"/>
                <a:gd name="connsiteX4" fmla="*/ 2800350 w 6067425"/>
                <a:gd name="connsiteY4" fmla="*/ 409575 h 2000250"/>
                <a:gd name="connsiteX5" fmla="*/ 1343025 w 6067425"/>
                <a:gd name="connsiteY5" fmla="*/ 628650 h 2000250"/>
                <a:gd name="connsiteX6" fmla="*/ 0 w 6067425"/>
                <a:gd name="connsiteY6" fmla="*/ 1276350 h 2000250"/>
                <a:gd name="connsiteX0" fmla="*/ 0 w 6067425"/>
                <a:gd name="connsiteY0" fmla="*/ 1276350 h 2000250"/>
                <a:gd name="connsiteX1" fmla="*/ 1685925 w 6067425"/>
                <a:gd name="connsiteY1" fmla="*/ 2000250 h 2000250"/>
                <a:gd name="connsiteX2" fmla="*/ 6067425 w 6067425"/>
                <a:gd name="connsiteY2" fmla="*/ 733425 h 2000250"/>
                <a:gd name="connsiteX3" fmla="*/ 4448175 w 6067425"/>
                <a:gd name="connsiteY3" fmla="*/ 0 h 2000250"/>
                <a:gd name="connsiteX4" fmla="*/ 2800350 w 6067425"/>
                <a:gd name="connsiteY4" fmla="*/ 409575 h 2000250"/>
                <a:gd name="connsiteX5" fmla="*/ 0 w 6067425"/>
                <a:gd name="connsiteY5" fmla="*/ 1276350 h 2000250"/>
                <a:gd name="connsiteX0" fmla="*/ 0 w 6067425"/>
                <a:gd name="connsiteY0" fmla="*/ 1276350 h 2000250"/>
                <a:gd name="connsiteX1" fmla="*/ 1685925 w 6067425"/>
                <a:gd name="connsiteY1" fmla="*/ 2000250 h 2000250"/>
                <a:gd name="connsiteX2" fmla="*/ 6067425 w 6067425"/>
                <a:gd name="connsiteY2" fmla="*/ 733425 h 2000250"/>
                <a:gd name="connsiteX3" fmla="*/ 4448175 w 6067425"/>
                <a:gd name="connsiteY3" fmla="*/ 0 h 2000250"/>
                <a:gd name="connsiteX4" fmla="*/ 0 w 6067425"/>
                <a:gd name="connsiteY4" fmla="*/ 1276350 h 2000250"/>
                <a:gd name="connsiteX0" fmla="*/ 0 w 6067425"/>
                <a:gd name="connsiteY0" fmla="*/ 1276350 h 2000250"/>
                <a:gd name="connsiteX1" fmla="*/ 1685925 w 6067425"/>
                <a:gd name="connsiteY1" fmla="*/ 2000250 h 2000250"/>
                <a:gd name="connsiteX2" fmla="*/ 6067425 w 6067425"/>
                <a:gd name="connsiteY2" fmla="*/ 733425 h 2000250"/>
                <a:gd name="connsiteX3" fmla="*/ 4448175 w 6067425"/>
                <a:gd name="connsiteY3" fmla="*/ 0 h 2000250"/>
                <a:gd name="connsiteX4" fmla="*/ 0 w 6067425"/>
                <a:gd name="connsiteY4" fmla="*/ 1276350 h 2000250"/>
                <a:gd name="connsiteX0" fmla="*/ 0 w 6067425"/>
                <a:gd name="connsiteY0" fmla="*/ 1276350 h 2000250"/>
                <a:gd name="connsiteX1" fmla="*/ 1685925 w 6067425"/>
                <a:gd name="connsiteY1" fmla="*/ 2000250 h 2000250"/>
                <a:gd name="connsiteX2" fmla="*/ 6067425 w 6067425"/>
                <a:gd name="connsiteY2" fmla="*/ 733425 h 2000250"/>
                <a:gd name="connsiteX3" fmla="*/ 4448175 w 6067425"/>
                <a:gd name="connsiteY3" fmla="*/ 0 h 2000250"/>
                <a:gd name="connsiteX4" fmla="*/ 0 w 6067425"/>
                <a:gd name="connsiteY4" fmla="*/ 1276350 h 2000250"/>
                <a:gd name="connsiteX0" fmla="*/ 0 w 6067425"/>
                <a:gd name="connsiteY0" fmla="*/ 1247775 h 1971675"/>
                <a:gd name="connsiteX1" fmla="*/ 1685925 w 6067425"/>
                <a:gd name="connsiteY1" fmla="*/ 1971675 h 1971675"/>
                <a:gd name="connsiteX2" fmla="*/ 6067425 w 6067425"/>
                <a:gd name="connsiteY2" fmla="*/ 704850 h 1971675"/>
                <a:gd name="connsiteX3" fmla="*/ 4419600 w 6067425"/>
                <a:gd name="connsiteY3" fmla="*/ 0 h 1971675"/>
                <a:gd name="connsiteX4" fmla="*/ 0 w 6067425"/>
                <a:gd name="connsiteY4" fmla="*/ 1247775 h 19716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67425" h="1971675">
                  <a:moveTo>
                    <a:pt x="0" y="1247775"/>
                  </a:moveTo>
                  <a:lnTo>
                    <a:pt x="1685925" y="1971675"/>
                  </a:lnTo>
                  <a:lnTo>
                    <a:pt x="6067425" y="704850"/>
                  </a:lnTo>
                  <a:lnTo>
                    <a:pt x="4419600" y="0"/>
                  </a:lnTo>
                  <a:lnTo>
                    <a:pt x="0" y="1247775"/>
                  </a:lnTo>
                  <a:close/>
                </a:path>
              </a:pathLst>
            </a:custGeom>
            <a:solidFill>
              <a:schemeClr val="accent2">
                <a:alpha val="75000"/>
              </a:schemeClr>
            </a:solidFill>
            <a:ln w="15875">
              <a:solidFill>
                <a:srgbClr val="E6212A"/>
              </a:solidFill>
              <a:prstDash val="sys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2" name="Figura a mano libera 11"/>
            <p:cNvSpPr/>
            <p:nvPr/>
          </p:nvSpPr>
          <p:spPr>
            <a:xfrm>
              <a:off x="2977626" y="3225066"/>
              <a:ext cx="4990785" cy="1535021"/>
            </a:xfrm>
            <a:custGeom>
              <a:avLst/>
              <a:gdLst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647825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36117"/>
                <a:gd name="connsiteX1" fmla="*/ 1000125 w 6086475"/>
                <a:gd name="connsiteY1" fmla="*/ 1533525 h 2036117"/>
                <a:gd name="connsiteX2" fmla="*/ 1647825 w 6086475"/>
                <a:gd name="connsiteY2" fmla="*/ 1962150 h 2036117"/>
                <a:gd name="connsiteX3" fmla="*/ 2581275 w 6086475"/>
                <a:gd name="connsiteY3" fmla="*/ 1809750 h 2036117"/>
                <a:gd name="connsiteX4" fmla="*/ 3829050 w 6086475"/>
                <a:gd name="connsiteY4" fmla="*/ 1295400 h 2036117"/>
                <a:gd name="connsiteX5" fmla="*/ 4772025 w 6086475"/>
                <a:gd name="connsiteY5" fmla="*/ 1409700 h 2036117"/>
                <a:gd name="connsiteX6" fmla="*/ 6086475 w 6086475"/>
                <a:gd name="connsiteY6" fmla="*/ 781050 h 2036117"/>
                <a:gd name="connsiteX7" fmla="*/ 4772025 w 6086475"/>
                <a:gd name="connsiteY7" fmla="*/ 0 h 2036117"/>
                <a:gd name="connsiteX8" fmla="*/ 3429000 w 6086475"/>
                <a:gd name="connsiteY8" fmla="*/ 285750 h 2036117"/>
                <a:gd name="connsiteX9" fmla="*/ 1800225 w 6086475"/>
                <a:gd name="connsiteY9" fmla="*/ 533400 h 2036117"/>
                <a:gd name="connsiteX10" fmla="*/ 476250 w 6086475"/>
                <a:gd name="connsiteY10" fmla="*/ 1171575 h 2036117"/>
                <a:gd name="connsiteX11" fmla="*/ 0 w 6086475"/>
                <a:gd name="connsiteY11" fmla="*/ 1495425 h 2036117"/>
                <a:gd name="connsiteX0" fmla="*/ 0 w 6086475"/>
                <a:gd name="connsiteY0" fmla="*/ 1495425 h 1982788"/>
                <a:gd name="connsiteX1" fmla="*/ 1000125 w 6086475"/>
                <a:gd name="connsiteY1" fmla="*/ 1533525 h 1982788"/>
                <a:gd name="connsiteX2" fmla="*/ 1647825 w 6086475"/>
                <a:gd name="connsiteY2" fmla="*/ 1962150 h 1982788"/>
                <a:gd name="connsiteX3" fmla="*/ 2676525 w 6086475"/>
                <a:gd name="connsiteY3" fmla="*/ 1666875 h 1982788"/>
                <a:gd name="connsiteX4" fmla="*/ 3829050 w 6086475"/>
                <a:gd name="connsiteY4" fmla="*/ 1295400 h 1982788"/>
                <a:gd name="connsiteX5" fmla="*/ 4772025 w 6086475"/>
                <a:gd name="connsiteY5" fmla="*/ 1409700 h 1982788"/>
                <a:gd name="connsiteX6" fmla="*/ 6086475 w 6086475"/>
                <a:gd name="connsiteY6" fmla="*/ 781050 h 1982788"/>
                <a:gd name="connsiteX7" fmla="*/ 4772025 w 6086475"/>
                <a:gd name="connsiteY7" fmla="*/ 0 h 1982788"/>
                <a:gd name="connsiteX8" fmla="*/ 3429000 w 6086475"/>
                <a:gd name="connsiteY8" fmla="*/ 285750 h 1982788"/>
                <a:gd name="connsiteX9" fmla="*/ 1800225 w 6086475"/>
                <a:gd name="connsiteY9" fmla="*/ 533400 h 1982788"/>
                <a:gd name="connsiteX10" fmla="*/ 476250 w 6086475"/>
                <a:gd name="connsiteY10" fmla="*/ 1171575 h 1982788"/>
                <a:gd name="connsiteX11" fmla="*/ 0 w 6086475"/>
                <a:gd name="connsiteY11" fmla="*/ 1495425 h 1982788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2055941"/>
                <a:gd name="connsiteX1" fmla="*/ 1000125 w 6086475"/>
                <a:gd name="connsiteY1" fmla="*/ 1533525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400425 w 6057900"/>
                <a:gd name="connsiteY8" fmla="*/ 285750 h 2054492"/>
                <a:gd name="connsiteX9" fmla="*/ 1771650 w 6057900"/>
                <a:gd name="connsiteY9" fmla="*/ 533400 h 2054492"/>
                <a:gd name="connsiteX10" fmla="*/ 447675 w 6057900"/>
                <a:gd name="connsiteY10" fmla="*/ 1171575 h 2054492"/>
                <a:gd name="connsiteX11" fmla="*/ 0 w 6057900"/>
                <a:gd name="connsiteY11" fmla="*/ 124777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400425 w 6057900"/>
                <a:gd name="connsiteY8" fmla="*/ 285750 h 2054492"/>
                <a:gd name="connsiteX9" fmla="*/ 1771650 w 6057900"/>
                <a:gd name="connsiteY9" fmla="*/ 533400 h 2054492"/>
                <a:gd name="connsiteX10" fmla="*/ 647700 w 6057900"/>
                <a:gd name="connsiteY10" fmla="*/ 1000125 h 2054492"/>
                <a:gd name="connsiteX11" fmla="*/ 0 w 6057900"/>
                <a:gd name="connsiteY11" fmla="*/ 124777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400425 w 6057900"/>
                <a:gd name="connsiteY8" fmla="*/ 285750 h 2054492"/>
                <a:gd name="connsiteX9" fmla="*/ 1866900 w 6057900"/>
                <a:gd name="connsiteY9" fmla="*/ 609600 h 2054492"/>
                <a:gd name="connsiteX10" fmla="*/ 647700 w 6057900"/>
                <a:gd name="connsiteY10" fmla="*/ 1000125 h 2054492"/>
                <a:gd name="connsiteX11" fmla="*/ 0 w 6057900"/>
                <a:gd name="connsiteY11" fmla="*/ 124777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295650 w 6057900"/>
                <a:gd name="connsiteY8" fmla="*/ 95250 h 2054492"/>
                <a:gd name="connsiteX9" fmla="*/ 1866900 w 6057900"/>
                <a:gd name="connsiteY9" fmla="*/ 609600 h 2054492"/>
                <a:gd name="connsiteX10" fmla="*/ 647700 w 6057900"/>
                <a:gd name="connsiteY10" fmla="*/ 1000125 h 2054492"/>
                <a:gd name="connsiteX11" fmla="*/ 0 w 6057900"/>
                <a:gd name="connsiteY11" fmla="*/ 1247775 h 2054492"/>
                <a:gd name="connsiteX0" fmla="*/ 0 w 6057900"/>
                <a:gd name="connsiteY0" fmla="*/ 1247775 h 1835534"/>
                <a:gd name="connsiteX1" fmla="*/ 838200 w 6057900"/>
                <a:gd name="connsiteY1" fmla="*/ 1485900 h 1835534"/>
                <a:gd name="connsiteX2" fmla="*/ 1647825 w 6057900"/>
                <a:gd name="connsiteY2" fmla="*/ 1828800 h 1835534"/>
                <a:gd name="connsiteX3" fmla="*/ 2647950 w 6057900"/>
                <a:gd name="connsiteY3" fmla="*/ 1666875 h 1835534"/>
                <a:gd name="connsiteX4" fmla="*/ 3800475 w 6057900"/>
                <a:gd name="connsiteY4" fmla="*/ 1295400 h 1835534"/>
                <a:gd name="connsiteX5" fmla="*/ 4991100 w 6057900"/>
                <a:gd name="connsiteY5" fmla="*/ 1314450 h 1835534"/>
                <a:gd name="connsiteX6" fmla="*/ 6057900 w 6057900"/>
                <a:gd name="connsiteY6" fmla="*/ 781050 h 1835534"/>
                <a:gd name="connsiteX7" fmla="*/ 4743450 w 6057900"/>
                <a:gd name="connsiteY7" fmla="*/ 0 h 1835534"/>
                <a:gd name="connsiteX8" fmla="*/ 3295650 w 6057900"/>
                <a:gd name="connsiteY8" fmla="*/ 95250 h 1835534"/>
                <a:gd name="connsiteX9" fmla="*/ 1866900 w 6057900"/>
                <a:gd name="connsiteY9" fmla="*/ 609600 h 1835534"/>
                <a:gd name="connsiteX10" fmla="*/ 647700 w 6057900"/>
                <a:gd name="connsiteY10" fmla="*/ 1000125 h 1835534"/>
                <a:gd name="connsiteX11" fmla="*/ 0 w 6057900"/>
                <a:gd name="connsiteY11" fmla="*/ 1247775 h 1835534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647950 w 6057900"/>
                <a:gd name="connsiteY3" fmla="*/ 1666875 h 1828800"/>
                <a:gd name="connsiteX4" fmla="*/ 3800475 w 6057900"/>
                <a:gd name="connsiteY4" fmla="*/ 1295400 h 1828800"/>
                <a:gd name="connsiteX5" fmla="*/ 4991100 w 6057900"/>
                <a:gd name="connsiteY5" fmla="*/ 13144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3800475 w 6057900"/>
                <a:gd name="connsiteY4" fmla="*/ 1295400 h 1828800"/>
                <a:gd name="connsiteX5" fmla="*/ 4991100 w 6057900"/>
                <a:gd name="connsiteY5" fmla="*/ 13144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4086225 w 6057900"/>
                <a:gd name="connsiteY4" fmla="*/ 1333500 h 1828800"/>
                <a:gd name="connsiteX5" fmla="*/ 4991100 w 6057900"/>
                <a:gd name="connsiteY5" fmla="*/ 13144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4086225 w 6057900"/>
                <a:gd name="connsiteY4" fmla="*/ 1333500 h 1828800"/>
                <a:gd name="connsiteX5" fmla="*/ 4924425 w 6057900"/>
                <a:gd name="connsiteY5" fmla="*/ 9715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4086225 w 6057900"/>
                <a:gd name="connsiteY4" fmla="*/ 1333500 h 1828800"/>
                <a:gd name="connsiteX5" fmla="*/ 4924425 w 6057900"/>
                <a:gd name="connsiteY5" fmla="*/ 9715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38850"/>
                <a:gd name="connsiteY0" fmla="*/ 1247775 h 1828800"/>
                <a:gd name="connsiteX1" fmla="*/ 838200 w 6038850"/>
                <a:gd name="connsiteY1" fmla="*/ 1485900 h 1828800"/>
                <a:gd name="connsiteX2" fmla="*/ 1647825 w 6038850"/>
                <a:gd name="connsiteY2" fmla="*/ 1828800 h 1828800"/>
                <a:gd name="connsiteX3" fmla="*/ 2933700 w 6038850"/>
                <a:gd name="connsiteY3" fmla="*/ 1504950 h 1828800"/>
                <a:gd name="connsiteX4" fmla="*/ 4086225 w 6038850"/>
                <a:gd name="connsiteY4" fmla="*/ 1333500 h 1828800"/>
                <a:gd name="connsiteX5" fmla="*/ 4924425 w 6038850"/>
                <a:gd name="connsiteY5" fmla="*/ 971550 h 1828800"/>
                <a:gd name="connsiteX6" fmla="*/ 6038850 w 6038850"/>
                <a:gd name="connsiteY6" fmla="*/ 847725 h 1828800"/>
                <a:gd name="connsiteX7" fmla="*/ 4743450 w 6038850"/>
                <a:gd name="connsiteY7" fmla="*/ 0 h 1828800"/>
                <a:gd name="connsiteX8" fmla="*/ 3295650 w 6038850"/>
                <a:gd name="connsiteY8" fmla="*/ 95250 h 1828800"/>
                <a:gd name="connsiteX9" fmla="*/ 1866900 w 6038850"/>
                <a:gd name="connsiteY9" fmla="*/ 609600 h 1828800"/>
                <a:gd name="connsiteX10" fmla="*/ 647700 w 6038850"/>
                <a:gd name="connsiteY10" fmla="*/ 1000125 h 1828800"/>
                <a:gd name="connsiteX11" fmla="*/ 0 w 6038850"/>
                <a:gd name="connsiteY11" fmla="*/ 1247775 h 1828800"/>
                <a:gd name="connsiteX0" fmla="*/ 0 w 6038850"/>
                <a:gd name="connsiteY0" fmla="*/ 1247775 h 1828800"/>
                <a:gd name="connsiteX1" fmla="*/ 838200 w 6038850"/>
                <a:gd name="connsiteY1" fmla="*/ 1485900 h 1828800"/>
                <a:gd name="connsiteX2" fmla="*/ 1647825 w 6038850"/>
                <a:gd name="connsiteY2" fmla="*/ 1828800 h 1828800"/>
                <a:gd name="connsiteX3" fmla="*/ 2933700 w 6038850"/>
                <a:gd name="connsiteY3" fmla="*/ 1504950 h 1828800"/>
                <a:gd name="connsiteX4" fmla="*/ 4086225 w 6038850"/>
                <a:gd name="connsiteY4" fmla="*/ 1333500 h 1828800"/>
                <a:gd name="connsiteX5" fmla="*/ 4924425 w 6038850"/>
                <a:gd name="connsiteY5" fmla="*/ 971550 h 1828800"/>
                <a:gd name="connsiteX6" fmla="*/ 6038850 w 6038850"/>
                <a:gd name="connsiteY6" fmla="*/ 847725 h 1828800"/>
                <a:gd name="connsiteX7" fmla="*/ 4743450 w 6038850"/>
                <a:gd name="connsiteY7" fmla="*/ 0 h 1828800"/>
                <a:gd name="connsiteX8" fmla="*/ 3295650 w 6038850"/>
                <a:gd name="connsiteY8" fmla="*/ 95250 h 1828800"/>
                <a:gd name="connsiteX9" fmla="*/ 1866900 w 6038850"/>
                <a:gd name="connsiteY9" fmla="*/ 609600 h 1828800"/>
                <a:gd name="connsiteX10" fmla="*/ 647700 w 6038850"/>
                <a:gd name="connsiteY10" fmla="*/ 1000125 h 1828800"/>
                <a:gd name="connsiteX11" fmla="*/ 0 w 6038850"/>
                <a:gd name="connsiteY11" fmla="*/ 1247775 h 1828800"/>
                <a:gd name="connsiteX0" fmla="*/ 0 w 6038850"/>
                <a:gd name="connsiteY0" fmla="*/ 1247775 h 1833175"/>
                <a:gd name="connsiteX1" fmla="*/ 1647825 w 6038850"/>
                <a:gd name="connsiteY1" fmla="*/ 1828800 h 1833175"/>
                <a:gd name="connsiteX2" fmla="*/ 2933700 w 6038850"/>
                <a:gd name="connsiteY2" fmla="*/ 1504950 h 1833175"/>
                <a:gd name="connsiteX3" fmla="*/ 4086225 w 6038850"/>
                <a:gd name="connsiteY3" fmla="*/ 1333500 h 1833175"/>
                <a:gd name="connsiteX4" fmla="*/ 4924425 w 6038850"/>
                <a:gd name="connsiteY4" fmla="*/ 971550 h 1833175"/>
                <a:gd name="connsiteX5" fmla="*/ 6038850 w 6038850"/>
                <a:gd name="connsiteY5" fmla="*/ 847725 h 1833175"/>
                <a:gd name="connsiteX6" fmla="*/ 4743450 w 6038850"/>
                <a:gd name="connsiteY6" fmla="*/ 0 h 1833175"/>
                <a:gd name="connsiteX7" fmla="*/ 3295650 w 6038850"/>
                <a:gd name="connsiteY7" fmla="*/ 95250 h 1833175"/>
                <a:gd name="connsiteX8" fmla="*/ 1866900 w 6038850"/>
                <a:gd name="connsiteY8" fmla="*/ 609600 h 1833175"/>
                <a:gd name="connsiteX9" fmla="*/ 647700 w 6038850"/>
                <a:gd name="connsiteY9" fmla="*/ 1000125 h 1833175"/>
                <a:gd name="connsiteX10" fmla="*/ 0 w 6038850"/>
                <a:gd name="connsiteY10" fmla="*/ 1247775 h 1833175"/>
                <a:gd name="connsiteX0" fmla="*/ 0 w 6038850"/>
                <a:gd name="connsiteY0" fmla="*/ 1247775 h 1833175"/>
                <a:gd name="connsiteX1" fmla="*/ 1647825 w 6038850"/>
                <a:gd name="connsiteY1" fmla="*/ 1828800 h 1833175"/>
                <a:gd name="connsiteX2" fmla="*/ 2933700 w 6038850"/>
                <a:gd name="connsiteY2" fmla="*/ 1504950 h 1833175"/>
                <a:gd name="connsiteX3" fmla="*/ 4086225 w 6038850"/>
                <a:gd name="connsiteY3" fmla="*/ 1333500 h 1833175"/>
                <a:gd name="connsiteX4" fmla="*/ 4924425 w 6038850"/>
                <a:gd name="connsiteY4" fmla="*/ 971550 h 1833175"/>
                <a:gd name="connsiteX5" fmla="*/ 6038850 w 6038850"/>
                <a:gd name="connsiteY5" fmla="*/ 847725 h 1833175"/>
                <a:gd name="connsiteX6" fmla="*/ 4743450 w 6038850"/>
                <a:gd name="connsiteY6" fmla="*/ 0 h 1833175"/>
                <a:gd name="connsiteX7" fmla="*/ 3295650 w 6038850"/>
                <a:gd name="connsiteY7" fmla="*/ 95250 h 1833175"/>
                <a:gd name="connsiteX8" fmla="*/ 1866900 w 6038850"/>
                <a:gd name="connsiteY8" fmla="*/ 609600 h 1833175"/>
                <a:gd name="connsiteX9" fmla="*/ 647700 w 6038850"/>
                <a:gd name="connsiteY9" fmla="*/ 1000125 h 1833175"/>
                <a:gd name="connsiteX10" fmla="*/ 0 w 6038850"/>
                <a:gd name="connsiteY10" fmla="*/ 1247775 h 1833175"/>
                <a:gd name="connsiteX0" fmla="*/ 0 w 6038850"/>
                <a:gd name="connsiteY0" fmla="*/ 1247775 h 1833175"/>
                <a:gd name="connsiteX1" fmla="*/ 1647825 w 6038850"/>
                <a:gd name="connsiteY1" fmla="*/ 1828800 h 1833175"/>
                <a:gd name="connsiteX2" fmla="*/ 2933700 w 6038850"/>
                <a:gd name="connsiteY2" fmla="*/ 1504950 h 1833175"/>
                <a:gd name="connsiteX3" fmla="*/ 4086225 w 6038850"/>
                <a:gd name="connsiteY3" fmla="*/ 1333500 h 1833175"/>
                <a:gd name="connsiteX4" fmla="*/ 4924425 w 6038850"/>
                <a:gd name="connsiteY4" fmla="*/ 971550 h 1833175"/>
                <a:gd name="connsiteX5" fmla="*/ 6038850 w 6038850"/>
                <a:gd name="connsiteY5" fmla="*/ 847725 h 1833175"/>
                <a:gd name="connsiteX6" fmla="*/ 4743450 w 6038850"/>
                <a:gd name="connsiteY6" fmla="*/ 0 h 1833175"/>
                <a:gd name="connsiteX7" fmla="*/ 3295650 w 6038850"/>
                <a:gd name="connsiteY7" fmla="*/ 95250 h 1833175"/>
                <a:gd name="connsiteX8" fmla="*/ 1866900 w 6038850"/>
                <a:gd name="connsiteY8" fmla="*/ 609600 h 1833175"/>
                <a:gd name="connsiteX9" fmla="*/ 647700 w 6038850"/>
                <a:gd name="connsiteY9" fmla="*/ 1000125 h 1833175"/>
                <a:gd name="connsiteX10" fmla="*/ 0 w 6038850"/>
                <a:gd name="connsiteY10" fmla="*/ 1247775 h 1833175"/>
                <a:gd name="connsiteX0" fmla="*/ 0 w 6038850"/>
                <a:gd name="connsiteY0" fmla="*/ 1247775 h 1831253"/>
                <a:gd name="connsiteX1" fmla="*/ 1647825 w 6038850"/>
                <a:gd name="connsiteY1" fmla="*/ 1828800 h 1831253"/>
                <a:gd name="connsiteX2" fmla="*/ 3019425 w 6038850"/>
                <a:gd name="connsiteY2" fmla="*/ 1257300 h 1831253"/>
                <a:gd name="connsiteX3" fmla="*/ 4086225 w 6038850"/>
                <a:gd name="connsiteY3" fmla="*/ 1333500 h 1831253"/>
                <a:gd name="connsiteX4" fmla="*/ 4924425 w 6038850"/>
                <a:gd name="connsiteY4" fmla="*/ 971550 h 1831253"/>
                <a:gd name="connsiteX5" fmla="*/ 6038850 w 6038850"/>
                <a:gd name="connsiteY5" fmla="*/ 847725 h 1831253"/>
                <a:gd name="connsiteX6" fmla="*/ 4743450 w 6038850"/>
                <a:gd name="connsiteY6" fmla="*/ 0 h 1831253"/>
                <a:gd name="connsiteX7" fmla="*/ 3295650 w 6038850"/>
                <a:gd name="connsiteY7" fmla="*/ 95250 h 1831253"/>
                <a:gd name="connsiteX8" fmla="*/ 1866900 w 6038850"/>
                <a:gd name="connsiteY8" fmla="*/ 609600 h 1831253"/>
                <a:gd name="connsiteX9" fmla="*/ 647700 w 6038850"/>
                <a:gd name="connsiteY9" fmla="*/ 1000125 h 1831253"/>
                <a:gd name="connsiteX10" fmla="*/ 0 w 6038850"/>
                <a:gd name="connsiteY10" fmla="*/ 1247775 h 1831253"/>
                <a:gd name="connsiteX0" fmla="*/ 0 w 6038850"/>
                <a:gd name="connsiteY0" fmla="*/ 1247775 h 1831543"/>
                <a:gd name="connsiteX1" fmla="*/ 1647825 w 6038850"/>
                <a:gd name="connsiteY1" fmla="*/ 1828800 h 1831543"/>
                <a:gd name="connsiteX2" fmla="*/ 3019425 w 6038850"/>
                <a:gd name="connsiteY2" fmla="*/ 1257300 h 1831543"/>
                <a:gd name="connsiteX3" fmla="*/ 4924425 w 6038850"/>
                <a:gd name="connsiteY3" fmla="*/ 971550 h 1831543"/>
                <a:gd name="connsiteX4" fmla="*/ 6038850 w 6038850"/>
                <a:gd name="connsiteY4" fmla="*/ 847725 h 1831543"/>
                <a:gd name="connsiteX5" fmla="*/ 4743450 w 6038850"/>
                <a:gd name="connsiteY5" fmla="*/ 0 h 1831543"/>
                <a:gd name="connsiteX6" fmla="*/ 3295650 w 6038850"/>
                <a:gd name="connsiteY6" fmla="*/ 95250 h 1831543"/>
                <a:gd name="connsiteX7" fmla="*/ 1866900 w 6038850"/>
                <a:gd name="connsiteY7" fmla="*/ 609600 h 1831543"/>
                <a:gd name="connsiteX8" fmla="*/ 647700 w 6038850"/>
                <a:gd name="connsiteY8" fmla="*/ 1000125 h 1831543"/>
                <a:gd name="connsiteX9" fmla="*/ 0 w 6038850"/>
                <a:gd name="connsiteY9" fmla="*/ 1247775 h 1831543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866900 w 6038850"/>
                <a:gd name="connsiteY7" fmla="*/ 609600 h 1831560"/>
                <a:gd name="connsiteX8" fmla="*/ 647700 w 6038850"/>
                <a:gd name="connsiteY8" fmla="*/ 1000125 h 1831560"/>
                <a:gd name="connsiteX9" fmla="*/ 0 w 6038850"/>
                <a:gd name="connsiteY9" fmla="*/ 1247775 h 1831560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866900 w 6038850"/>
                <a:gd name="connsiteY7" fmla="*/ 609600 h 1831560"/>
                <a:gd name="connsiteX8" fmla="*/ 0 w 6038850"/>
                <a:gd name="connsiteY8" fmla="*/ 1247775 h 1831560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419225 w 6038850"/>
                <a:gd name="connsiteY7" fmla="*/ 695325 h 1831560"/>
                <a:gd name="connsiteX8" fmla="*/ 0 w 6038850"/>
                <a:gd name="connsiteY8" fmla="*/ 1247775 h 1831560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419225 w 6038850"/>
                <a:gd name="connsiteY7" fmla="*/ 695325 h 1831560"/>
                <a:gd name="connsiteX8" fmla="*/ 0 w 6038850"/>
                <a:gd name="connsiteY8" fmla="*/ 124777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3257550 w 6000750"/>
                <a:gd name="connsiteY6" fmla="*/ 95250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3257550 w 6000750"/>
                <a:gd name="connsiteY6" fmla="*/ 95250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2809875 w 6000750"/>
                <a:gd name="connsiteY6" fmla="*/ 219075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2809875 w 6000750"/>
                <a:gd name="connsiteY6" fmla="*/ 219075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467225 w 6000750"/>
                <a:gd name="connsiteY5" fmla="*/ 0 h 1831560"/>
                <a:gd name="connsiteX6" fmla="*/ 2809875 w 6000750"/>
                <a:gd name="connsiteY6" fmla="*/ 219075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67425"/>
                <a:gd name="connsiteY0" fmla="*/ 1266825 h 1831560"/>
                <a:gd name="connsiteX1" fmla="*/ 1609725 w 6067425"/>
                <a:gd name="connsiteY1" fmla="*/ 1828800 h 1831560"/>
                <a:gd name="connsiteX2" fmla="*/ 2981325 w 6067425"/>
                <a:gd name="connsiteY2" fmla="*/ 1257300 h 1831560"/>
                <a:gd name="connsiteX3" fmla="*/ 4438650 w 6067425"/>
                <a:gd name="connsiteY3" fmla="*/ 952500 h 1831560"/>
                <a:gd name="connsiteX4" fmla="*/ 6067425 w 6067425"/>
                <a:gd name="connsiteY4" fmla="*/ 828675 h 1831560"/>
                <a:gd name="connsiteX5" fmla="*/ 4467225 w 6067425"/>
                <a:gd name="connsiteY5" fmla="*/ 0 h 1831560"/>
                <a:gd name="connsiteX6" fmla="*/ 2809875 w 6067425"/>
                <a:gd name="connsiteY6" fmla="*/ 219075 h 1831560"/>
                <a:gd name="connsiteX7" fmla="*/ 1381125 w 6067425"/>
                <a:gd name="connsiteY7" fmla="*/ 695325 h 1831560"/>
                <a:gd name="connsiteX8" fmla="*/ 0 w 6067425"/>
                <a:gd name="connsiteY8" fmla="*/ 1266825 h 1831560"/>
                <a:gd name="connsiteX0" fmla="*/ 0 w 6067425"/>
                <a:gd name="connsiteY0" fmla="*/ 1276350 h 1841085"/>
                <a:gd name="connsiteX1" fmla="*/ 1609725 w 6067425"/>
                <a:gd name="connsiteY1" fmla="*/ 1838325 h 1841085"/>
                <a:gd name="connsiteX2" fmla="*/ 2981325 w 6067425"/>
                <a:gd name="connsiteY2" fmla="*/ 1266825 h 1841085"/>
                <a:gd name="connsiteX3" fmla="*/ 4438650 w 6067425"/>
                <a:gd name="connsiteY3" fmla="*/ 962025 h 1841085"/>
                <a:gd name="connsiteX4" fmla="*/ 6067425 w 6067425"/>
                <a:gd name="connsiteY4" fmla="*/ 838200 h 1841085"/>
                <a:gd name="connsiteX5" fmla="*/ 4419600 w 6067425"/>
                <a:gd name="connsiteY5" fmla="*/ 0 h 1841085"/>
                <a:gd name="connsiteX6" fmla="*/ 2809875 w 6067425"/>
                <a:gd name="connsiteY6" fmla="*/ 228600 h 1841085"/>
                <a:gd name="connsiteX7" fmla="*/ 1381125 w 6067425"/>
                <a:gd name="connsiteY7" fmla="*/ 704850 h 1841085"/>
                <a:gd name="connsiteX8" fmla="*/ 0 w 6067425"/>
                <a:gd name="connsiteY8" fmla="*/ 1276350 h 1841085"/>
                <a:gd name="connsiteX0" fmla="*/ 0 w 6067425"/>
                <a:gd name="connsiteY0" fmla="*/ 1276350 h 1841085"/>
                <a:gd name="connsiteX1" fmla="*/ 1609725 w 6067425"/>
                <a:gd name="connsiteY1" fmla="*/ 1838325 h 1841085"/>
                <a:gd name="connsiteX2" fmla="*/ 2981325 w 6067425"/>
                <a:gd name="connsiteY2" fmla="*/ 1266825 h 1841085"/>
                <a:gd name="connsiteX3" fmla="*/ 4438650 w 6067425"/>
                <a:gd name="connsiteY3" fmla="*/ 962025 h 1841085"/>
                <a:gd name="connsiteX4" fmla="*/ 6067425 w 6067425"/>
                <a:gd name="connsiteY4" fmla="*/ 838200 h 1841085"/>
                <a:gd name="connsiteX5" fmla="*/ 4419600 w 6067425"/>
                <a:gd name="connsiteY5" fmla="*/ 0 h 1841085"/>
                <a:gd name="connsiteX6" fmla="*/ 2809875 w 6067425"/>
                <a:gd name="connsiteY6" fmla="*/ 228600 h 1841085"/>
                <a:gd name="connsiteX7" fmla="*/ 1381125 w 6067425"/>
                <a:gd name="connsiteY7" fmla="*/ 704850 h 1841085"/>
                <a:gd name="connsiteX8" fmla="*/ 0 w 6067425"/>
                <a:gd name="connsiteY8" fmla="*/ 1276350 h 1841085"/>
                <a:gd name="connsiteX0" fmla="*/ 0 w 6067425"/>
                <a:gd name="connsiteY0" fmla="*/ 1276350 h 1841085"/>
                <a:gd name="connsiteX1" fmla="*/ 1609725 w 6067425"/>
                <a:gd name="connsiteY1" fmla="*/ 1838325 h 1841085"/>
                <a:gd name="connsiteX2" fmla="*/ 2981325 w 6067425"/>
                <a:gd name="connsiteY2" fmla="*/ 1266825 h 1841085"/>
                <a:gd name="connsiteX3" fmla="*/ 4438650 w 6067425"/>
                <a:gd name="connsiteY3" fmla="*/ 962025 h 1841085"/>
                <a:gd name="connsiteX4" fmla="*/ 6067425 w 6067425"/>
                <a:gd name="connsiteY4" fmla="*/ 838200 h 1841085"/>
                <a:gd name="connsiteX5" fmla="*/ 4419600 w 6067425"/>
                <a:gd name="connsiteY5" fmla="*/ 0 h 1841085"/>
                <a:gd name="connsiteX6" fmla="*/ 2809875 w 6067425"/>
                <a:gd name="connsiteY6" fmla="*/ 228600 h 1841085"/>
                <a:gd name="connsiteX7" fmla="*/ 1381125 w 6067425"/>
                <a:gd name="connsiteY7" fmla="*/ 704850 h 1841085"/>
                <a:gd name="connsiteX8" fmla="*/ 0 w 6067425"/>
                <a:gd name="connsiteY8" fmla="*/ 1276350 h 1841085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81125 w 6067425"/>
                <a:gd name="connsiteY7" fmla="*/ 704850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48375"/>
                <a:gd name="connsiteY0" fmla="*/ 1143000 h 1841102"/>
                <a:gd name="connsiteX1" fmla="*/ 1590675 w 6048375"/>
                <a:gd name="connsiteY1" fmla="*/ 1838325 h 1841102"/>
                <a:gd name="connsiteX2" fmla="*/ 2962275 w 6048375"/>
                <a:gd name="connsiteY2" fmla="*/ 1266825 h 1841102"/>
                <a:gd name="connsiteX3" fmla="*/ 4381500 w 6048375"/>
                <a:gd name="connsiteY3" fmla="*/ 942975 h 1841102"/>
                <a:gd name="connsiteX4" fmla="*/ 6048375 w 6048375"/>
                <a:gd name="connsiteY4" fmla="*/ 838200 h 1841102"/>
                <a:gd name="connsiteX5" fmla="*/ 4400550 w 6048375"/>
                <a:gd name="connsiteY5" fmla="*/ 0 h 1841102"/>
                <a:gd name="connsiteX6" fmla="*/ 2790825 w 6048375"/>
                <a:gd name="connsiteY6" fmla="*/ 228600 h 1841102"/>
                <a:gd name="connsiteX7" fmla="*/ 1314450 w 6048375"/>
                <a:gd name="connsiteY7" fmla="*/ 714375 h 1841102"/>
                <a:gd name="connsiteX8" fmla="*/ 0 w 6048375"/>
                <a:gd name="connsiteY8" fmla="*/ 1143000 h 1841102"/>
                <a:gd name="connsiteX0" fmla="*/ 0 w 6048375"/>
                <a:gd name="connsiteY0" fmla="*/ 1143000 h 1907498"/>
                <a:gd name="connsiteX1" fmla="*/ 1638300 w 6048375"/>
                <a:gd name="connsiteY1" fmla="*/ 1905000 h 1907498"/>
                <a:gd name="connsiteX2" fmla="*/ 2962275 w 6048375"/>
                <a:gd name="connsiteY2" fmla="*/ 1266825 h 1907498"/>
                <a:gd name="connsiteX3" fmla="*/ 4381500 w 6048375"/>
                <a:gd name="connsiteY3" fmla="*/ 942975 h 1907498"/>
                <a:gd name="connsiteX4" fmla="*/ 6048375 w 6048375"/>
                <a:gd name="connsiteY4" fmla="*/ 838200 h 1907498"/>
                <a:gd name="connsiteX5" fmla="*/ 4400550 w 6048375"/>
                <a:gd name="connsiteY5" fmla="*/ 0 h 1907498"/>
                <a:gd name="connsiteX6" fmla="*/ 2790825 w 6048375"/>
                <a:gd name="connsiteY6" fmla="*/ 228600 h 1907498"/>
                <a:gd name="connsiteX7" fmla="*/ 1314450 w 6048375"/>
                <a:gd name="connsiteY7" fmla="*/ 714375 h 1907498"/>
                <a:gd name="connsiteX8" fmla="*/ 0 w 6048375"/>
                <a:gd name="connsiteY8" fmla="*/ 1143000 h 1907498"/>
                <a:gd name="connsiteX0" fmla="*/ 0 w 6048375"/>
                <a:gd name="connsiteY0" fmla="*/ 1143000 h 1907682"/>
                <a:gd name="connsiteX1" fmla="*/ 1638300 w 6048375"/>
                <a:gd name="connsiteY1" fmla="*/ 1905000 h 1907682"/>
                <a:gd name="connsiteX2" fmla="*/ 3076575 w 6048375"/>
                <a:gd name="connsiteY2" fmla="*/ 1304925 h 1907682"/>
                <a:gd name="connsiteX3" fmla="*/ 4381500 w 6048375"/>
                <a:gd name="connsiteY3" fmla="*/ 942975 h 1907682"/>
                <a:gd name="connsiteX4" fmla="*/ 6048375 w 6048375"/>
                <a:gd name="connsiteY4" fmla="*/ 838200 h 1907682"/>
                <a:gd name="connsiteX5" fmla="*/ 4400550 w 6048375"/>
                <a:gd name="connsiteY5" fmla="*/ 0 h 1907682"/>
                <a:gd name="connsiteX6" fmla="*/ 2790825 w 6048375"/>
                <a:gd name="connsiteY6" fmla="*/ 228600 h 1907682"/>
                <a:gd name="connsiteX7" fmla="*/ 1314450 w 6048375"/>
                <a:gd name="connsiteY7" fmla="*/ 714375 h 1907682"/>
                <a:gd name="connsiteX8" fmla="*/ 0 w 6048375"/>
                <a:gd name="connsiteY8" fmla="*/ 1143000 h 1907682"/>
                <a:gd name="connsiteX0" fmla="*/ 0 w 6048375"/>
                <a:gd name="connsiteY0" fmla="*/ 1143000 h 1907785"/>
                <a:gd name="connsiteX1" fmla="*/ 1638300 w 6048375"/>
                <a:gd name="connsiteY1" fmla="*/ 1905000 h 1907785"/>
                <a:gd name="connsiteX2" fmla="*/ 3086100 w 6048375"/>
                <a:gd name="connsiteY2" fmla="*/ 1323975 h 1907785"/>
                <a:gd name="connsiteX3" fmla="*/ 4381500 w 6048375"/>
                <a:gd name="connsiteY3" fmla="*/ 942975 h 1907785"/>
                <a:gd name="connsiteX4" fmla="*/ 6048375 w 6048375"/>
                <a:gd name="connsiteY4" fmla="*/ 838200 h 1907785"/>
                <a:gd name="connsiteX5" fmla="*/ 4400550 w 6048375"/>
                <a:gd name="connsiteY5" fmla="*/ 0 h 1907785"/>
                <a:gd name="connsiteX6" fmla="*/ 2790825 w 6048375"/>
                <a:gd name="connsiteY6" fmla="*/ 228600 h 1907785"/>
                <a:gd name="connsiteX7" fmla="*/ 1314450 w 6048375"/>
                <a:gd name="connsiteY7" fmla="*/ 714375 h 1907785"/>
                <a:gd name="connsiteX8" fmla="*/ 0 w 6048375"/>
                <a:gd name="connsiteY8" fmla="*/ 1143000 h 1907785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2790825 w 6048375"/>
                <a:gd name="connsiteY6" fmla="*/ 228600 h 1907636"/>
                <a:gd name="connsiteX7" fmla="*/ 1314450 w 6048375"/>
                <a:gd name="connsiteY7" fmla="*/ 714375 h 1907636"/>
                <a:gd name="connsiteX8" fmla="*/ 0 w 6048375"/>
                <a:gd name="connsiteY8" fmla="*/ 1143000 h 1907636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3057525 w 6048375"/>
                <a:gd name="connsiteY6" fmla="*/ 352425 h 1907636"/>
                <a:gd name="connsiteX7" fmla="*/ 1314450 w 6048375"/>
                <a:gd name="connsiteY7" fmla="*/ 714375 h 1907636"/>
                <a:gd name="connsiteX8" fmla="*/ 0 w 6048375"/>
                <a:gd name="connsiteY8" fmla="*/ 1143000 h 1907636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3057525 w 6048375"/>
                <a:gd name="connsiteY6" fmla="*/ 352425 h 1907636"/>
                <a:gd name="connsiteX7" fmla="*/ 1123950 w 6048375"/>
                <a:gd name="connsiteY7" fmla="*/ 857250 h 1907636"/>
                <a:gd name="connsiteX8" fmla="*/ 0 w 6048375"/>
                <a:gd name="connsiteY8" fmla="*/ 1143000 h 1907636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3057525 w 6048375"/>
                <a:gd name="connsiteY6" fmla="*/ 352425 h 1907636"/>
                <a:gd name="connsiteX7" fmla="*/ 1123950 w 6048375"/>
                <a:gd name="connsiteY7" fmla="*/ 857250 h 1907636"/>
                <a:gd name="connsiteX8" fmla="*/ 0 w 6048375"/>
                <a:gd name="connsiteY8" fmla="*/ 1143000 h 1907636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3057525 w 6048375"/>
                <a:gd name="connsiteY6" fmla="*/ 352425 h 1907636"/>
                <a:gd name="connsiteX7" fmla="*/ 1123950 w 6048375"/>
                <a:gd name="connsiteY7" fmla="*/ 857250 h 1907636"/>
                <a:gd name="connsiteX8" fmla="*/ 0 w 6048375"/>
                <a:gd name="connsiteY8" fmla="*/ 1143000 h 1907636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3057525 w 6048375"/>
                <a:gd name="connsiteY6" fmla="*/ 352425 h 1907636"/>
                <a:gd name="connsiteX7" fmla="*/ 1123950 w 6048375"/>
                <a:gd name="connsiteY7" fmla="*/ 857250 h 1907636"/>
                <a:gd name="connsiteX8" fmla="*/ 0 w 6048375"/>
                <a:gd name="connsiteY8" fmla="*/ 1143000 h 1907636"/>
                <a:gd name="connsiteX0" fmla="*/ 0 w 6048375"/>
                <a:gd name="connsiteY0" fmla="*/ 1143000 h 1907636"/>
                <a:gd name="connsiteX1" fmla="*/ 1638300 w 6048375"/>
                <a:gd name="connsiteY1" fmla="*/ 1905000 h 1907636"/>
                <a:gd name="connsiteX2" fmla="*/ 3086100 w 6048375"/>
                <a:gd name="connsiteY2" fmla="*/ 1323975 h 1907636"/>
                <a:gd name="connsiteX3" fmla="*/ 4733925 w 6048375"/>
                <a:gd name="connsiteY3" fmla="*/ 1114425 h 1907636"/>
                <a:gd name="connsiteX4" fmla="*/ 6048375 w 6048375"/>
                <a:gd name="connsiteY4" fmla="*/ 838200 h 1907636"/>
                <a:gd name="connsiteX5" fmla="*/ 4400550 w 6048375"/>
                <a:gd name="connsiteY5" fmla="*/ 0 h 1907636"/>
                <a:gd name="connsiteX6" fmla="*/ 3057525 w 6048375"/>
                <a:gd name="connsiteY6" fmla="*/ 352425 h 1907636"/>
                <a:gd name="connsiteX7" fmla="*/ 1123950 w 6048375"/>
                <a:gd name="connsiteY7" fmla="*/ 857250 h 1907636"/>
                <a:gd name="connsiteX8" fmla="*/ 0 w 6048375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057525 w 6038850"/>
                <a:gd name="connsiteY6" fmla="*/ 352425 h 1907636"/>
                <a:gd name="connsiteX7" fmla="*/ 1123950 w 6038850"/>
                <a:gd name="connsiteY7" fmla="*/ 857250 h 1907636"/>
                <a:gd name="connsiteX8" fmla="*/ 0 w 6038850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057525 w 6038850"/>
                <a:gd name="connsiteY6" fmla="*/ 352425 h 1907636"/>
                <a:gd name="connsiteX7" fmla="*/ 1381125 w 6038850"/>
                <a:gd name="connsiteY7" fmla="*/ 1009650 h 1907636"/>
                <a:gd name="connsiteX8" fmla="*/ 0 w 6038850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057525 w 6038850"/>
                <a:gd name="connsiteY6" fmla="*/ 352425 h 1907636"/>
                <a:gd name="connsiteX7" fmla="*/ 1381125 w 6038850"/>
                <a:gd name="connsiteY7" fmla="*/ 1009650 h 1907636"/>
                <a:gd name="connsiteX8" fmla="*/ 0 w 6038850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057525 w 6038850"/>
                <a:gd name="connsiteY6" fmla="*/ 352425 h 1907636"/>
                <a:gd name="connsiteX7" fmla="*/ 1381125 w 6038850"/>
                <a:gd name="connsiteY7" fmla="*/ 1009650 h 1907636"/>
                <a:gd name="connsiteX8" fmla="*/ 0 w 6038850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057525 w 6038850"/>
                <a:gd name="connsiteY6" fmla="*/ 352425 h 1907636"/>
                <a:gd name="connsiteX7" fmla="*/ 1381125 w 6038850"/>
                <a:gd name="connsiteY7" fmla="*/ 1009650 h 1907636"/>
                <a:gd name="connsiteX8" fmla="*/ 0 w 6038850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057525 w 6038850"/>
                <a:gd name="connsiteY6" fmla="*/ 352425 h 1907636"/>
                <a:gd name="connsiteX7" fmla="*/ 1438275 w 6038850"/>
                <a:gd name="connsiteY7" fmla="*/ 952500 h 1907636"/>
                <a:gd name="connsiteX8" fmla="*/ 0 w 6038850"/>
                <a:gd name="connsiteY8" fmla="*/ 1143000 h 1907636"/>
                <a:gd name="connsiteX0" fmla="*/ 0 w 6038850"/>
                <a:gd name="connsiteY0" fmla="*/ 1143000 h 1907636"/>
                <a:gd name="connsiteX1" fmla="*/ 1638300 w 6038850"/>
                <a:gd name="connsiteY1" fmla="*/ 1905000 h 1907636"/>
                <a:gd name="connsiteX2" fmla="*/ 3086100 w 6038850"/>
                <a:gd name="connsiteY2" fmla="*/ 1323975 h 1907636"/>
                <a:gd name="connsiteX3" fmla="*/ 4733925 w 6038850"/>
                <a:gd name="connsiteY3" fmla="*/ 1114425 h 1907636"/>
                <a:gd name="connsiteX4" fmla="*/ 6038850 w 6038850"/>
                <a:gd name="connsiteY4" fmla="*/ 876300 h 1907636"/>
                <a:gd name="connsiteX5" fmla="*/ 4400550 w 6038850"/>
                <a:gd name="connsiteY5" fmla="*/ 0 h 1907636"/>
                <a:gd name="connsiteX6" fmla="*/ 3105150 w 6038850"/>
                <a:gd name="connsiteY6" fmla="*/ 276225 h 1907636"/>
                <a:gd name="connsiteX7" fmla="*/ 1438275 w 6038850"/>
                <a:gd name="connsiteY7" fmla="*/ 952500 h 1907636"/>
                <a:gd name="connsiteX8" fmla="*/ 0 w 6038850"/>
                <a:gd name="connsiteY8" fmla="*/ 1143000 h 1907636"/>
                <a:gd name="connsiteX0" fmla="*/ 0 w 6038850"/>
                <a:gd name="connsiteY0" fmla="*/ 1095375 h 1860011"/>
                <a:gd name="connsiteX1" fmla="*/ 1638300 w 6038850"/>
                <a:gd name="connsiteY1" fmla="*/ 1857375 h 1860011"/>
                <a:gd name="connsiteX2" fmla="*/ 3086100 w 6038850"/>
                <a:gd name="connsiteY2" fmla="*/ 1276350 h 1860011"/>
                <a:gd name="connsiteX3" fmla="*/ 4733925 w 6038850"/>
                <a:gd name="connsiteY3" fmla="*/ 1066800 h 1860011"/>
                <a:gd name="connsiteX4" fmla="*/ 6038850 w 6038850"/>
                <a:gd name="connsiteY4" fmla="*/ 828675 h 1860011"/>
                <a:gd name="connsiteX5" fmla="*/ 4419600 w 6038850"/>
                <a:gd name="connsiteY5" fmla="*/ 0 h 1860011"/>
                <a:gd name="connsiteX6" fmla="*/ 3105150 w 6038850"/>
                <a:gd name="connsiteY6" fmla="*/ 228600 h 1860011"/>
                <a:gd name="connsiteX7" fmla="*/ 1438275 w 6038850"/>
                <a:gd name="connsiteY7" fmla="*/ 904875 h 1860011"/>
                <a:gd name="connsiteX8" fmla="*/ 0 w 6038850"/>
                <a:gd name="connsiteY8" fmla="*/ 1095375 h 1860011"/>
                <a:gd name="connsiteX0" fmla="*/ 0 w 6038850"/>
                <a:gd name="connsiteY0" fmla="*/ 1095375 h 1860011"/>
                <a:gd name="connsiteX1" fmla="*/ 1638300 w 6038850"/>
                <a:gd name="connsiteY1" fmla="*/ 1857375 h 1860011"/>
                <a:gd name="connsiteX2" fmla="*/ 3086100 w 6038850"/>
                <a:gd name="connsiteY2" fmla="*/ 1276350 h 1860011"/>
                <a:gd name="connsiteX3" fmla="*/ 4733925 w 6038850"/>
                <a:gd name="connsiteY3" fmla="*/ 1066800 h 1860011"/>
                <a:gd name="connsiteX4" fmla="*/ 6038850 w 6038850"/>
                <a:gd name="connsiteY4" fmla="*/ 828675 h 1860011"/>
                <a:gd name="connsiteX5" fmla="*/ 4419600 w 6038850"/>
                <a:gd name="connsiteY5" fmla="*/ 0 h 1860011"/>
                <a:gd name="connsiteX6" fmla="*/ 3105150 w 6038850"/>
                <a:gd name="connsiteY6" fmla="*/ 228600 h 1860011"/>
                <a:gd name="connsiteX7" fmla="*/ 1438275 w 6038850"/>
                <a:gd name="connsiteY7" fmla="*/ 904875 h 1860011"/>
                <a:gd name="connsiteX8" fmla="*/ 0 w 6038850"/>
                <a:gd name="connsiteY8" fmla="*/ 1095375 h 1860011"/>
                <a:gd name="connsiteX0" fmla="*/ 0 w 6038850"/>
                <a:gd name="connsiteY0" fmla="*/ 1095375 h 1860162"/>
                <a:gd name="connsiteX1" fmla="*/ 1638300 w 6038850"/>
                <a:gd name="connsiteY1" fmla="*/ 1857375 h 1860162"/>
                <a:gd name="connsiteX2" fmla="*/ 3105150 w 6038850"/>
                <a:gd name="connsiteY2" fmla="*/ 1304925 h 1860162"/>
                <a:gd name="connsiteX3" fmla="*/ 4733925 w 6038850"/>
                <a:gd name="connsiteY3" fmla="*/ 1066800 h 1860162"/>
                <a:gd name="connsiteX4" fmla="*/ 6038850 w 6038850"/>
                <a:gd name="connsiteY4" fmla="*/ 828675 h 1860162"/>
                <a:gd name="connsiteX5" fmla="*/ 4419600 w 6038850"/>
                <a:gd name="connsiteY5" fmla="*/ 0 h 1860162"/>
                <a:gd name="connsiteX6" fmla="*/ 3105150 w 6038850"/>
                <a:gd name="connsiteY6" fmla="*/ 228600 h 1860162"/>
                <a:gd name="connsiteX7" fmla="*/ 1438275 w 6038850"/>
                <a:gd name="connsiteY7" fmla="*/ 904875 h 1860162"/>
                <a:gd name="connsiteX8" fmla="*/ 0 w 6038850"/>
                <a:gd name="connsiteY8" fmla="*/ 1095375 h 1860162"/>
                <a:gd name="connsiteX0" fmla="*/ 0 w 6038850"/>
                <a:gd name="connsiteY0" fmla="*/ 1095375 h 1857375"/>
                <a:gd name="connsiteX1" fmla="*/ 1638300 w 6038850"/>
                <a:gd name="connsiteY1" fmla="*/ 1857375 h 1857375"/>
                <a:gd name="connsiteX2" fmla="*/ 3105150 w 6038850"/>
                <a:gd name="connsiteY2" fmla="*/ 1304925 h 1857375"/>
                <a:gd name="connsiteX3" fmla="*/ 4733925 w 6038850"/>
                <a:gd name="connsiteY3" fmla="*/ 1066800 h 1857375"/>
                <a:gd name="connsiteX4" fmla="*/ 6038850 w 6038850"/>
                <a:gd name="connsiteY4" fmla="*/ 828675 h 1857375"/>
                <a:gd name="connsiteX5" fmla="*/ 4419600 w 6038850"/>
                <a:gd name="connsiteY5" fmla="*/ 0 h 1857375"/>
                <a:gd name="connsiteX6" fmla="*/ 3105150 w 6038850"/>
                <a:gd name="connsiteY6" fmla="*/ 228600 h 1857375"/>
                <a:gd name="connsiteX7" fmla="*/ 1438275 w 6038850"/>
                <a:gd name="connsiteY7" fmla="*/ 904875 h 1857375"/>
                <a:gd name="connsiteX8" fmla="*/ 0 w 6038850"/>
                <a:gd name="connsiteY8" fmla="*/ 1095375 h 1857375"/>
                <a:gd name="connsiteX0" fmla="*/ 0 w 6038850"/>
                <a:gd name="connsiteY0" fmla="*/ 1095375 h 1857375"/>
                <a:gd name="connsiteX1" fmla="*/ 1638300 w 6038850"/>
                <a:gd name="connsiteY1" fmla="*/ 1857375 h 1857375"/>
                <a:gd name="connsiteX2" fmla="*/ 3105150 w 6038850"/>
                <a:gd name="connsiteY2" fmla="*/ 1304925 h 1857375"/>
                <a:gd name="connsiteX3" fmla="*/ 4733925 w 6038850"/>
                <a:gd name="connsiteY3" fmla="*/ 1066800 h 1857375"/>
                <a:gd name="connsiteX4" fmla="*/ 6038850 w 6038850"/>
                <a:gd name="connsiteY4" fmla="*/ 828675 h 1857375"/>
                <a:gd name="connsiteX5" fmla="*/ 4419600 w 6038850"/>
                <a:gd name="connsiteY5" fmla="*/ 0 h 1857375"/>
                <a:gd name="connsiteX6" fmla="*/ 3105150 w 6038850"/>
                <a:gd name="connsiteY6" fmla="*/ 228600 h 1857375"/>
                <a:gd name="connsiteX7" fmla="*/ 1476375 w 6038850"/>
                <a:gd name="connsiteY7" fmla="*/ 866775 h 1857375"/>
                <a:gd name="connsiteX8" fmla="*/ 0 w 6038850"/>
                <a:gd name="connsiteY8" fmla="*/ 1095375 h 18573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38850" h="1857375">
                  <a:moveTo>
                    <a:pt x="0" y="1095375"/>
                  </a:moveTo>
                  <a:lnTo>
                    <a:pt x="1638300" y="1857375"/>
                  </a:lnTo>
                  <a:cubicBezTo>
                    <a:pt x="2289175" y="1633537"/>
                    <a:pt x="2589213" y="1436688"/>
                    <a:pt x="3105150" y="1304925"/>
                  </a:cubicBezTo>
                  <a:cubicBezTo>
                    <a:pt x="3621088" y="1173163"/>
                    <a:pt x="4244975" y="1146175"/>
                    <a:pt x="4733925" y="1066800"/>
                  </a:cubicBezTo>
                  <a:cubicBezTo>
                    <a:pt x="5222875" y="987425"/>
                    <a:pt x="5553075" y="971550"/>
                    <a:pt x="6038850" y="828675"/>
                  </a:cubicBezTo>
                  <a:lnTo>
                    <a:pt x="4419600" y="0"/>
                  </a:lnTo>
                  <a:cubicBezTo>
                    <a:pt x="3937000" y="31750"/>
                    <a:pt x="3608388" y="60325"/>
                    <a:pt x="3105150" y="228600"/>
                  </a:cubicBezTo>
                  <a:cubicBezTo>
                    <a:pt x="2601912" y="396875"/>
                    <a:pt x="1882775" y="765175"/>
                    <a:pt x="1476375" y="866775"/>
                  </a:cubicBezTo>
                  <a:cubicBezTo>
                    <a:pt x="965744" y="994433"/>
                    <a:pt x="588963" y="1025525"/>
                    <a:pt x="0" y="1095375"/>
                  </a:cubicBezTo>
                  <a:close/>
                </a:path>
              </a:pathLst>
            </a:custGeom>
            <a:solidFill>
              <a:schemeClr val="accent2">
                <a:alpha val="75000"/>
              </a:schemeClr>
            </a:solidFill>
            <a:ln w="15875">
              <a:solidFill>
                <a:srgbClr val="E6212A"/>
              </a:solidFill>
              <a:prstDash val="sys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3" name="Figura a mano libera 12"/>
            <p:cNvSpPr/>
            <p:nvPr/>
          </p:nvSpPr>
          <p:spPr>
            <a:xfrm>
              <a:off x="2977625" y="4130335"/>
              <a:ext cx="1369711" cy="1102066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699"/>
                <a:gd name="connsiteX1" fmla="*/ 9525 w 1628775"/>
                <a:gd name="connsiteY1" fmla="*/ 609600 h 1171699"/>
                <a:gd name="connsiteX2" fmla="*/ 1628775 w 1628775"/>
                <a:gd name="connsiteY2" fmla="*/ 1171575 h 1171699"/>
                <a:gd name="connsiteX3" fmla="*/ 1590675 w 1628775"/>
                <a:gd name="connsiteY3" fmla="*/ 561975 h 1171699"/>
                <a:gd name="connsiteX4" fmla="*/ 809625 w 1628775"/>
                <a:gd name="connsiteY4" fmla="*/ 228600 h 1171699"/>
                <a:gd name="connsiteX5" fmla="*/ 0 w 1628775"/>
                <a:gd name="connsiteY5" fmla="*/ 0 h 1171699"/>
                <a:gd name="connsiteX0" fmla="*/ 0 w 1628775"/>
                <a:gd name="connsiteY0" fmla="*/ 124 h 1171823"/>
                <a:gd name="connsiteX1" fmla="*/ 9525 w 1628775"/>
                <a:gd name="connsiteY1" fmla="*/ 609724 h 1171823"/>
                <a:gd name="connsiteX2" fmla="*/ 1628775 w 1628775"/>
                <a:gd name="connsiteY2" fmla="*/ 1171699 h 1171823"/>
                <a:gd name="connsiteX3" fmla="*/ 1590675 w 1628775"/>
                <a:gd name="connsiteY3" fmla="*/ 562099 h 1171823"/>
                <a:gd name="connsiteX4" fmla="*/ 0 w 1628775"/>
                <a:gd name="connsiteY4" fmla="*/ 124 h 1171823"/>
                <a:gd name="connsiteX0" fmla="*/ 0 w 1628775"/>
                <a:gd name="connsiteY0" fmla="*/ 124 h 1171699"/>
                <a:gd name="connsiteX1" fmla="*/ 9525 w 1628775"/>
                <a:gd name="connsiteY1" fmla="*/ 609724 h 1171699"/>
                <a:gd name="connsiteX2" fmla="*/ 1628775 w 1628775"/>
                <a:gd name="connsiteY2" fmla="*/ 1171699 h 1171699"/>
                <a:gd name="connsiteX3" fmla="*/ 1590675 w 1628775"/>
                <a:gd name="connsiteY3" fmla="*/ 562099 h 1171699"/>
                <a:gd name="connsiteX4" fmla="*/ 0 w 1628775"/>
                <a:gd name="connsiteY4" fmla="*/ 124 h 1171699"/>
                <a:gd name="connsiteX0" fmla="*/ 0 w 1628775"/>
                <a:gd name="connsiteY0" fmla="*/ 124 h 1171699"/>
                <a:gd name="connsiteX1" fmla="*/ 9525 w 1628775"/>
                <a:gd name="connsiteY1" fmla="*/ 609724 h 1171699"/>
                <a:gd name="connsiteX2" fmla="*/ 1628775 w 1628775"/>
                <a:gd name="connsiteY2" fmla="*/ 1171699 h 1171699"/>
                <a:gd name="connsiteX3" fmla="*/ 1590675 w 1628775"/>
                <a:gd name="connsiteY3" fmla="*/ 562099 h 1171699"/>
                <a:gd name="connsiteX4" fmla="*/ 0 w 1628775"/>
                <a:gd name="connsiteY4" fmla="*/ 124 h 1171699"/>
                <a:gd name="connsiteX0" fmla="*/ 0 w 1628775"/>
                <a:gd name="connsiteY0" fmla="*/ 124 h 1171699"/>
                <a:gd name="connsiteX1" fmla="*/ 9525 w 1628775"/>
                <a:gd name="connsiteY1" fmla="*/ 609724 h 1171699"/>
                <a:gd name="connsiteX2" fmla="*/ 1628775 w 1628775"/>
                <a:gd name="connsiteY2" fmla="*/ 1171699 h 1171699"/>
                <a:gd name="connsiteX3" fmla="*/ 1590675 w 1628775"/>
                <a:gd name="connsiteY3" fmla="*/ 562099 h 1171699"/>
                <a:gd name="connsiteX4" fmla="*/ 0 w 1628775"/>
                <a:gd name="connsiteY4" fmla="*/ 124 h 1171699"/>
                <a:gd name="connsiteX0" fmla="*/ 0 w 1628775"/>
                <a:gd name="connsiteY0" fmla="*/ 124 h 1171699"/>
                <a:gd name="connsiteX1" fmla="*/ 9525 w 1628775"/>
                <a:gd name="connsiteY1" fmla="*/ 438274 h 1171699"/>
                <a:gd name="connsiteX2" fmla="*/ 1628775 w 1628775"/>
                <a:gd name="connsiteY2" fmla="*/ 1171699 h 1171699"/>
                <a:gd name="connsiteX3" fmla="*/ 1590675 w 1628775"/>
                <a:gd name="connsiteY3" fmla="*/ 562099 h 1171699"/>
                <a:gd name="connsiteX4" fmla="*/ 0 w 1628775"/>
                <a:gd name="connsiteY4" fmla="*/ 124 h 1171699"/>
                <a:gd name="connsiteX0" fmla="*/ 0 w 1638300"/>
                <a:gd name="connsiteY0" fmla="*/ 87 h 1333587"/>
                <a:gd name="connsiteX1" fmla="*/ 19050 w 1638300"/>
                <a:gd name="connsiteY1" fmla="*/ 600162 h 1333587"/>
                <a:gd name="connsiteX2" fmla="*/ 1638300 w 1638300"/>
                <a:gd name="connsiteY2" fmla="*/ 1333587 h 1333587"/>
                <a:gd name="connsiteX3" fmla="*/ 1600200 w 1638300"/>
                <a:gd name="connsiteY3" fmla="*/ 723987 h 1333587"/>
                <a:gd name="connsiteX4" fmla="*/ 0 w 1638300"/>
                <a:gd name="connsiteY4" fmla="*/ 87 h 1333587"/>
                <a:gd name="connsiteX0" fmla="*/ 0 w 1619250"/>
                <a:gd name="connsiteY0" fmla="*/ 87 h 1333587"/>
                <a:gd name="connsiteX1" fmla="*/ 0 w 1619250"/>
                <a:gd name="connsiteY1" fmla="*/ 600162 h 1333587"/>
                <a:gd name="connsiteX2" fmla="*/ 1619250 w 1619250"/>
                <a:gd name="connsiteY2" fmla="*/ 1333587 h 1333587"/>
                <a:gd name="connsiteX3" fmla="*/ 1581150 w 1619250"/>
                <a:gd name="connsiteY3" fmla="*/ 723987 h 1333587"/>
                <a:gd name="connsiteX4" fmla="*/ 0 w 1619250"/>
                <a:gd name="connsiteY4" fmla="*/ 87 h 1333587"/>
                <a:gd name="connsiteX0" fmla="*/ 0 w 1619250"/>
                <a:gd name="connsiteY0" fmla="*/ 86 h 1333586"/>
                <a:gd name="connsiteX1" fmla="*/ 0 w 1619250"/>
                <a:gd name="connsiteY1" fmla="*/ 600161 h 1333586"/>
                <a:gd name="connsiteX2" fmla="*/ 1619250 w 1619250"/>
                <a:gd name="connsiteY2" fmla="*/ 1333586 h 1333586"/>
                <a:gd name="connsiteX3" fmla="*/ 1619250 w 1619250"/>
                <a:gd name="connsiteY3" fmla="*/ 733511 h 1333586"/>
                <a:gd name="connsiteX4" fmla="*/ 0 w 1619250"/>
                <a:gd name="connsiteY4" fmla="*/ 86 h 1333586"/>
                <a:gd name="connsiteX0" fmla="*/ 0 w 1657350"/>
                <a:gd name="connsiteY0" fmla="*/ 86 h 1333586"/>
                <a:gd name="connsiteX1" fmla="*/ 0 w 1657350"/>
                <a:gd name="connsiteY1" fmla="*/ 600161 h 1333586"/>
                <a:gd name="connsiteX2" fmla="*/ 1657350 w 1657350"/>
                <a:gd name="connsiteY2" fmla="*/ 1333586 h 1333586"/>
                <a:gd name="connsiteX3" fmla="*/ 1619250 w 1657350"/>
                <a:gd name="connsiteY3" fmla="*/ 733511 h 1333586"/>
                <a:gd name="connsiteX4" fmla="*/ 0 w 1657350"/>
                <a:gd name="connsiteY4" fmla="*/ 86 h 1333586"/>
                <a:gd name="connsiteX0" fmla="*/ 0 w 1657350"/>
                <a:gd name="connsiteY0" fmla="*/ 81 h 1333581"/>
                <a:gd name="connsiteX1" fmla="*/ 0 w 1657350"/>
                <a:gd name="connsiteY1" fmla="*/ 600156 h 1333581"/>
                <a:gd name="connsiteX2" fmla="*/ 1657350 w 1657350"/>
                <a:gd name="connsiteY2" fmla="*/ 1333581 h 1333581"/>
                <a:gd name="connsiteX3" fmla="*/ 1647825 w 1657350"/>
                <a:gd name="connsiteY3" fmla="*/ 771606 h 1333581"/>
                <a:gd name="connsiteX4" fmla="*/ 0 w 1657350"/>
                <a:gd name="connsiteY4" fmla="*/ 81 h 1333581"/>
                <a:gd name="connsiteX0" fmla="*/ 0 w 1657350"/>
                <a:gd name="connsiteY0" fmla="*/ 0 h 1333500"/>
                <a:gd name="connsiteX1" fmla="*/ 0 w 1657350"/>
                <a:gd name="connsiteY1" fmla="*/ 600075 h 1333500"/>
                <a:gd name="connsiteX2" fmla="*/ 1657350 w 1657350"/>
                <a:gd name="connsiteY2" fmla="*/ 1333500 h 1333500"/>
                <a:gd name="connsiteX3" fmla="*/ 1647825 w 1657350"/>
                <a:gd name="connsiteY3" fmla="*/ 771525 h 1333500"/>
                <a:gd name="connsiteX4" fmla="*/ 0 w 1657350"/>
                <a:gd name="connsiteY4" fmla="*/ 0 h 1333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57350" h="1333500">
                  <a:moveTo>
                    <a:pt x="0" y="0"/>
                  </a:moveTo>
                  <a:lnTo>
                    <a:pt x="0" y="600075"/>
                  </a:lnTo>
                  <a:lnTo>
                    <a:pt x="1657350" y="1333500"/>
                  </a:lnTo>
                  <a:lnTo>
                    <a:pt x="1647825" y="7715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4" name="Figura a mano libera 13"/>
            <p:cNvSpPr/>
            <p:nvPr/>
          </p:nvSpPr>
          <p:spPr>
            <a:xfrm>
              <a:off x="4197771" y="3966990"/>
              <a:ext cx="1353967" cy="921012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699"/>
                <a:gd name="connsiteX1" fmla="*/ 9525 w 1628775"/>
                <a:gd name="connsiteY1" fmla="*/ 609600 h 1171699"/>
                <a:gd name="connsiteX2" fmla="*/ 1628775 w 1628775"/>
                <a:gd name="connsiteY2" fmla="*/ 1171575 h 1171699"/>
                <a:gd name="connsiteX3" fmla="*/ 1590675 w 1628775"/>
                <a:gd name="connsiteY3" fmla="*/ 561975 h 1171699"/>
                <a:gd name="connsiteX4" fmla="*/ 809625 w 1628775"/>
                <a:gd name="connsiteY4" fmla="*/ 228600 h 1171699"/>
                <a:gd name="connsiteX5" fmla="*/ 0 w 1628775"/>
                <a:gd name="connsiteY5" fmla="*/ 0 h 1171699"/>
                <a:gd name="connsiteX0" fmla="*/ 0 w 1628775"/>
                <a:gd name="connsiteY0" fmla="*/ 124 h 1171823"/>
                <a:gd name="connsiteX1" fmla="*/ 9525 w 1628775"/>
                <a:gd name="connsiteY1" fmla="*/ 609724 h 1171823"/>
                <a:gd name="connsiteX2" fmla="*/ 1628775 w 1628775"/>
                <a:gd name="connsiteY2" fmla="*/ 1171699 h 1171823"/>
                <a:gd name="connsiteX3" fmla="*/ 1590675 w 1628775"/>
                <a:gd name="connsiteY3" fmla="*/ 562099 h 1171823"/>
                <a:gd name="connsiteX4" fmla="*/ 0 w 1628775"/>
                <a:gd name="connsiteY4" fmla="*/ 124 h 1171823"/>
                <a:gd name="connsiteX0" fmla="*/ 0 w 1609725"/>
                <a:gd name="connsiteY0" fmla="*/ 124 h 1286094"/>
                <a:gd name="connsiteX1" fmla="*/ 9525 w 1609725"/>
                <a:gd name="connsiteY1" fmla="*/ 609724 h 1286094"/>
                <a:gd name="connsiteX2" fmla="*/ 1609725 w 1609725"/>
                <a:gd name="connsiteY2" fmla="*/ 1285999 h 1286094"/>
                <a:gd name="connsiteX3" fmla="*/ 1590675 w 1609725"/>
                <a:gd name="connsiteY3" fmla="*/ 562099 h 1286094"/>
                <a:gd name="connsiteX4" fmla="*/ 0 w 1609725"/>
                <a:gd name="connsiteY4" fmla="*/ 124 h 1286094"/>
                <a:gd name="connsiteX0" fmla="*/ 0 w 1609725"/>
                <a:gd name="connsiteY0" fmla="*/ 124 h 1286065"/>
                <a:gd name="connsiteX1" fmla="*/ 0 w 1609725"/>
                <a:gd name="connsiteY1" fmla="*/ 390649 h 1286065"/>
                <a:gd name="connsiteX2" fmla="*/ 1609725 w 1609725"/>
                <a:gd name="connsiteY2" fmla="*/ 1285999 h 1286065"/>
                <a:gd name="connsiteX3" fmla="*/ 1590675 w 1609725"/>
                <a:gd name="connsiteY3" fmla="*/ 562099 h 1286065"/>
                <a:gd name="connsiteX4" fmla="*/ 0 w 1609725"/>
                <a:gd name="connsiteY4" fmla="*/ 124 h 1286065"/>
                <a:gd name="connsiteX0" fmla="*/ 0 w 1609725"/>
                <a:gd name="connsiteY0" fmla="*/ 124 h 1285999"/>
                <a:gd name="connsiteX1" fmla="*/ 0 w 1609725"/>
                <a:gd name="connsiteY1" fmla="*/ 390649 h 1285999"/>
                <a:gd name="connsiteX2" fmla="*/ 1609725 w 1609725"/>
                <a:gd name="connsiteY2" fmla="*/ 1285999 h 1285999"/>
                <a:gd name="connsiteX3" fmla="*/ 1590675 w 1609725"/>
                <a:gd name="connsiteY3" fmla="*/ 562099 h 1285999"/>
                <a:gd name="connsiteX4" fmla="*/ 0 w 1609725"/>
                <a:gd name="connsiteY4" fmla="*/ 124 h 1285999"/>
                <a:gd name="connsiteX0" fmla="*/ 381000 w 1990725"/>
                <a:gd name="connsiteY0" fmla="*/ 124 h 1285999"/>
                <a:gd name="connsiteX1" fmla="*/ 0 w 1990725"/>
                <a:gd name="connsiteY1" fmla="*/ 447799 h 1285999"/>
                <a:gd name="connsiteX2" fmla="*/ 1990725 w 1990725"/>
                <a:gd name="connsiteY2" fmla="*/ 1285999 h 1285999"/>
                <a:gd name="connsiteX3" fmla="*/ 1971675 w 1990725"/>
                <a:gd name="connsiteY3" fmla="*/ 562099 h 1285999"/>
                <a:gd name="connsiteX4" fmla="*/ 381000 w 1990725"/>
                <a:gd name="connsiteY4" fmla="*/ 124 h 1285999"/>
                <a:gd name="connsiteX0" fmla="*/ 0 w 2000250"/>
                <a:gd name="connsiteY0" fmla="*/ 161 h 1200311"/>
                <a:gd name="connsiteX1" fmla="*/ 9525 w 2000250"/>
                <a:gd name="connsiteY1" fmla="*/ 362111 h 1200311"/>
                <a:gd name="connsiteX2" fmla="*/ 2000250 w 2000250"/>
                <a:gd name="connsiteY2" fmla="*/ 1200311 h 1200311"/>
                <a:gd name="connsiteX3" fmla="*/ 1981200 w 2000250"/>
                <a:gd name="connsiteY3" fmla="*/ 476411 h 1200311"/>
                <a:gd name="connsiteX4" fmla="*/ 0 w 2000250"/>
                <a:gd name="connsiteY4" fmla="*/ 161 h 1200311"/>
                <a:gd name="connsiteX0" fmla="*/ 0 w 2000250"/>
                <a:gd name="connsiteY0" fmla="*/ 161 h 1200311"/>
                <a:gd name="connsiteX1" fmla="*/ 9525 w 2000250"/>
                <a:gd name="connsiteY1" fmla="*/ 343061 h 1200311"/>
                <a:gd name="connsiteX2" fmla="*/ 2000250 w 2000250"/>
                <a:gd name="connsiteY2" fmla="*/ 1200311 h 1200311"/>
                <a:gd name="connsiteX3" fmla="*/ 1981200 w 2000250"/>
                <a:gd name="connsiteY3" fmla="*/ 476411 h 1200311"/>
                <a:gd name="connsiteX4" fmla="*/ 0 w 2000250"/>
                <a:gd name="connsiteY4" fmla="*/ 161 h 1200311"/>
                <a:gd name="connsiteX0" fmla="*/ 0 w 2000250"/>
                <a:gd name="connsiteY0" fmla="*/ 0 h 1200150"/>
                <a:gd name="connsiteX1" fmla="*/ 9525 w 2000250"/>
                <a:gd name="connsiteY1" fmla="*/ 342900 h 1200150"/>
                <a:gd name="connsiteX2" fmla="*/ 2000250 w 2000250"/>
                <a:gd name="connsiteY2" fmla="*/ 1200150 h 1200150"/>
                <a:gd name="connsiteX3" fmla="*/ 1981200 w 2000250"/>
                <a:gd name="connsiteY3" fmla="*/ 476250 h 1200150"/>
                <a:gd name="connsiteX4" fmla="*/ 0 w 2000250"/>
                <a:gd name="connsiteY4" fmla="*/ 0 h 1200150"/>
                <a:gd name="connsiteX0" fmla="*/ 0 w 2000250"/>
                <a:gd name="connsiteY0" fmla="*/ 0 h 1200150"/>
                <a:gd name="connsiteX1" fmla="*/ 266700 w 2000250"/>
                <a:gd name="connsiteY1" fmla="*/ 485775 h 1200150"/>
                <a:gd name="connsiteX2" fmla="*/ 2000250 w 2000250"/>
                <a:gd name="connsiteY2" fmla="*/ 1200150 h 1200150"/>
                <a:gd name="connsiteX3" fmla="*/ 1981200 w 2000250"/>
                <a:gd name="connsiteY3" fmla="*/ 476250 h 1200150"/>
                <a:gd name="connsiteX4" fmla="*/ 0 w 2000250"/>
                <a:gd name="connsiteY4" fmla="*/ 0 h 1200150"/>
                <a:gd name="connsiteX0" fmla="*/ 9525 w 1733550"/>
                <a:gd name="connsiteY0" fmla="*/ 0 h 1057275"/>
                <a:gd name="connsiteX1" fmla="*/ 0 w 1733550"/>
                <a:gd name="connsiteY1" fmla="*/ 342900 h 1057275"/>
                <a:gd name="connsiteX2" fmla="*/ 1733550 w 1733550"/>
                <a:gd name="connsiteY2" fmla="*/ 1057275 h 1057275"/>
                <a:gd name="connsiteX3" fmla="*/ 1714500 w 1733550"/>
                <a:gd name="connsiteY3" fmla="*/ 333375 h 1057275"/>
                <a:gd name="connsiteX4" fmla="*/ 9525 w 1733550"/>
                <a:gd name="connsiteY4" fmla="*/ 0 h 1057275"/>
                <a:gd name="connsiteX0" fmla="*/ 0 w 1752600"/>
                <a:gd name="connsiteY0" fmla="*/ 0 h 1047750"/>
                <a:gd name="connsiteX1" fmla="*/ 19050 w 1752600"/>
                <a:gd name="connsiteY1" fmla="*/ 333375 h 1047750"/>
                <a:gd name="connsiteX2" fmla="*/ 1752600 w 1752600"/>
                <a:gd name="connsiteY2" fmla="*/ 1047750 h 1047750"/>
                <a:gd name="connsiteX3" fmla="*/ 1733550 w 1752600"/>
                <a:gd name="connsiteY3" fmla="*/ 323850 h 1047750"/>
                <a:gd name="connsiteX4" fmla="*/ 0 w 1752600"/>
                <a:gd name="connsiteY4" fmla="*/ 0 h 1047750"/>
                <a:gd name="connsiteX0" fmla="*/ 95250 w 1733550"/>
                <a:gd name="connsiteY0" fmla="*/ 0 h 1114425"/>
                <a:gd name="connsiteX1" fmla="*/ 0 w 1733550"/>
                <a:gd name="connsiteY1" fmla="*/ 400050 h 1114425"/>
                <a:gd name="connsiteX2" fmla="*/ 1733550 w 1733550"/>
                <a:gd name="connsiteY2" fmla="*/ 1114425 h 1114425"/>
                <a:gd name="connsiteX3" fmla="*/ 1714500 w 1733550"/>
                <a:gd name="connsiteY3" fmla="*/ 390525 h 1114425"/>
                <a:gd name="connsiteX4" fmla="*/ 95250 w 1733550"/>
                <a:gd name="connsiteY4" fmla="*/ 0 h 1114425"/>
                <a:gd name="connsiteX0" fmla="*/ 0 w 1638300"/>
                <a:gd name="connsiteY0" fmla="*/ 0 h 1114425"/>
                <a:gd name="connsiteX1" fmla="*/ 0 w 1638300"/>
                <a:gd name="connsiteY1" fmla="*/ 438150 h 1114425"/>
                <a:gd name="connsiteX2" fmla="*/ 1638300 w 1638300"/>
                <a:gd name="connsiteY2" fmla="*/ 1114425 h 1114425"/>
                <a:gd name="connsiteX3" fmla="*/ 1619250 w 1638300"/>
                <a:gd name="connsiteY3" fmla="*/ 390525 h 1114425"/>
                <a:gd name="connsiteX4" fmla="*/ 0 w 1638300"/>
                <a:gd name="connsiteY4" fmla="*/ 0 h 11144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00" h="1114425">
                  <a:moveTo>
                    <a:pt x="0" y="0"/>
                  </a:moveTo>
                  <a:lnTo>
                    <a:pt x="0" y="438150"/>
                  </a:lnTo>
                  <a:lnTo>
                    <a:pt x="1638300" y="1114425"/>
                  </a:lnTo>
                  <a:lnTo>
                    <a:pt x="1619250" y="3905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5" name="Figura a mano libera 14"/>
            <p:cNvSpPr/>
            <p:nvPr/>
          </p:nvSpPr>
          <p:spPr>
            <a:xfrm>
              <a:off x="5528123" y="3410107"/>
              <a:ext cx="1353967" cy="1086322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699"/>
                <a:gd name="connsiteX1" fmla="*/ 9525 w 1628775"/>
                <a:gd name="connsiteY1" fmla="*/ 609600 h 1171699"/>
                <a:gd name="connsiteX2" fmla="*/ 1628775 w 1628775"/>
                <a:gd name="connsiteY2" fmla="*/ 1171575 h 1171699"/>
                <a:gd name="connsiteX3" fmla="*/ 1590675 w 1628775"/>
                <a:gd name="connsiteY3" fmla="*/ 561975 h 1171699"/>
                <a:gd name="connsiteX4" fmla="*/ 809625 w 1628775"/>
                <a:gd name="connsiteY4" fmla="*/ 228600 h 1171699"/>
                <a:gd name="connsiteX5" fmla="*/ 0 w 1628775"/>
                <a:gd name="connsiteY5" fmla="*/ 0 h 1171699"/>
                <a:gd name="connsiteX0" fmla="*/ 0 w 1628775"/>
                <a:gd name="connsiteY0" fmla="*/ 124 h 1171823"/>
                <a:gd name="connsiteX1" fmla="*/ 9525 w 1628775"/>
                <a:gd name="connsiteY1" fmla="*/ 609724 h 1171823"/>
                <a:gd name="connsiteX2" fmla="*/ 1628775 w 1628775"/>
                <a:gd name="connsiteY2" fmla="*/ 1171699 h 1171823"/>
                <a:gd name="connsiteX3" fmla="*/ 1590675 w 1628775"/>
                <a:gd name="connsiteY3" fmla="*/ 562099 h 1171823"/>
                <a:gd name="connsiteX4" fmla="*/ 0 w 1628775"/>
                <a:gd name="connsiteY4" fmla="*/ 124 h 1171823"/>
                <a:gd name="connsiteX0" fmla="*/ 0 w 1628775"/>
                <a:gd name="connsiteY0" fmla="*/ 124 h 1171787"/>
                <a:gd name="connsiteX1" fmla="*/ 0 w 1628775"/>
                <a:gd name="connsiteY1" fmla="*/ 457324 h 1171787"/>
                <a:gd name="connsiteX2" fmla="*/ 1628775 w 1628775"/>
                <a:gd name="connsiteY2" fmla="*/ 1171699 h 1171787"/>
                <a:gd name="connsiteX3" fmla="*/ 1590675 w 1628775"/>
                <a:gd name="connsiteY3" fmla="*/ 562099 h 1171787"/>
                <a:gd name="connsiteX4" fmla="*/ 0 w 1628775"/>
                <a:gd name="connsiteY4" fmla="*/ 124 h 1171787"/>
                <a:gd name="connsiteX0" fmla="*/ 0 w 1638300"/>
                <a:gd name="connsiteY0" fmla="*/ 93 h 1295581"/>
                <a:gd name="connsiteX1" fmla="*/ 9525 w 1638300"/>
                <a:gd name="connsiteY1" fmla="*/ 581118 h 1295581"/>
                <a:gd name="connsiteX2" fmla="*/ 1638300 w 1638300"/>
                <a:gd name="connsiteY2" fmla="*/ 1295493 h 1295581"/>
                <a:gd name="connsiteX3" fmla="*/ 1600200 w 1638300"/>
                <a:gd name="connsiteY3" fmla="*/ 685893 h 1295581"/>
                <a:gd name="connsiteX4" fmla="*/ 0 w 1638300"/>
                <a:gd name="connsiteY4" fmla="*/ 93 h 1295581"/>
                <a:gd name="connsiteX0" fmla="*/ 0 w 1609725"/>
                <a:gd name="connsiteY0" fmla="*/ 93 h 1152739"/>
                <a:gd name="connsiteX1" fmla="*/ 9525 w 1609725"/>
                <a:gd name="connsiteY1" fmla="*/ 581118 h 1152739"/>
                <a:gd name="connsiteX2" fmla="*/ 1609725 w 1609725"/>
                <a:gd name="connsiteY2" fmla="*/ 1152618 h 1152739"/>
                <a:gd name="connsiteX3" fmla="*/ 1600200 w 1609725"/>
                <a:gd name="connsiteY3" fmla="*/ 685893 h 1152739"/>
                <a:gd name="connsiteX4" fmla="*/ 0 w 1609725"/>
                <a:gd name="connsiteY4" fmla="*/ 93 h 1152739"/>
                <a:gd name="connsiteX0" fmla="*/ 0 w 1609725"/>
                <a:gd name="connsiteY0" fmla="*/ 93 h 1152618"/>
                <a:gd name="connsiteX1" fmla="*/ 9525 w 1609725"/>
                <a:gd name="connsiteY1" fmla="*/ 581118 h 1152618"/>
                <a:gd name="connsiteX2" fmla="*/ 1609725 w 1609725"/>
                <a:gd name="connsiteY2" fmla="*/ 1152618 h 1152618"/>
                <a:gd name="connsiteX3" fmla="*/ 1600200 w 1609725"/>
                <a:gd name="connsiteY3" fmla="*/ 685893 h 1152618"/>
                <a:gd name="connsiteX4" fmla="*/ 0 w 1609725"/>
                <a:gd name="connsiteY4" fmla="*/ 93 h 1152618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600200 w 1609725"/>
                <a:gd name="connsiteY3" fmla="*/ 685800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571625 w 1609725"/>
                <a:gd name="connsiteY3" fmla="*/ 676275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571625 w 1609725"/>
                <a:gd name="connsiteY3" fmla="*/ 676275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609725 w 1609725"/>
                <a:gd name="connsiteY3" fmla="*/ 685800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609725 w 1609725"/>
                <a:gd name="connsiteY3" fmla="*/ 685800 h 1152525"/>
                <a:gd name="connsiteX4" fmla="*/ 0 w 1609725"/>
                <a:gd name="connsiteY4" fmla="*/ 0 h 1152525"/>
                <a:gd name="connsiteX0" fmla="*/ 38100 w 1647825"/>
                <a:gd name="connsiteY0" fmla="*/ 0 h 1152525"/>
                <a:gd name="connsiteX1" fmla="*/ 0 w 1647825"/>
                <a:gd name="connsiteY1" fmla="*/ 428625 h 1152525"/>
                <a:gd name="connsiteX2" fmla="*/ 1647825 w 1647825"/>
                <a:gd name="connsiteY2" fmla="*/ 1152525 h 1152525"/>
                <a:gd name="connsiteX3" fmla="*/ 1647825 w 1647825"/>
                <a:gd name="connsiteY3" fmla="*/ 685800 h 1152525"/>
                <a:gd name="connsiteX4" fmla="*/ 38100 w 1647825"/>
                <a:gd name="connsiteY4" fmla="*/ 0 h 1152525"/>
                <a:gd name="connsiteX0" fmla="*/ 0 w 1647825"/>
                <a:gd name="connsiteY0" fmla="*/ 0 h 1219200"/>
                <a:gd name="connsiteX1" fmla="*/ 0 w 1647825"/>
                <a:gd name="connsiteY1" fmla="*/ 495300 h 1219200"/>
                <a:gd name="connsiteX2" fmla="*/ 1647825 w 1647825"/>
                <a:gd name="connsiteY2" fmla="*/ 1219200 h 1219200"/>
                <a:gd name="connsiteX3" fmla="*/ 1647825 w 1647825"/>
                <a:gd name="connsiteY3" fmla="*/ 752475 h 1219200"/>
                <a:gd name="connsiteX4" fmla="*/ 0 w 1647825"/>
                <a:gd name="connsiteY4" fmla="*/ 0 h 1219200"/>
                <a:gd name="connsiteX0" fmla="*/ 0 w 1657350"/>
                <a:gd name="connsiteY0" fmla="*/ 0 h 1247775"/>
                <a:gd name="connsiteX1" fmla="*/ 9525 w 1657350"/>
                <a:gd name="connsiteY1" fmla="*/ 523875 h 1247775"/>
                <a:gd name="connsiteX2" fmla="*/ 1657350 w 1657350"/>
                <a:gd name="connsiteY2" fmla="*/ 1247775 h 1247775"/>
                <a:gd name="connsiteX3" fmla="*/ 1657350 w 1657350"/>
                <a:gd name="connsiteY3" fmla="*/ 781050 h 1247775"/>
                <a:gd name="connsiteX4" fmla="*/ 0 w 1657350"/>
                <a:gd name="connsiteY4" fmla="*/ 0 h 1247775"/>
                <a:gd name="connsiteX0" fmla="*/ 0 w 1657350"/>
                <a:gd name="connsiteY0" fmla="*/ 0 h 1247775"/>
                <a:gd name="connsiteX1" fmla="*/ 9525 w 1657350"/>
                <a:gd name="connsiteY1" fmla="*/ 523875 h 1247775"/>
                <a:gd name="connsiteX2" fmla="*/ 1657350 w 1657350"/>
                <a:gd name="connsiteY2" fmla="*/ 1247775 h 1247775"/>
                <a:gd name="connsiteX3" fmla="*/ 1657350 w 1657350"/>
                <a:gd name="connsiteY3" fmla="*/ 781050 h 1247775"/>
                <a:gd name="connsiteX4" fmla="*/ 0 w 1657350"/>
                <a:gd name="connsiteY4" fmla="*/ 0 h 1247775"/>
                <a:gd name="connsiteX0" fmla="*/ 9525 w 1647825"/>
                <a:gd name="connsiteY0" fmla="*/ 0 h 1314450"/>
                <a:gd name="connsiteX1" fmla="*/ 0 w 1647825"/>
                <a:gd name="connsiteY1" fmla="*/ 590550 h 1314450"/>
                <a:gd name="connsiteX2" fmla="*/ 1647825 w 1647825"/>
                <a:gd name="connsiteY2" fmla="*/ 1314450 h 1314450"/>
                <a:gd name="connsiteX3" fmla="*/ 1647825 w 1647825"/>
                <a:gd name="connsiteY3" fmla="*/ 847725 h 1314450"/>
                <a:gd name="connsiteX4" fmla="*/ 9525 w 1647825"/>
                <a:gd name="connsiteY4" fmla="*/ 0 h 1314450"/>
                <a:gd name="connsiteX0" fmla="*/ 0 w 1638300"/>
                <a:gd name="connsiteY0" fmla="*/ 0 h 1314450"/>
                <a:gd name="connsiteX1" fmla="*/ 9525 w 1638300"/>
                <a:gd name="connsiteY1" fmla="*/ 619125 h 1314450"/>
                <a:gd name="connsiteX2" fmla="*/ 1638300 w 1638300"/>
                <a:gd name="connsiteY2" fmla="*/ 1314450 h 1314450"/>
                <a:gd name="connsiteX3" fmla="*/ 1638300 w 1638300"/>
                <a:gd name="connsiteY3" fmla="*/ 847725 h 1314450"/>
                <a:gd name="connsiteX4" fmla="*/ 0 w 1638300"/>
                <a:gd name="connsiteY4" fmla="*/ 0 h 13144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00" h="1314450">
                  <a:moveTo>
                    <a:pt x="0" y="0"/>
                  </a:moveTo>
                  <a:lnTo>
                    <a:pt x="9525" y="619125"/>
                  </a:lnTo>
                  <a:lnTo>
                    <a:pt x="1638300" y="1314450"/>
                  </a:lnTo>
                  <a:lnTo>
                    <a:pt x="1638300" y="84772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8" name="Figura a mano libera 17"/>
            <p:cNvSpPr/>
            <p:nvPr/>
          </p:nvSpPr>
          <p:spPr>
            <a:xfrm>
              <a:off x="6614443" y="3225066"/>
              <a:ext cx="1361839" cy="944628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800100 w 1628775"/>
                <a:gd name="connsiteY2" fmla="*/ 1000125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38300"/>
                <a:gd name="connsiteY0" fmla="*/ 0 h 1171575"/>
                <a:gd name="connsiteX1" fmla="*/ 9525 w 1638300"/>
                <a:gd name="connsiteY1" fmla="*/ 6096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09625 w 1638300"/>
                <a:gd name="connsiteY5" fmla="*/ 228600 h 1171575"/>
                <a:gd name="connsiteX6" fmla="*/ 0 w 1638300"/>
                <a:gd name="connsiteY6" fmla="*/ 0 h 1171575"/>
                <a:gd name="connsiteX0" fmla="*/ 0 w 1638300"/>
                <a:gd name="connsiteY0" fmla="*/ 0 h 1171575"/>
                <a:gd name="connsiteX1" fmla="*/ 9525 w 1638300"/>
                <a:gd name="connsiteY1" fmla="*/ 6096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19150 w 1638300"/>
                <a:gd name="connsiteY5" fmla="*/ 285750 h 1171575"/>
                <a:gd name="connsiteX6" fmla="*/ 0 w 1638300"/>
                <a:gd name="connsiteY6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19150 w 1638300"/>
                <a:gd name="connsiteY5" fmla="*/ 285750 h 1171575"/>
                <a:gd name="connsiteX6" fmla="*/ 0 w 1638300"/>
                <a:gd name="connsiteY6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19150 w 1638300"/>
                <a:gd name="connsiteY5" fmla="*/ 285750 h 1171575"/>
                <a:gd name="connsiteX6" fmla="*/ 0 w 1638300"/>
                <a:gd name="connsiteY6" fmla="*/ 0 h 1171575"/>
                <a:gd name="connsiteX0" fmla="*/ 0 w 1638300"/>
                <a:gd name="connsiteY0" fmla="*/ 0 h 1183742"/>
                <a:gd name="connsiteX1" fmla="*/ 0 w 1638300"/>
                <a:gd name="connsiteY1" fmla="*/ 457200 h 1183742"/>
                <a:gd name="connsiteX2" fmla="*/ 800100 w 1638300"/>
                <a:gd name="connsiteY2" fmla="*/ 1000125 h 1183742"/>
                <a:gd name="connsiteX3" fmla="*/ 1628775 w 1638300"/>
                <a:gd name="connsiteY3" fmla="*/ 1171575 h 1183742"/>
                <a:gd name="connsiteX4" fmla="*/ 1638300 w 1638300"/>
                <a:gd name="connsiteY4" fmla="*/ 857250 h 1183742"/>
                <a:gd name="connsiteX5" fmla="*/ 819150 w 1638300"/>
                <a:gd name="connsiteY5" fmla="*/ 285750 h 1183742"/>
                <a:gd name="connsiteX6" fmla="*/ 0 w 1638300"/>
                <a:gd name="connsiteY6" fmla="*/ 0 h 1183742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819150 w 1638300"/>
                <a:gd name="connsiteY4" fmla="*/ 285750 h 1171575"/>
                <a:gd name="connsiteX5" fmla="*/ 0 w 1638300"/>
                <a:gd name="connsiteY5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819150 w 1638300"/>
                <a:gd name="connsiteY4" fmla="*/ 285750 h 1171575"/>
                <a:gd name="connsiteX5" fmla="*/ 0 w 1638300"/>
                <a:gd name="connsiteY5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47825"/>
                <a:gd name="connsiteY0" fmla="*/ 0 h 1143000"/>
                <a:gd name="connsiteX1" fmla="*/ 9525 w 1647825"/>
                <a:gd name="connsiteY1" fmla="*/ 428625 h 1143000"/>
                <a:gd name="connsiteX2" fmla="*/ 1638300 w 1647825"/>
                <a:gd name="connsiteY2" fmla="*/ 1143000 h 1143000"/>
                <a:gd name="connsiteX3" fmla="*/ 1647825 w 1647825"/>
                <a:gd name="connsiteY3" fmla="*/ 828675 h 1143000"/>
                <a:gd name="connsiteX4" fmla="*/ 0 w 1647825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47825" h="1143000">
                  <a:moveTo>
                    <a:pt x="0" y="0"/>
                  </a:moveTo>
                  <a:lnTo>
                    <a:pt x="9525" y="428625"/>
                  </a:lnTo>
                  <a:lnTo>
                    <a:pt x="1638300" y="1143000"/>
                  </a:lnTo>
                  <a:lnTo>
                    <a:pt x="1647825" y="828675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6" name="Figura a mano libera 5"/>
            <p:cNvSpPr/>
            <p:nvPr/>
          </p:nvSpPr>
          <p:spPr>
            <a:xfrm>
              <a:off x="1308783" y="1420208"/>
              <a:ext cx="5014401" cy="1535518"/>
            </a:xfrm>
            <a:custGeom>
              <a:avLst/>
              <a:gdLst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1962150"/>
                <a:gd name="connsiteX1" fmla="*/ 1000125 w 6086475"/>
                <a:gd name="connsiteY1" fmla="*/ 1533525 h 1962150"/>
                <a:gd name="connsiteX2" fmla="*/ 1866900 w 6086475"/>
                <a:gd name="connsiteY2" fmla="*/ 1962150 h 1962150"/>
                <a:gd name="connsiteX3" fmla="*/ 2581275 w 6086475"/>
                <a:gd name="connsiteY3" fmla="*/ 1809750 h 1962150"/>
                <a:gd name="connsiteX4" fmla="*/ 3829050 w 6086475"/>
                <a:gd name="connsiteY4" fmla="*/ 1295400 h 1962150"/>
                <a:gd name="connsiteX5" fmla="*/ 4772025 w 6086475"/>
                <a:gd name="connsiteY5" fmla="*/ 1409700 h 1962150"/>
                <a:gd name="connsiteX6" fmla="*/ 6086475 w 6086475"/>
                <a:gd name="connsiteY6" fmla="*/ 781050 h 1962150"/>
                <a:gd name="connsiteX7" fmla="*/ 4772025 w 6086475"/>
                <a:gd name="connsiteY7" fmla="*/ 0 h 1962150"/>
                <a:gd name="connsiteX8" fmla="*/ 3429000 w 6086475"/>
                <a:gd name="connsiteY8" fmla="*/ 285750 h 1962150"/>
                <a:gd name="connsiteX9" fmla="*/ 1800225 w 6086475"/>
                <a:gd name="connsiteY9" fmla="*/ 533400 h 1962150"/>
                <a:gd name="connsiteX10" fmla="*/ 476250 w 6086475"/>
                <a:gd name="connsiteY10" fmla="*/ 1171575 h 1962150"/>
                <a:gd name="connsiteX11" fmla="*/ 0 w 6086475"/>
                <a:gd name="connsiteY11" fmla="*/ 1495425 h 1962150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866900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07026"/>
                <a:gd name="connsiteX1" fmla="*/ 1000125 w 6086475"/>
                <a:gd name="connsiteY1" fmla="*/ 1533525 h 2007026"/>
                <a:gd name="connsiteX2" fmla="*/ 1647825 w 6086475"/>
                <a:gd name="connsiteY2" fmla="*/ 1962150 h 2007026"/>
                <a:gd name="connsiteX3" fmla="*/ 2581275 w 6086475"/>
                <a:gd name="connsiteY3" fmla="*/ 1809750 h 2007026"/>
                <a:gd name="connsiteX4" fmla="*/ 3829050 w 6086475"/>
                <a:gd name="connsiteY4" fmla="*/ 1295400 h 2007026"/>
                <a:gd name="connsiteX5" fmla="*/ 4772025 w 6086475"/>
                <a:gd name="connsiteY5" fmla="*/ 1409700 h 2007026"/>
                <a:gd name="connsiteX6" fmla="*/ 6086475 w 6086475"/>
                <a:gd name="connsiteY6" fmla="*/ 781050 h 2007026"/>
                <a:gd name="connsiteX7" fmla="*/ 4772025 w 6086475"/>
                <a:gd name="connsiteY7" fmla="*/ 0 h 2007026"/>
                <a:gd name="connsiteX8" fmla="*/ 3429000 w 6086475"/>
                <a:gd name="connsiteY8" fmla="*/ 285750 h 2007026"/>
                <a:gd name="connsiteX9" fmla="*/ 1800225 w 6086475"/>
                <a:gd name="connsiteY9" fmla="*/ 533400 h 2007026"/>
                <a:gd name="connsiteX10" fmla="*/ 476250 w 6086475"/>
                <a:gd name="connsiteY10" fmla="*/ 1171575 h 2007026"/>
                <a:gd name="connsiteX11" fmla="*/ 0 w 6086475"/>
                <a:gd name="connsiteY11" fmla="*/ 1495425 h 2007026"/>
                <a:gd name="connsiteX0" fmla="*/ 0 w 6086475"/>
                <a:gd name="connsiteY0" fmla="*/ 1495425 h 2036117"/>
                <a:gd name="connsiteX1" fmla="*/ 1000125 w 6086475"/>
                <a:gd name="connsiteY1" fmla="*/ 1533525 h 2036117"/>
                <a:gd name="connsiteX2" fmla="*/ 1647825 w 6086475"/>
                <a:gd name="connsiteY2" fmla="*/ 1962150 h 2036117"/>
                <a:gd name="connsiteX3" fmla="*/ 2581275 w 6086475"/>
                <a:gd name="connsiteY3" fmla="*/ 1809750 h 2036117"/>
                <a:gd name="connsiteX4" fmla="*/ 3829050 w 6086475"/>
                <a:gd name="connsiteY4" fmla="*/ 1295400 h 2036117"/>
                <a:gd name="connsiteX5" fmla="*/ 4772025 w 6086475"/>
                <a:gd name="connsiteY5" fmla="*/ 1409700 h 2036117"/>
                <a:gd name="connsiteX6" fmla="*/ 6086475 w 6086475"/>
                <a:gd name="connsiteY6" fmla="*/ 781050 h 2036117"/>
                <a:gd name="connsiteX7" fmla="*/ 4772025 w 6086475"/>
                <a:gd name="connsiteY7" fmla="*/ 0 h 2036117"/>
                <a:gd name="connsiteX8" fmla="*/ 3429000 w 6086475"/>
                <a:gd name="connsiteY8" fmla="*/ 285750 h 2036117"/>
                <a:gd name="connsiteX9" fmla="*/ 1800225 w 6086475"/>
                <a:gd name="connsiteY9" fmla="*/ 533400 h 2036117"/>
                <a:gd name="connsiteX10" fmla="*/ 476250 w 6086475"/>
                <a:gd name="connsiteY10" fmla="*/ 1171575 h 2036117"/>
                <a:gd name="connsiteX11" fmla="*/ 0 w 6086475"/>
                <a:gd name="connsiteY11" fmla="*/ 1495425 h 2036117"/>
                <a:gd name="connsiteX0" fmla="*/ 0 w 6086475"/>
                <a:gd name="connsiteY0" fmla="*/ 1495425 h 1982788"/>
                <a:gd name="connsiteX1" fmla="*/ 1000125 w 6086475"/>
                <a:gd name="connsiteY1" fmla="*/ 1533525 h 1982788"/>
                <a:gd name="connsiteX2" fmla="*/ 1647825 w 6086475"/>
                <a:gd name="connsiteY2" fmla="*/ 1962150 h 1982788"/>
                <a:gd name="connsiteX3" fmla="*/ 2676525 w 6086475"/>
                <a:gd name="connsiteY3" fmla="*/ 1666875 h 1982788"/>
                <a:gd name="connsiteX4" fmla="*/ 3829050 w 6086475"/>
                <a:gd name="connsiteY4" fmla="*/ 1295400 h 1982788"/>
                <a:gd name="connsiteX5" fmla="*/ 4772025 w 6086475"/>
                <a:gd name="connsiteY5" fmla="*/ 1409700 h 1982788"/>
                <a:gd name="connsiteX6" fmla="*/ 6086475 w 6086475"/>
                <a:gd name="connsiteY6" fmla="*/ 781050 h 1982788"/>
                <a:gd name="connsiteX7" fmla="*/ 4772025 w 6086475"/>
                <a:gd name="connsiteY7" fmla="*/ 0 h 1982788"/>
                <a:gd name="connsiteX8" fmla="*/ 3429000 w 6086475"/>
                <a:gd name="connsiteY8" fmla="*/ 285750 h 1982788"/>
                <a:gd name="connsiteX9" fmla="*/ 1800225 w 6086475"/>
                <a:gd name="connsiteY9" fmla="*/ 533400 h 1982788"/>
                <a:gd name="connsiteX10" fmla="*/ 476250 w 6086475"/>
                <a:gd name="connsiteY10" fmla="*/ 1171575 h 1982788"/>
                <a:gd name="connsiteX11" fmla="*/ 0 w 6086475"/>
                <a:gd name="connsiteY11" fmla="*/ 1495425 h 1982788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1979524"/>
                <a:gd name="connsiteX1" fmla="*/ 1000125 w 6086475"/>
                <a:gd name="connsiteY1" fmla="*/ 1533525 h 1979524"/>
                <a:gd name="connsiteX2" fmla="*/ 1647825 w 6086475"/>
                <a:gd name="connsiteY2" fmla="*/ 1962150 h 1979524"/>
                <a:gd name="connsiteX3" fmla="*/ 2676525 w 6086475"/>
                <a:gd name="connsiteY3" fmla="*/ 1666875 h 1979524"/>
                <a:gd name="connsiteX4" fmla="*/ 3829050 w 6086475"/>
                <a:gd name="connsiteY4" fmla="*/ 1295400 h 1979524"/>
                <a:gd name="connsiteX5" fmla="*/ 4772025 w 6086475"/>
                <a:gd name="connsiteY5" fmla="*/ 1409700 h 1979524"/>
                <a:gd name="connsiteX6" fmla="*/ 6086475 w 6086475"/>
                <a:gd name="connsiteY6" fmla="*/ 781050 h 1979524"/>
                <a:gd name="connsiteX7" fmla="*/ 4772025 w 6086475"/>
                <a:gd name="connsiteY7" fmla="*/ 0 h 1979524"/>
                <a:gd name="connsiteX8" fmla="*/ 3429000 w 6086475"/>
                <a:gd name="connsiteY8" fmla="*/ 285750 h 1979524"/>
                <a:gd name="connsiteX9" fmla="*/ 1800225 w 6086475"/>
                <a:gd name="connsiteY9" fmla="*/ 533400 h 1979524"/>
                <a:gd name="connsiteX10" fmla="*/ 476250 w 6086475"/>
                <a:gd name="connsiteY10" fmla="*/ 1171575 h 1979524"/>
                <a:gd name="connsiteX11" fmla="*/ 0 w 6086475"/>
                <a:gd name="connsiteY11" fmla="*/ 1495425 h 1979524"/>
                <a:gd name="connsiteX0" fmla="*/ 0 w 6086475"/>
                <a:gd name="connsiteY0" fmla="*/ 1495425 h 2055941"/>
                <a:gd name="connsiteX1" fmla="*/ 1000125 w 6086475"/>
                <a:gd name="connsiteY1" fmla="*/ 1533525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5941"/>
                <a:gd name="connsiteX1" fmla="*/ 866775 w 6086475"/>
                <a:gd name="connsiteY1" fmla="*/ 1485900 h 2055941"/>
                <a:gd name="connsiteX2" fmla="*/ 1628775 w 6086475"/>
                <a:gd name="connsiteY2" fmla="*/ 2047875 h 2055941"/>
                <a:gd name="connsiteX3" fmla="*/ 2676525 w 6086475"/>
                <a:gd name="connsiteY3" fmla="*/ 1666875 h 2055941"/>
                <a:gd name="connsiteX4" fmla="*/ 3829050 w 6086475"/>
                <a:gd name="connsiteY4" fmla="*/ 1295400 h 2055941"/>
                <a:gd name="connsiteX5" fmla="*/ 4772025 w 6086475"/>
                <a:gd name="connsiteY5" fmla="*/ 1409700 h 2055941"/>
                <a:gd name="connsiteX6" fmla="*/ 6086475 w 6086475"/>
                <a:gd name="connsiteY6" fmla="*/ 781050 h 2055941"/>
                <a:gd name="connsiteX7" fmla="*/ 4772025 w 6086475"/>
                <a:gd name="connsiteY7" fmla="*/ 0 h 2055941"/>
                <a:gd name="connsiteX8" fmla="*/ 3429000 w 6086475"/>
                <a:gd name="connsiteY8" fmla="*/ 285750 h 2055941"/>
                <a:gd name="connsiteX9" fmla="*/ 1800225 w 6086475"/>
                <a:gd name="connsiteY9" fmla="*/ 533400 h 2055941"/>
                <a:gd name="connsiteX10" fmla="*/ 476250 w 6086475"/>
                <a:gd name="connsiteY10" fmla="*/ 1171575 h 2055941"/>
                <a:gd name="connsiteX11" fmla="*/ 0 w 6086475"/>
                <a:gd name="connsiteY11" fmla="*/ 1495425 h 2055941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4772025 w 6086475"/>
                <a:gd name="connsiteY5" fmla="*/ 140970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86475"/>
                <a:gd name="connsiteY0" fmla="*/ 1495425 h 2054492"/>
                <a:gd name="connsiteX1" fmla="*/ 866775 w 6086475"/>
                <a:gd name="connsiteY1" fmla="*/ 1485900 h 2054492"/>
                <a:gd name="connsiteX2" fmla="*/ 1628775 w 6086475"/>
                <a:gd name="connsiteY2" fmla="*/ 2047875 h 2054492"/>
                <a:gd name="connsiteX3" fmla="*/ 2676525 w 6086475"/>
                <a:gd name="connsiteY3" fmla="*/ 1666875 h 2054492"/>
                <a:gd name="connsiteX4" fmla="*/ 3829050 w 6086475"/>
                <a:gd name="connsiteY4" fmla="*/ 1295400 h 2054492"/>
                <a:gd name="connsiteX5" fmla="*/ 5019675 w 6086475"/>
                <a:gd name="connsiteY5" fmla="*/ 1314450 h 2054492"/>
                <a:gd name="connsiteX6" fmla="*/ 6086475 w 6086475"/>
                <a:gd name="connsiteY6" fmla="*/ 781050 h 2054492"/>
                <a:gd name="connsiteX7" fmla="*/ 4772025 w 6086475"/>
                <a:gd name="connsiteY7" fmla="*/ 0 h 2054492"/>
                <a:gd name="connsiteX8" fmla="*/ 3429000 w 6086475"/>
                <a:gd name="connsiteY8" fmla="*/ 285750 h 2054492"/>
                <a:gd name="connsiteX9" fmla="*/ 1800225 w 6086475"/>
                <a:gd name="connsiteY9" fmla="*/ 533400 h 2054492"/>
                <a:gd name="connsiteX10" fmla="*/ 476250 w 6086475"/>
                <a:gd name="connsiteY10" fmla="*/ 1171575 h 2054492"/>
                <a:gd name="connsiteX11" fmla="*/ 0 w 6086475"/>
                <a:gd name="connsiteY11" fmla="*/ 149542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400425 w 6057900"/>
                <a:gd name="connsiteY8" fmla="*/ 285750 h 2054492"/>
                <a:gd name="connsiteX9" fmla="*/ 1771650 w 6057900"/>
                <a:gd name="connsiteY9" fmla="*/ 533400 h 2054492"/>
                <a:gd name="connsiteX10" fmla="*/ 447675 w 6057900"/>
                <a:gd name="connsiteY10" fmla="*/ 1171575 h 2054492"/>
                <a:gd name="connsiteX11" fmla="*/ 0 w 6057900"/>
                <a:gd name="connsiteY11" fmla="*/ 124777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400425 w 6057900"/>
                <a:gd name="connsiteY8" fmla="*/ 285750 h 2054492"/>
                <a:gd name="connsiteX9" fmla="*/ 1771650 w 6057900"/>
                <a:gd name="connsiteY9" fmla="*/ 533400 h 2054492"/>
                <a:gd name="connsiteX10" fmla="*/ 647700 w 6057900"/>
                <a:gd name="connsiteY10" fmla="*/ 1000125 h 2054492"/>
                <a:gd name="connsiteX11" fmla="*/ 0 w 6057900"/>
                <a:gd name="connsiteY11" fmla="*/ 124777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400425 w 6057900"/>
                <a:gd name="connsiteY8" fmla="*/ 285750 h 2054492"/>
                <a:gd name="connsiteX9" fmla="*/ 1866900 w 6057900"/>
                <a:gd name="connsiteY9" fmla="*/ 609600 h 2054492"/>
                <a:gd name="connsiteX10" fmla="*/ 647700 w 6057900"/>
                <a:gd name="connsiteY10" fmla="*/ 1000125 h 2054492"/>
                <a:gd name="connsiteX11" fmla="*/ 0 w 6057900"/>
                <a:gd name="connsiteY11" fmla="*/ 1247775 h 2054492"/>
                <a:gd name="connsiteX0" fmla="*/ 0 w 6057900"/>
                <a:gd name="connsiteY0" fmla="*/ 1247775 h 2054492"/>
                <a:gd name="connsiteX1" fmla="*/ 838200 w 6057900"/>
                <a:gd name="connsiteY1" fmla="*/ 1485900 h 2054492"/>
                <a:gd name="connsiteX2" fmla="*/ 1600200 w 6057900"/>
                <a:gd name="connsiteY2" fmla="*/ 2047875 h 2054492"/>
                <a:gd name="connsiteX3" fmla="*/ 2647950 w 6057900"/>
                <a:gd name="connsiteY3" fmla="*/ 1666875 h 2054492"/>
                <a:gd name="connsiteX4" fmla="*/ 3800475 w 6057900"/>
                <a:gd name="connsiteY4" fmla="*/ 1295400 h 2054492"/>
                <a:gd name="connsiteX5" fmla="*/ 4991100 w 6057900"/>
                <a:gd name="connsiteY5" fmla="*/ 1314450 h 2054492"/>
                <a:gd name="connsiteX6" fmla="*/ 6057900 w 6057900"/>
                <a:gd name="connsiteY6" fmla="*/ 781050 h 2054492"/>
                <a:gd name="connsiteX7" fmla="*/ 4743450 w 6057900"/>
                <a:gd name="connsiteY7" fmla="*/ 0 h 2054492"/>
                <a:gd name="connsiteX8" fmla="*/ 3295650 w 6057900"/>
                <a:gd name="connsiteY8" fmla="*/ 95250 h 2054492"/>
                <a:gd name="connsiteX9" fmla="*/ 1866900 w 6057900"/>
                <a:gd name="connsiteY9" fmla="*/ 609600 h 2054492"/>
                <a:gd name="connsiteX10" fmla="*/ 647700 w 6057900"/>
                <a:gd name="connsiteY10" fmla="*/ 1000125 h 2054492"/>
                <a:gd name="connsiteX11" fmla="*/ 0 w 6057900"/>
                <a:gd name="connsiteY11" fmla="*/ 1247775 h 2054492"/>
                <a:gd name="connsiteX0" fmla="*/ 0 w 6057900"/>
                <a:gd name="connsiteY0" fmla="*/ 1247775 h 1835534"/>
                <a:gd name="connsiteX1" fmla="*/ 838200 w 6057900"/>
                <a:gd name="connsiteY1" fmla="*/ 1485900 h 1835534"/>
                <a:gd name="connsiteX2" fmla="*/ 1647825 w 6057900"/>
                <a:gd name="connsiteY2" fmla="*/ 1828800 h 1835534"/>
                <a:gd name="connsiteX3" fmla="*/ 2647950 w 6057900"/>
                <a:gd name="connsiteY3" fmla="*/ 1666875 h 1835534"/>
                <a:gd name="connsiteX4" fmla="*/ 3800475 w 6057900"/>
                <a:gd name="connsiteY4" fmla="*/ 1295400 h 1835534"/>
                <a:gd name="connsiteX5" fmla="*/ 4991100 w 6057900"/>
                <a:gd name="connsiteY5" fmla="*/ 1314450 h 1835534"/>
                <a:gd name="connsiteX6" fmla="*/ 6057900 w 6057900"/>
                <a:gd name="connsiteY6" fmla="*/ 781050 h 1835534"/>
                <a:gd name="connsiteX7" fmla="*/ 4743450 w 6057900"/>
                <a:gd name="connsiteY7" fmla="*/ 0 h 1835534"/>
                <a:gd name="connsiteX8" fmla="*/ 3295650 w 6057900"/>
                <a:gd name="connsiteY8" fmla="*/ 95250 h 1835534"/>
                <a:gd name="connsiteX9" fmla="*/ 1866900 w 6057900"/>
                <a:gd name="connsiteY9" fmla="*/ 609600 h 1835534"/>
                <a:gd name="connsiteX10" fmla="*/ 647700 w 6057900"/>
                <a:gd name="connsiteY10" fmla="*/ 1000125 h 1835534"/>
                <a:gd name="connsiteX11" fmla="*/ 0 w 6057900"/>
                <a:gd name="connsiteY11" fmla="*/ 1247775 h 1835534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647950 w 6057900"/>
                <a:gd name="connsiteY3" fmla="*/ 1666875 h 1828800"/>
                <a:gd name="connsiteX4" fmla="*/ 3800475 w 6057900"/>
                <a:gd name="connsiteY4" fmla="*/ 1295400 h 1828800"/>
                <a:gd name="connsiteX5" fmla="*/ 4991100 w 6057900"/>
                <a:gd name="connsiteY5" fmla="*/ 13144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3800475 w 6057900"/>
                <a:gd name="connsiteY4" fmla="*/ 1295400 h 1828800"/>
                <a:gd name="connsiteX5" fmla="*/ 4991100 w 6057900"/>
                <a:gd name="connsiteY5" fmla="*/ 13144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4086225 w 6057900"/>
                <a:gd name="connsiteY4" fmla="*/ 1333500 h 1828800"/>
                <a:gd name="connsiteX5" fmla="*/ 4991100 w 6057900"/>
                <a:gd name="connsiteY5" fmla="*/ 13144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4086225 w 6057900"/>
                <a:gd name="connsiteY4" fmla="*/ 1333500 h 1828800"/>
                <a:gd name="connsiteX5" fmla="*/ 4924425 w 6057900"/>
                <a:gd name="connsiteY5" fmla="*/ 9715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57900"/>
                <a:gd name="connsiteY0" fmla="*/ 1247775 h 1828800"/>
                <a:gd name="connsiteX1" fmla="*/ 838200 w 6057900"/>
                <a:gd name="connsiteY1" fmla="*/ 1485900 h 1828800"/>
                <a:gd name="connsiteX2" fmla="*/ 1647825 w 6057900"/>
                <a:gd name="connsiteY2" fmla="*/ 1828800 h 1828800"/>
                <a:gd name="connsiteX3" fmla="*/ 2933700 w 6057900"/>
                <a:gd name="connsiteY3" fmla="*/ 1504950 h 1828800"/>
                <a:gd name="connsiteX4" fmla="*/ 4086225 w 6057900"/>
                <a:gd name="connsiteY4" fmla="*/ 1333500 h 1828800"/>
                <a:gd name="connsiteX5" fmla="*/ 4924425 w 6057900"/>
                <a:gd name="connsiteY5" fmla="*/ 971550 h 1828800"/>
                <a:gd name="connsiteX6" fmla="*/ 6057900 w 6057900"/>
                <a:gd name="connsiteY6" fmla="*/ 781050 h 1828800"/>
                <a:gd name="connsiteX7" fmla="*/ 4743450 w 6057900"/>
                <a:gd name="connsiteY7" fmla="*/ 0 h 1828800"/>
                <a:gd name="connsiteX8" fmla="*/ 3295650 w 6057900"/>
                <a:gd name="connsiteY8" fmla="*/ 95250 h 1828800"/>
                <a:gd name="connsiteX9" fmla="*/ 1866900 w 6057900"/>
                <a:gd name="connsiteY9" fmla="*/ 609600 h 1828800"/>
                <a:gd name="connsiteX10" fmla="*/ 647700 w 6057900"/>
                <a:gd name="connsiteY10" fmla="*/ 1000125 h 1828800"/>
                <a:gd name="connsiteX11" fmla="*/ 0 w 6057900"/>
                <a:gd name="connsiteY11" fmla="*/ 1247775 h 1828800"/>
                <a:gd name="connsiteX0" fmla="*/ 0 w 6038850"/>
                <a:gd name="connsiteY0" fmla="*/ 1247775 h 1828800"/>
                <a:gd name="connsiteX1" fmla="*/ 838200 w 6038850"/>
                <a:gd name="connsiteY1" fmla="*/ 1485900 h 1828800"/>
                <a:gd name="connsiteX2" fmla="*/ 1647825 w 6038850"/>
                <a:gd name="connsiteY2" fmla="*/ 1828800 h 1828800"/>
                <a:gd name="connsiteX3" fmla="*/ 2933700 w 6038850"/>
                <a:gd name="connsiteY3" fmla="*/ 1504950 h 1828800"/>
                <a:gd name="connsiteX4" fmla="*/ 4086225 w 6038850"/>
                <a:gd name="connsiteY4" fmla="*/ 1333500 h 1828800"/>
                <a:gd name="connsiteX5" fmla="*/ 4924425 w 6038850"/>
                <a:gd name="connsiteY5" fmla="*/ 971550 h 1828800"/>
                <a:gd name="connsiteX6" fmla="*/ 6038850 w 6038850"/>
                <a:gd name="connsiteY6" fmla="*/ 847725 h 1828800"/>
                <a:gd name="connsiteX7" fmla="*/ 4743450 w 6038850"/>
                <a:gd name="connsiteY7" fmla="*/ 0 h 1828800"/>
                <a:gd name="connsiteX8" fmla="*/ 3295650 w 6038850"/>
                <a:gd name="connsiteY8" fmla="*/ 95250 h 1828800"/>
                <a:gd name="connsiteX9" fmla="*/ 1866900 w 6038850"/>
                <a:gd name="connsiteY9" fmla="*/ 609600 h 1828800"/>
                <a:gd name="connsiteX10" fmla="*/ 647700 w 6038850"/>
                <a:gd name="connsiteY10" fmla="*/ 1000125 h 1828800"/>
                <a:gd name="connsiteX11" fmla="*/ 0 w 6038850"/>
                <a:gd name="connsiteY11" fmla="*/ 1247775 h 1828800"/>
                <a:gd name="connsiteX0" fmla="*/ 0 w 6038850"/>
                <a:gd name="connsiteY0" fmla="*/ 1247775 h 1828800"/>
                <a:gd name="connsiteX1" fmla="*/ 838200 w 6038850"/>
                <a:gd name="connsiteY1" fmla="*/ 1485900 h 1828800"/>
                <a:gd name="connsiteX2" fmla="*/ 1647825 w 6038850"/>
                <a:gd name="connsiteY2" fmla="*/ 1828800 h 1828800"/>
                <a:gd name="connsiteX3" fmla="*/ 2933700 w 6038850"/>
                <a:gd name="connsiteY3" fmla="*/ 1504950 h 1828800"/>
                <a:gd name="connsiteX4" fmla="*/ 4086225 w 6038850"/>
                <a:gd name="connsiteY4" fmla="*/ 1333500 h 1828800"/>
                <a:gd name="connsiteX5" fmla="*/ 4924425 w 6038850"/>
                <a:gd name="connsiteY5" fmla="*/ 971550 h 1828800"/>
                <a:gd name="connsiteX6" fmla="*/ 6038850 w 6038850"/>
                <a:gd name="connsiteY6" fmla="*/ 847725 h 1828800"/>
                <a:gd name="connsiteX7" fmla="*/ 4743450 w 6038850"/>
                <a:gd name="connsiteY7" fmla="*/ 0 h 1828800"/>
                <a:gd name="connsiteX8" fmla="*/ 3295650 w 6038850"/>
                <a:gd name="connsiteY8" fmla="*/ 95250 h 1828800"/>
                <a:gd name="connsiteX9" fmla="*/ 1866900 w 6038850"/>
                <a:gd name="connsiteY9" fmla="*/ 609600 h 1828800"/>
                <a:gd name="connsiteX10" fmla="*/ 647700 w 6038850"/>
                <a:gd name="connsiteY10" fmla="*/ 1000125 h 1828800"/>
                <a:gd name="connsiteX11" fmla="*/ 0 w 6038850"/>
                <a:gd name="connsiteY11" fmla="*/ 1247775 h 1828800"/>
                <a:gd name="connsiteX0" fmla="*/ 0 w 6038850"/>
                <a:gd name="connsiteY0" fmla="*/ 1247775 h 1833175"/>
                <a:gd name="connsiteX1" fmla="*/ 1647825 w 6038850"/>
                <a:gd name="connsiteY1" fmla="*/ 1828800 h 1833175"/>
                <a:gd name="connsiteX2" fmla="*/ 2933700 w 6038850"/>
                <a:gd name="connsiteY2" fmla="*/ 1504950 h 1833175"/>
                <a:gd name="connsiteX3" fmla="*/ 4086225 w 6038850"/>
                <a:gd name="connsiteY3" fmla="*/ 1333500 h 1833175"/>
                <a:gd name="connsiteX4" fmla="*/ 4924425 w 6038850"/>
                <a:gd name="connsiteY4" fmla="*/ 971550 h 1833175"/>
                <a:gd name="connsiteX5" fmla="*/ 6038850 w 6038850"/>
                <a:gd name="connsiteY5" fmla="*/ 847725 h 1833175"/>
                <a:gd name="connsiteX6" fmla="*/ 4743450 w 6038850"/>
                <a:gd name="connsiteY6" fmla="*/ 0 h 1833175"/>
                <a:gd name="connsiteX7" fmla="*/ 3295650 w 6038850"/>
                <a:gd name="connsiteY7" fmla="*/ 95250 h 1833175"/>
                <a:gd name="connsiteX8" fmla="*/ 1866900 w 6038850"/>
                <a:gd name="connsiteY8" fmla="*/ 609600 h 1833175"/>
                <a:gd name="connsiteX9" fmla="*/ 647700 w 6038850"/>
                <a:gd name="connsiteY9" fmla="*/ 1000125 h 1833175"/>
                <a:gd name="connsiteX10" fmla="*/ 0 w 6038850"/>
                <a:gd name="connsiteY10" fmla="*/ 1247775 h 1833175"/>
                <a:gd name="connsiteX0" fmla="*/ 0 w 6038850"/>
                <a:gd name="connsiteY0" fmla="*/ 1247775 h 1833175"/>
                <a:gd name="connsiteX1" fmla="*/ 1647825 w 6038850"/>
                <a:gd name="connsiteY1" fmla="*/ 1828800 h 1833175"/>
                <a:gd name="connsiteX2" fmla="*/ 2933700 w 6038850"/>
                <a:gd name="connsiteY2" fmla="*/ 1504950 h 1833175"/>
                <a:gd name="connsiteX3" fmla="*/ 4086225 w 6038850"/>
                <a:gd name="connsiteY3" fmla="*/ 1333500 h 1833175"/>
                <a:gd name="connsiteX4" fmla="*/ 4924425 w 6038850"/>
                <a:gd name="connsiteY4" fmla="*/ 971550 h 1833175"/>
                <a:gd name="connsiteX5" fmla="*/ 6038850 w 6038850"/>
                <a:gd name="connsiteY5" fmla="*/ 847725 h 1833175"/>
                <a:gd name="connsiteX6" fmla="*/ 4743450 w 6038850"/>
                <a:gd name="connsiteY6" fmla="*/ 0 h 1833175"/>
                <a:gd name="connsiteX7" fmla="*/ 3295650 w 6038850"/>
                <a:gd name="connsiteY7" fmla="*/ 95250 h 1833175"/>
                <a:gd name="connsiteX8" fmla="*/ 1866900 w 6038850"/>
                <a:gd name="connsiteY8" fmla="*/ 609600 h 1833175"/>
                <a:gd name="connsiteX9" fmla="*/ 647700 w 6038850"/>
                <a:gd name="connsiteY9" fmla="*/ 1000125 h 1833175"/>
                <a:gd name="connsiteX10" fmla="*/ 0 w 6038850"/>
                <a:gd name="connsiteY10" fmla="*/ 1247775 h 1833175"/>
                <a:gd name="connsiteX0" fmla="*/ 0 w 6038850"/>
                <a:gd name="connsiteY0" fmla="*/ 1247775 h 1833175"/>
                <a:gd name="connsiteX1" fmla="*/ 1647825 w 6038850"/>
                <a:gd name="connsiteY1" fmla="*/ 1828800 h 1833175"/>
                <a:gd name="connsiteX2" fmla="*/ 2933700 w 6038850"/>
                <a:gd name="connsiteY2" fmla="*/ 1504950 h 1833175"/>
                <a:gd name="connsiteX3" fmla="*/ 4086225 w 6038850"/>
                <a:gd name="connsiteY3" fmla="*/ 1333500 h 1833175"/>
                <a:gd name="connsiteX4" fmla="*/ 4924425 w 6038850"/>
                <a:gd name="connsiteY4" fmla="*/ 971550 h 1833175"/>
                <a:gd name="connsiteX5" fmla="*/ 6038850 w 6038850"/>
                <a:gd name="connsiteY5" fmla="*/ 847725 h 1833175"/>
                <a:gd name="connsiteX6" fmla="*/ 4743450 w 6038850"/>
                <a:gd name="connsiteY6" fmla="*/ 0 h 1833175"/>
                <a:gd name="connsiteX7" fmla="*/ 3295650 w 6038850"/>
                <a:gd name="connsiteY7" fmla="*/ 95250 h 1833175"/>
                <a:gd name="connsiteX8" fmla="*/ 1866900 w 6038850"/>
                <a:gd name="connsiteY8" fmla="*/ 609600 h 1833175"/>
                <a:gd name="connsiteX9" fmla="*/ 647700 w 6038850"/>
                <a:gd name="connsiteY9" fmla="*/ 1000125 h 1833175"/>
                <a:gd name="connsiteX10" fmla="*/ 0 w 6038850"/>
                <a:gd name="connsiteY10" fmla="*/ 1247775 h 1833175"/>
                <a:gd name="connsiteX0" fmla="*/ 0 w 6038850"/>
                <a:gd name="connsiteY0" fmla="*/ 1247775 h 1831253"/>
                <a:gd name="connsiteX1" fmla="*/ 1647825 w 6038850"/>
                <a:gd name="connsiteY1" fmla="*/ 1828800 h 1831253"/>
                <a:gd name="connsiteX2" fmla="*/ 3019425 w 6038850"/>
                <a:gd name="connsiteY2" fmla="*/ 1257300 h 1831253"/>
                <a:gd name="connsiteX3" fmla="*/ 4086225 w 6038850"/>
                <a:gd name="connsiteY3" fmla="*/ 1333500 h 1831253"/>
                <a:gd name="connsiteX4" fmla="*/ 4924425 w 6038850"/>
                <a:gd name="connsiteY4" fmla="*/ 971550 h 1831253"/>
                <a:gd name="connsiteX5" fmla="*/ 6038850 w 6038850"/>
                <a:gd name="connsiteY5" fmla="*/ 847725 h 1831253"/>
                <a:gd name="connsiteX6" fmla="*/ 4743450 w 6038850"/>
                <a:gd name="connsiteY6" fmla="*/ 0 h 1831253"/>
                <a:gd name="connsiteX7" fmla="*/ 3295650 w 6038850"/>
                <a:gd name="connsiteY7" fmla="*/ 95250 h 1831253"/>
                <a:gd name="connsiteX8" fmla="*/ 1866900 w 6038850"/>
                <a:gd name="connsiteY8" fmla="*/ 609600 h 1831253"/>
                <a:gd name="connsiteX9" fmla="*/ 647700 w 6038850"/>
                <a:gd name="connsiteY9" fmla="*/ 1000125 h 1831253"/>
                <a:gd name="connsiteX10" fmla="*/ 0 w 6038850"/>
                <a:gd name="connsiteY10" fmla="*/ 1247775 h 1831253"/>
                <a:gd name="connsiteX0" fmla="*/ 0 w 6038850"/>
                <a:gd name="connsiteY0" fmla="*/ 1247775 h 1831543"/>
                <a:gd name="connsiteX1" fmla="*/ 1647825 w 6038850"/>
                <a:gd name="connsiteY1" fmla="*/ 1828800 h 1831543"/>
                <a:gd name="connsiteX2" fmla="*/ 3019425 w 6038850"/>
                <a:gd name="connsiteY2" fmla="*/ 1257300 h 1831543"/>
                <a:gd name="connsiteX3" fmla="*/ 4924425 w 6038850"/>
                <a:gd name="connsiteY3" fmla="*/ 971550 h 1831543"/>
                <a:gd name="connsiteX4" fmla="*/ 6038850 w 6038850"/>
                <a:gd name="connsiteY4" fmla="*/ 847725 h 1831543"/>
                <a:gd name="connsiteX5" fmla="*/ 4743450 w 6038850"/>
                <a:gd name="connsiteY5" fmla="*/ 0 h 1831543"/>
                <a:gd name="connsiteX6" fmla="*/ 3295650 w 6038850"/>
                <a:gd name="connsiteY6" fmla="*/ 95250 h 1831543"/>
                <a:gd name="connsiteX7" fmla="*/ 1866900 w 6038850"/>
                <a:gd name="connsiteY7" fmla="*/ 609600 h 1831543"/>
                <a:gd name="connsiteX8" fmla="*/ 647700 w 6038850"/>
                <a:gd name="connsiteY8" fmla="*/ 1000125 h 1831543"/>
                <a:gd name="connsiteX9" fmla="*/ 0 w 6038850"/>
                <a:gd name="connsiteY9" fmla="*/ 1247775 h 1831543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866900 w 6038850"/>
                <a:gd name="connsiteY7" fmla="*/ 609600 h 1831560"/>
                <a:gd name="connsiteX8" fmla="*/ 647700 w 6038850"/>
                <a:gd name="connsiteY8" fmla="*/ 1000125 h 1831560"/>
                <a:gd name="connsiteX9" fmla="*/ 0 w 6038850"/>
                <a:gd name="connsiteY9" fmla="*/ 1247775 h 1831560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866900 w 6038850"/>
                <a:gd name="connsiteY7" fmla="*/ 609600 h 1831560"/>
                <a:gd name="connsiteX8" fmla="*/ 0 w 6038850"/>
                <a:gd name="connsiteY8" fmla="*/ 1247775 h 1831560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419225 w 6038850"/>
                <a:gd name="connsiteY7" fmla="*/ 695325 h 1831560"/>
                <a:gd name="connsiteX8" fmla="*/ 0 w 6038850"/>
                <a:gd name="connsiteY8" fmla="*/ 1247775 h 1831560"/>
                <a:gd name="connsiteX0" fmla="*/ 0 w 6038850"/>
                <a:gd name="connsiteY0" fmla="*/ 1247775 h 1831560"/>
                <a:gd name="connsiteX1" fmla="*/ 1647825 w 6038850"/>
                <a:gd name="connsiteY1" fmla="*/ 1828800 h 1831560"/>
                <a:gd name="connsiteX2" fmla="*/ 3019425 w 6038850"/>
                <a:gd name="connsiteY2" fmla="*/ 1257300 h 1831560"/>
                <a:gd name="connsiteX3" fmla="*/ 4476750 w 6038850"/>
                <a:gd name="connsiteY3" fmla="*/ 952500 h 1831560"/>
                <a:gd name="connsiteX4" fmla="*/ 6038850 w 6038850"/>
                <a:gd name="connsiteY4" fmla="*/ 847725 h 1831560"/>
                <a:gd name="connsiteX5" fmla="*/ 4743450 w 6038850"/>
                <a:gd name="connsiteY5" fmla="*/ 0 h 1831560"/>
                <a:gd name="connsiteX6" fmla="*/ 3295650 w 6038850"/>
                <a:gd name="connsiteY6" fmla="*/ 95250 h 1831560"/>
                <a:gd name="connsiteX7" fmla="*/ 1419225 w 6038850"/>
                <a:gd name="connsiteY7" fmla="*/ 695325 h 1831560"/>
                <a:gd name="connsiteX8" fmla="*/ 0 w 6038850"/>
                <a:gd name="connsiteY8" fmla="*/ 124777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3257550 w 6000750"/>
                <a:gd name="connsiteY6" fmla="*/ 95250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3257550 w 6000750"/>
                <a:gd name="connsiteY6" fmla="*/ 95250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2809875 w 6000750"/>
                <a:gd name="connsiteY6" fmla="*/ 219075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705350 w 6000750"/>
                <a:gd name="connsiteY5" fmla="*/ 0 h 1831560"/>
                <a:gd name="connsiteX6" fmla="*/ 2809875 w 6000750"/>
                <a:gd name="connsiteY6" fmla="*/ 219075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00750"/>
                <a:gd name="connsiteY0" fmla="*/ 1266825 h 1831560"/>
                <a:gd name="connsiteX1" fmla="*/ 1609725 w 6000750"/>
                <a:gd name="connsiteY1" fmla="*/ 1828800 h 1831560"/>
                <a:gd name="connsiteX2" fmla="*/ 2981325 w 6000750"/>
                <a:gd name="connsiteY2" fmla="*/ 1257300 h 1831560"/>
                <a:gd name="connsiteX3" fmla="*/ 4438650 w 6000750"/>
                <a:gd name="connsiteY3" fmla="*/ 952500 h 1831560"/>
                <a:gd name="connsiteX4" fmla="*/ 6000750 w 6000750"/>
                <a:gd name="connsiteY4" fmla="*/ 847725 h 1831560"/>
                <a:gd name="connsiteX5" fmla="*/ 4467225 w 6000750"/>
                <a:gd name="connsiteY5" fmla="*/ 0 h 1831560"/>
                <a:gd name="connsiteX6" fmla="*/ 2809875 w 6000750"/>
                <a:gd name="connsiteY6" fmla="*/ 219075 h 1831560"/>
                <a:gd name="connsiteX7" fmla="*/ 1381125 w 6000750"/>
                <a:gd name="connsiteY7" fmla="*/ 695325 h 1831560"/>
                <a:gd name="connsiteX8" fmla="*/ 0 w 6000750"/>
                <a:gd name="connsiteY8" fmla="*/ 1266825 h 1831560"/>
                <a:gd name="connsiteX0" fmla="*/ 0 w 6067425"/>
                <a:gd name="connsiteY0" fmla="*/ 1266825 h 1831560"/>
                <a:gd name="connsiteX1" fmla="*/ 1609725 w 6067425"/>
                <a:gd name="connsiteY1" fmla="*/ 1828800 h 1831560"/>
                <a:gd name="connsiteX2" fmla="*/ 2981325 w 6067425"/>
                <a:gd name="connsiteY2" fmla="*/ 1257300 h 1831560"/>
                <a:gd name="connsiteX3" fmla="*/ 4438650 w 6067425"/>
                <a:gd name="connsiteY3" fmla="*/ 952500 h 1831560"/>
                <a:gd name="connsiteX4" fmla="*/ 6067425 w 6067425"/>
                <a:gd name="connsiteY4" fmla="*/ 828675 h 1831560"/>
                <a:gd name="connsiteX5" fmla="*/ 4467225 w 6067425"/>
                <a:gd name="connsiteY5" fmla="*/ 0 h 1831560"/>
                <a:gd name="connsiteX6" fmla="*/ 2809875 w 6067425"/>
                <a:gd name="connsiteY6" fmla="*/ 219075 h 1831560"/>
                <a:gd name="connsiteX7" fmla="*/ 1381125 w 6067425"/>
                <a:gd name="connsiteY7" fmla="*/ 695325 h 1831560"/>
                <a:gd name="connsiteX8" fmla="*/ 0 w 6067425"/>
                <a:gd name="connsiteY8" fmla="*/ 1266825 h 1831560"/>
                <a:gd name="connsiteX0" fmla="*/ 0 w 6067425"/>
                <a:gd name="connsiteY0" fmla="*/ 1276350 h 1841085"/>
                <a:gd name="connsiteX1" fmla="*/ 1609725 w 6067425"/>
                <a:gd name="connsiteY1" fmla="*/ 1838325 h 1841085"/>
                <a:gd name="connsiteX2" fmla="*/ 2981325 w 6067425"/>
                <a:gd name="connsiteY2" fmla="*/ 1266825 h 1841085"/>
                <a:gd name="connsiteX3" fmla="*/ 4438650 w 6067425"/>
                <a:gd name="connsiteY3" fmla="*/ 962025 h 1841085"/>
                <a:gd name="connsiteX4" fmla="*/ 6067425 w 6067425"/>
                <a:gd name="connsiteY4" fmla="*/ 838200 h 1841085"/>
                <a:gd name="connsiteX5" fmla="*/ 4419600 w 6067425"/>
                <a:gd name="connsiteY5" fmla="*/ 0 h 1841085"/>
                <a:gd name="connsiteX6" fmla="*/ 2809875 w 6067425"/>
                <a:gd name="connsiteY6" fmla="*/ 228600 h 1841085"/>
                <a:gd name="connsiteX7" fmla="*/ 1381125 w 6067425"/>
                <a:gd name="connsiteY7" fmla="*/ 704850 h 1841085"/>
                <a:gd name="connsiteX8" fmla="*/ 0 w 6067425"/>
                <a:gd name="connsiteY8" fmla="*/ 1276350 h 1841085"/>
                <a:gd name="connsiteX0" fmla="*/ 0 w 6067425"/>
                <a:gd name="connsiteY0" fmla="*/ 1276350 h 1841085"/>
                <a:gd name="connsiteX1" fmla="*/ 1609725 w 6067425"/>
                <a:gd name="connsiteY1" fmla="*/ 1838325 h 1841085"/>
                <a:gd name="connsiteX2" fmla="*/ 2981325 w 6067425"/>
                <a:gd name="connsiteY2" fmla="*/ 1266825 h 1841085"/>
                <a:gd name="connsiteX3" fmla="*/ 4438650 w 6067425"/>
                <a:gd name="connsiteY3" fmla="*/ 962025 h 1841085"/>
                <a:gd name="connsiteX4" fmla="*/ 6067425 w 6067425"/>
                <a:gd name="connsiteY4" fmla="*/ 838200 h 1841085"/>
                <a:gd name="connsiteX5" fmla="*/ 4419600 w 6067425"/>
                <a:gd name="connsiteY5" fmla="*/ 0 h 1841085"/>
                <a:gd name="connsiteX6" fmla="*/ 2809875 w 6067425"/>
                <a:gd name="connsiteY6" fmla="*/ 228600 h 1841085"/>
                <a:gd name="connsiteX7" fmla="*/ 1381125 w 6067425"/>
                <a:gd name="connsiteY7" fmla="*/ 704850 h 1841085"/>
                <a:gd name="connsiteX8" fmla="*/ 0 w 6067425"/>
                <a:gd name="connsiteY8" fmla="*/ 1276350 h 1841085"/>
                <a:gd name="connsiteX0" fmla="*/ 0 w 6067425"/>
                <a:gd name="connsiteY0" fmla="*/ 1276350 h 1841085"/>
                <a:gd name="connsiteX1" fmla="*/ 1609725 w 6067425"/>
                <a:gd name="connsiteY1" fmla="*/ 1838325 h 1841085"/>
                <a:gd name="connsiteX2" fmla="*/ 2981325 w 6067425"/>
                <a:gd name="connsiteY2" fmla="*/ 1266825 h 1841085"/>
                <a:gd name="connsiteX3" fmla="*/ 4438650 w 6067425"/>
                <a:gd name="connsiteY3" fmla="*/ 962025 h 1841085"/>
                <a:gd name="connsiteX4" fmla="*/ 6067425 w 6067425"/>
                <a:gd name="connsiteY4" fmla="*/ 838200 h 1841085"/>
                <a:gd name="connsiteX5" fmla="*/ 4419600 w 6067425"/>
                <a:gd name="connsiteY5" fmla="*/ 0 h 1841085"/>
                <a:gd name="connsiteX6" fmla="*/ 2809875 w 6067425"/>
                <a:gd name="connsiteY6" fmla="*/ 228600 h 1841085"/>
                <a:gd name="connsiteX7" fmla="*/ 1381125 w 6067425"/>
                <a:gd name="connsiteY7" fmla="*/ 704850 h 1841085"/>
                <a:gd name="connsiteX8" fmla="*/ 0 w 6067425"/>
                <a:gd name="connsiteY8" fmla="*/ 1276350 h 1841085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81125 w 6067425"/>
                <a:gd name="connsiteY7" fmla="*/ 704850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76350 h 1841102"/>
                <a:gd name="connsiteX1" fmla="*/ 1609725 w 6067425"/>
                <a:gd name="connsiteY1" fmla="*/ 1838325 h 1841102"/>
                <a:gd name="connsiteX2" fmla="*/ 2981325 w 6067425"/>
                <a:gd name="connsiteY2" fmla="*/ 1266825 h 1841102"/>
                <a:gd name="connsiteX3" fmla="*/ 4400550 w 6067425"/>
                <a:gd name="connsiteY3" fmla="*/ 942975 h 1841102"/>
                <a:gd name="connsiteX4" fmla="*/ 6067425 w 6067425"/>
                <a:gd name="connsiteY4" fmla="*/ 838200 h 1841102"/>
                <a:gd name="connsiteX5" fmla="*/ 4419600 w 6067425"/>
                <a:gd name="connsiteY5" fmla="*/ 0 h 1841102"/>
                <a:gd name="connsiteX6" fmla="*/ 2809875 w 6067425"/>
                <a:gd name="connsiteY6" fmla="*/ 228600 h 1841102"/>
                <a:gd name="connsiteX7" fmla="*/ 1333500 w 6067425"/>
                <a:gd name="connsiteY7" fmla="*/ 714375 h 1841102"/>
                <a:gd name="connsiteX8" fmla="*/ 0 w 6067425"/>
                <a:gd name="connsiteY8" fmla="*/ 1276350 h 1841102"/>
                <a:gd name="connsiteX0" fmla="*/ 0 w 6067425"/>
                <a:gd name="connsiteY0" fmla="*/ 1293225 h 1857977"/>
                <a:gd name="connsiteX1" fmla="*/ 1609725 w 6067425"/>
                <a:gd name="connsiteY1" fmla="*/ 1855200 h 1857977"/>
                <a:gd name="connsiteX2" fmla="*/ 2981325 w 6067425"/>
                <a:gd name="connsiteY2" fmla="*/ 1283700 h 1857977"/>
                <a:gd name="connsiteX3" fmla="*/ 4400550 w 6067425"/>
                <a:gd name="connsiteY3" fmla="*/ 959850 h 1857977"/>
                <a:gd name="connsiteX4" fmla="*/ 6067425 w 6067425"/>
                <a:gd name="connsiteY4" fmla="*/ 855075 h 1857977"/>
                <a:gd name="connsiteX5" fmla="*/ 4419600 w 6067425"/>
                <a:gd name="connsiteY5" fmla="*/ 16875 h 1857977"/>
                <a:gd name="connsiteX6" fmla="*/ 2809875 w 6067425"/>
                <a:gd name="connsiteY6" fmla="*/ 245475 h 1857977"/>
                <a:gd name="connsiteX7" fmla="*/ 1333500 w 6067425"/>
                <a:gd name="connsiteY7" fmla="*/ 731250 h 1857977"/>
                <a:gd name="connsiteX8" fmla="*/ 0 w 6067425"/>
                <a:gd name="connsiteY8" fmla="*/ 1293225 h 1857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6067425" h="1857977">
                  <a:moveTo>
                    <a:pt x="0" y="1293225"/>
                  </a:moveTo>
                  <a:cubicBezTo>
                    <a:pt x="471487" y="1393237"/>
                    <a:pt x="1320800" y="1669463"/>
                    <a:pt x="1609725" y="1855200"/>
                  </a:cubicBezTo>
                  <a:cubicBezTo>
                    <a:pt x="2098675" y="1898062"/>
                    <a:pt x="2516188" y="1432925"/>
                    <a:pt x="2981325" y="1283700"/>
                  </a:cubicBezTo>
                  <a:cubicBezTo>
                    <a:pt x="3446462" y="1134475"/>
                    <a:pt x="3886200" y="1031287"/>
                    <a:pt x="4400550" y="959850"/>
                  </a:cubicBezTo>
                  <a:cubicBezTo>
                    <a:pt x="4914900" y="888413"/>
                    <a:pt x="5629275" y="1064625"/>
                    <a:pt x="6067425" y="855075"/>
                  </a:cubicBezTo>
                  <a:cubicBezTo>
                    <a:pt x="5924550" y="480425"/>
                    <a:pt x="4972050" y="172450"/>
                    <a:pt x="4419600" y="16875"/>
                  </a:cubicBezTo>
                  <a:cubicBezTo>
                    <a:pt x="3937000" y="48625"/>
                    <a:pt x="4094709" y="-134510"/>
                    <a:pt x="2809875" y="245475"/>
                  </a:cubicBezTo>
                  <a:cubicBezTo>
                    <a:pt x="1967539" y="481046"/>
                    <a:pt x="2268537" y="185150"/>
                    <a:pt x="1333500" y="731250"/>
                  </a:cubicBezTo>
                  <a:cubicBezTo>
                    <a:pt x="901908" y="983318"/>
                    <a:pt x="569913" y="947150"/>
                    <a:pt x="0" y="1293225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 w="15875">
              <a:solidFill>
                <a:srgbClr val="00B0F0"/>
              </a:solidFill>
              <a:prstDash val="sys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8" name="Figura a mano libera 7"/>
            <p:cNvSpPr/>
            <p:nvPr/>
          </p:nvSpPr>
          <p:spPr>
            <a:xfrm>
              <a:off x="2426593" y="2010610"/>
              <a:ext cx="1330351" cy="1073830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699"/>
                <a:gd name="connsiteX1" fmla="*/ 9525 w 1628775"/>
                <a:gd name="connsiteY1" fmla="*/ 609600 h 1171699"/>
                <a:gd name="connsiteX2" fmla="*/ 1628775 w 1628775"/>
                <a:gd name="connsiteY2" fmla="*/ 1171575 h 1171699"/>
                <a:gd name="connsiteX3" fmla="*/ 1590675 w 1628775"/>
                <a:gd name="connsiteY3" fmla="*/ 561975 h 1171699"/>
                <a:gd name="connsiteX4" fmla="*/ 809625 w 1628775"/>
                <a:gd name="connsiteY4" fmla="*/ 228600 h 1171699"/>
                <a:gd name="connsiteX5" fmla="*/ 0 w 1628775"/>
                <a:gd name="connsiteY5" fmla="*/ 0 h 1171699"/>
                <a:gd name="connsiteX0" fmla="*/ 0 w 1628775"/>
                <a:gd name="connsiteY0" fmla="*/ 124 h 1171823"/>
                <a:gd name="connsiteX1" fmla="*/ 9525 w 1628775"/>
                <a:gd name="connsiteY1" fmla="*/ 609724 h 1171823"/>
                <a:gd name="connsiteX2" fmla="*/ 1628775 w 1628775"/>
                <a:gd name="connsiteY2" fmla="*/ 1171699 h 1171823"/>
                <a:gd name="connsiteX3" fmla="*/ 1590675 w 1628775"/>
                <a:gd name="connsiteY3" fmla="*/ 562099 h 1171823"/>
                <a:gd name="connsiteX4" fmla="*/ 0 w 1628775"/>
                <a:gd name="connsiteY4" fmla="*/ 124 h 1171823"/>
                <a:gd name="connsiteX0" fmla="*/ 0 w 1609725"/>
                <a:gd name="connsiteY0" fmla="*/ 124 h 1286094"/>
                <a:gd name="connsiteX1" fmla="*/ 9525 w 1609725"/>
                <a:gd name="connsiteY1" fmla="*/ 609724 h 1286094"/>
                <a:gd name="connsiteX2" fmla="*/ 1609725 w 1609725"/>
                <a:gd name="connsiteY2" fmla="*/ 1285999 h 1286094"/>
                <a:gd name="connsiteX3" fmla="*/ 1590675 w 1609725"/>
                <a:gd name="connsiteY3" fmla="*/ 562099 h 1286094"/>
                <a:gd name="connsiteX4" fmla="*/ 0 w 1609725"/>
                <a:gd name="connsiteY4" fmla="*/ 124 h 1286094"/>
                <a:gd name="connsiteX0" fmla="*/ 0 w 1609725"/>
                <a:gd name="connsiteY0" fmla="*/ 124 h 1286065"/>
                <a:gd name="connsiteX1" fmla="*/ 0 w 1609725"/>
                <a:gd name="connsiteY1" fmla="*/ 390649 h 1286065"/>
                <a:gd name="connsiteX2" fmla="*/ 1609725 w 1609725"/>
                <a:gd name="connsiteY2" fmla="*/ 1285999 h 1286065"/>
                <a:gd name="connsiteX3" fmla="*/ 1590675 w 1609725"/>
                <a:gd name="connsiteY3" fmla="*/ 562099 h 1286065"/>
                <a:gd name="connsiteX4" fmla="*/ 0 w 1609725"/>
                <a:gd name="connsiteY4" fmla="*/ 124 h 1286065"/>
                <a:gd name="connsiteX0" fmla="*/ 0 w 1609725"/>
                <a:gd name="connsiteY0" fmla="*/ 2557 h 1288498"/>
                <a:gd name="connsiteX1" fmla="*/ 0 w 1609725"/>
                <a:gd name="connsiteY1" fmla="*/ 393082 h 1288498"/>
                <a:gd name="connsiteX2" fmla="*/ 1609725 w 1609725"/>
                <a:gd name="connsiteY2" fmla="*/ 1288432 h 1288498"/>
                <a:gd name="connsiteX3" fmla="*/ 1590675 w 1609725"/>
                <a:gd name="connsiteY3" fmla="*/ 564532 h 1288498"/>
                <a:gd name="connsiteX4" fmla="*/ 743885 w 1609725"/>
                <a:gd name="connsiteY4" fmla="*/ 249019 h 1288498"/>
                <a:gd name="connsiteX5" fmla="*/ 0 w 1609725"/>
                <a:gd name="connsiteY5" fmla="*/ 2557 h 1288498"/>
                <a:gd name="connsiteX0" fmla="*/ 0 w 1609725"/>
                <a:gd name="connsiteY0" fmla="*/ 2557 h 1288498"/>
                <a:gd name="connsiteX1" fmla="*/ 0 w 1609725"/>
                <a:gd name="connsiteY1" fmla="*/ 393082 h 1288498"/>
                <a:gd name="connsiteX2" fmla="*/ 1609725 w 1609725"/>
                <a:gd name="connsiteY2" fmla="*/ 1288432 h 1288498"/>
                <a:gd name="connsiteX3" fmla="*/ 1590675 w 1609725"/>
                <a:gd name="connsiteY3" fmla="*/ 564532 h 1288498"/>
                <a:gd name="connsiteX4" fmla="*/ 743885 w 1609725"/>
                <a:gd name="connsiteY4" fmla="*/ 249019 h 1288498"/>
                <a:gd name="connsiteX5" fmla="*/ 0 w 1609725"/>
                <a:gd name="connsiteY5" fmla="*/ 2557 h 1288498"/>
                <a:gd name="connsiteX0" fmla="*/ 0 w 1609725"/>
                <a:gd name="connsiteY0" fmla="*/ 2557 h 1303956"/>
                <a:gd name="connsiteX1" fmla="*/ 0 w 1609725"/>
                <a:gd name="connsiteY1" fmla="*/ 393082 h 1303956"/>
                <a:gd name="connsiteX2" fmla="*/ 960359 w 1609725"/>
                <a:gd name="connsiteY2" fmla="*/ 934522 h 1303956"/>
                <a:gd name="connsiteX3" fmla="*/ 1609725 w 1609725"/>
                <a:gd name="connsiteY3" fmla="*/ 1288432 h 1303956"/>
                <a:gd name="connsiteX4" fmla="*/ 1590675 w 1609725"/>
                <a:gd name="connsiteY4" fmla="*/ 564532 h 1303956"/>
                <a:gd name="connsiteX5" fmla="*/ 743885 w 1609725"/>
                <a:gd name="connsiteY5" fmla="*/ 249019 h 1303956"/>
                <a:gd name="connsiteX6" fmla="*/ 0 w 1609725"/>
                <a:gd name="connsiteY6" fmla="*/ 2557 h 1303956"/>
                <a:gd name="connsiteX0" fmla="*/ 0 w 1609725"/>
                <a:gd name="connsiteY0" fmla="*/ 2557 h 1303956"/>
                <a:gd name="connsiteX1" fmla="*/ 0 w 1609725"/>
                <a:gd name="connsiteY1" fmla="*/ 393082 h 1303956"/>
                <a:gd name="connsiteX2" fmla="*/ 960359 w 1609725"/>
                <a:gd name="connsiteY2" fmla="*/ 934522 h 1303956"/>
                <a:gd name="connsiteX3" fmla="*/ 1609725 w 1609725"/>
                <a:gd name="connsiteY3" fmla="*/ 1288432 h 1303956"/>
                <a:gd name="connsiteX4" fmla="*/ 1590675 w 1609725"/>
                <a:gd name="connsiteY4" fmla="*/ 564532 h 1303956"/>
                <a:gd name="connsiteX5" fmla="*/ 743885 w 1609725"/>
                <a:gd name="connsiteY5" fmla="*/ 249019 h 1303956"/>
                <a:gd name="connsiteX6" fmla="*/ 0 w 1609725"/>
                <a:gd name="connsiteY6" fmla="*/ 2557 h 1303956"/>
                <a:gd name="connsiteX0" fmla="*/ 0 w 1609725"/>
                <a:gd name="connsiteY0" fmla="*/ 2557 h 1301111"/>
                <a:gd name="connsiteX1" fmla="*/ 0 w 1609725"/>
                <a:gd name="connsiteY1" fmla="*/ 393082 h 1301111"/>
                <a:gd name="connsiteX2" fmla="*/ 960359 w 1609725"/>
                <a:gd name="connsiteY2" fmla="*/ 934522 h 1301111"/>
                <a:gd name="connsiteX3" fmla="*/ 1609725 w 1609725"/>
                <a:gd name="connsiteY3" fmla="*/ 1288432 h 1301111"/>
                <a:gd name="connsiteX4" fmla="*/ 1590675 w 1609725"/>
                <a:gd name="connsiteY4" fmla="*/ 564532 h 1301111"/>
                <a:gd name="connsiteX5" fmla="*/ 743885 w 1609725"/>
                <a:gd name="connsiteY5" fmla="*/ 249019 h 1301111"/>
                <a:gd name="connsiteX6" fmla="*/ 0 w 1609725"/>
                <a:gd name="connsiteY6" fmla="*/ 2557 h 1301111"/>
                <a:gd name="connsiteX0" fmla="*/ 0 w 1609725"/>
                <a:gd name="connsiteY0" fmla="*/ 2557 h 1299315"/>
                <a:gd name="connsiteX1" fmla="*/ 0 w 1609725"/>
                <a:gd name="connsiteY1" fmla="*/ 393082 h 1299315"/>
                <a:gd name="connsiteX2" fmla="*/ 816044 w 1609725"/>
                <a:gd name="connsiteY2" fmla="*/ 862364 h 1299315"/>
                <a:gd name="connsiteX3" fmla="*/ 1609725 w 1609725"/>
                <a:gd name="connsiteY3" fmla="*/ 1288432 h 1299315"/>
                <a:gd name="connsiteX4" fmla="*/ 1590675 w 1609725"/>
                <a:gd name="connsiteY4" fmla="*/ 564532 h 1299315"/>
                <a:gd name="connsiteX5" fmla="*/ 743885 w 1609725"/>
                <a:gd name="connsiteY5" fmla="*/ 249019 h 1299315"/>
                <a:gd name="connsiteX6" fmla="*/ 0 w 1609725"/>
                <a:gd name="connsiteY6" fmla="*/ 2557 h 1299315"/>
                <a:gd name="connsiteX0" fmla="*/ 0 w 1609725"/>
                <a:gd name="connsiteY0" fmla="*/ 2557 h 1299315"/>
                <a:gd name="connsiteX1" fmla="*/ 0 w 1609725"/>
                <a:gd name="connsiteY1" fmla="*/ 393082 h 1299315"/>
                <a:gd name="connsiteX2" fmla="*/ 816044 w 1609725"/>
                <a:gd name="connsiteY2" fmla="*/ 862364 h 1299315"/>
                <a:gd name="connsiteX3" fmla="*/ 1609725 w 1609725"/>
                <a:gd name="connsiteY3" fmla="*/ 1288432 h 1299315"/>
                <a:gd name="connsiteX4" fmla="*/ 1590675 w 1609725"/>
                <a:gd name="connsiteY4" fmla="*/ 564532 h 1299315"/>
                <a:gd name="connsiteX5" fmla="*/ 743885 w 1609725"/>
                <a:gd name="connsiteY5" fmla="*/ 249019 h 1299315"/>
                <a:gd name="connsiteX6" fmla="*/ 0 w 1609725"/>
                <a:gd name="connsiteY6" fmla="*/ 2557 h 1299315"/>
                <a:gd name="connsiteX0" fmla="*/ 0 w 1609725"/>
                <a:gd name="connsiteY0" fmla="*/ 1728 h 1298486"/>
                <a:gd name="connsiteX1" fmla="*/ 0 w 1609725"/>
                <a:gd name="connsiteY1" fmla="*/ 392253 h 1298486"/>
                <a:gd name="connsiteX2" fmla="*/ 816044 w 1609725"/>
                <a:gd name="connsiteY2" fmla="*/ 861535 h 1298486"/>
                <a:gd name="connsiteX3" fmla="*/ 1609725 w 1609725"/>
                <a:gd name="connsiteY3" fmla="*/ 1287603 h 1298486"/>
                <a:gd name="connsiteX4" fmla="*/ 1590675 w 1609725"/>
                <a:gd name="connsiteY4" fmla="*/ 563703 h 1298486"/>
                <a:gd name="connsiteX5" fmla="*/ 791990 w 1609725"/>
                <a:gd name="connsiteY5" fmla="*/ 344401 h 1298486"/>
                <a:gd name="connsiteX6" fmla="*/ 0 w 1609725"/>
                <a:gd name="connsiteY6" fmla="*/ 1728 h 1298486"/>
                <a:gd name="connsiteX0" fmla="*/ 0 w 1609725"/>
                <a:gd name="connsiteY0" fmla="*/ 1438 h 1298196"/>
                <a:gd name="connsiteX1" fmla="*/ 0 w 1609725"/>
                <a:gd name="connsiteY1" fmla="*/ 391963 h 1298196"/>
                <a:gd name="connsiteX2" fmla="*/ 816044 w 1609725"/>
                <a:gd name="connsiteY2" fmla="*/ 861245 h 1298196"/>
                <a:gd name="connsiteX3" fmla="*/ 1609725 w 1609725"/>
                <a:gd name="connsiteY3" fmla="*/ 1287313 h 1298196"/>
                <a:gd name="connsiteX4" fmla="*/ 1590675 w 1609725"/>
                <a:gd name="connsiteY4" fmla="*/ 563413 h 1298196"/>
                <a:gd name="connsiteX5" fmla="*/ 791990 w 1609725"/>
                <a:gd name="connsiteY5" fmla="*/ 344111 h 1298196"/>
                <a:gd name="connsiteX6" fmla="*/ 0 w 1609725"/>
                <a:gd name="connsiteY6" fmla="*/ 1438 h 1298196"/>
                <a:gd name="connsiteX0" fmla="*/ 0 w 1609725"/>
                <a:gd name="connsiteY0" fmla="*/ 2575 h 1299333"/>
                <a:gd name="connsiteX1" fmla="*/ 0 w 1609725"/>
                <a:gd name="connsiteY1" fmla="*/ 393100 h 1299333"/>
                <a:gd name="connsiteX2" fmla="*/ 816044 w 1609725"/>
                <a:gd name="connsiteY2" fmla="*/ 862382 h 1299333"/>
                <a:gd name="connsiteX3" fmla="*/ 1609725 w 1609725"/>
                <a:gd name="connsiteY3" fmla="*/ 1288450 h 1299333"/>
                <a:gd name="connsiteX4" fmla="*/ 1590675 w 1609725"/>
                <a:gd name="connsiteY4" fmla="*/ 564550 h 1299333"/>
                <a:gd name="connsiteX5" fmla="*/ 767938 w 1609725"/>
                <a:gd name="connsiteY5" fmla="*/ 188905 h 1299333"/>
                <a:gd name="connsiteX6" fmla="*/ 0 w 1609725"/>
                <a:gd name="connsiteY6" fmla="*/ 2575 h 1299333"/>
                <a:gd name="connsiteX0" fmla="*/ 0 w 1609725"/>
                <a:gd name="connsiteY0" fmla="*/ 2575 h 1299333"/>
                <a:gd name="connsiteX1" fmla="*/ 0 w 1609725"/>
                <a:gd name="connsiteY1" fmla="*/ 393100 h 1299333"/>
                <a:gd name="connsiteX2" fmla="*/ 816044 w 1609725"/>
                <a:gd name="connsiteY2" fmla="*/ 862382 h 1299333"/>
                <a:gd name="connsiteX3" fmla="*/ 1609725 w 1609725"/>
                <a:gd name="connsiteY3" fmla="*/ 1288450 h 1299333"/>
                <a:gd name="connsiteX4" fmla="*/ 1590675 w 1609725"/>
                <a:gd name="connsiteY4" fmla="*/ 564550 h 1299333"/>
                <a:gd name="connsiteX5" fmla="*/ 767938 w 1609725"/>
                <a:gd name="connsiteY5" fmla="*/ 188905 h 1299333"/>
                <a:gd name="connsiteX6" fmla="*/ 0 w 1609725"/>
                <a:gd name="connsiteY6" fmla="*/ 2575 h 1299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09725" h="1299333">
                  <a:moveTo>
                    <a:pt x="0" y="2575"/>
                  </a:moveTo>
                  <a:lnTo>
                    <a:pt x="0" y="393100"/>
                  </a:lnTo>
                  <a:cubicBezTo>
                    <a:pt x="182108" y="572480"/>
                    <a:pt x="379387" y="797341"/>
                    <a:pt x="816044" y="862382"/>
                  </a:cubicBezTo>
                  <a:cubicBezTo>
                    <a:pt x="1132436" y="927422"/>
                    <a:pt x="1526721" y="1374168"/>
                    <a:pt x="1609725" y="1288450"/>
                  </a:cubicBezTo>
                  <a:lnTo>
                    <a:pt x="1590675" y="564550"/>
                  </a:lnTo>
                  <a:cubicBezTo>
                    <a:pt x="1466412" y="389310"/>
                    <a:pt x="1141287" y="174331"/>
                    <a:pt x="767938" y="188905"/>
                  </a:cubicBezTo>
                  <a:cubicBezTo>
                    <a:pt x="394589" y="155376"/>
                    <a:pt x="144024" y="-23440"/>
                    <a:pt x="0" y="2575"/>
                  </a:cubicBez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9" name="Figura a mano libera 8"/>
            <p:cNvSpPr/>
            <p:nvPr/>
          </p:nvSpPr>
          <p:spPr>
            <a:xfrm>
              <a:off x="3623121" y="1654568"/>
              <a:ext cx="1330351" cy="952500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699"/>
                <a:gd name="connsiteX1" fmla="*/ 9525 w 1628775"/>
                <a:gd name="connsiteY1" fmla="*/ 609600 h 1171699"/>
                <a:gd name="connsiteX2" fmla="*/ 1628775 w 1628775"/>
                <a:gd name="connsiteY2" fmla="*/ 1171575 h 1171699"/>
                <a:gd name="connsiteX3" fmla="*/ 1590675 w 1628775"/>
                <a:gd name="connsiteY3" fmla="*/ 561975 h 1171699"/>
                <a:gd name="connsiteX4" fmla="*/ 809625 w 1628775"/>
                <a:gd name="connsiteY4" fmla="*/ 228600 h 1171699"/>
                <a:gd name="connsiteX5" fmla="*/ 0 w 1628775"/>
                <a:gd name="connsiteY5" fmla="*/ 0 h 1171699"/>
                <a:gd name="connsiteX0" fmla="*/ 0 w 1628775"/>
                <a:gd name="connsiteY0" fmla="*/ 124 h 1171823"/>
                <a:gd name="connsiteX1" fmla="*/ 9525 w 1628775"/>
                <a:gd name="connsiteY1" fmla="*/ 609724 h 1171823"/>
                <a:gd name="connsiteX2" fmla="*/ 1628775 w 1628775"/>
                <a:gd name="connsiteY2" fmla="*/ 1171699 h 1171823"/>
                <a:gd name="connsiteX3" fmla="*/ 1590675 w 1628775"/>
                <a:gd name="connsiteY3" fmla="*/ 562099 h 1171823"/>
                <a:gd name="connsiteX4" fmla="*/ 0 w 1628775"/>
                <a:gd name="connsiteY4" fmla="*/ 124 h 1171823"/>
                <a:gd name="connsiteX0" fmla="*/ 0 w 1628775"/>
                <a:gd name="connsiteY0" fmla="*/ 124 h 1171787"/>
                <a:gd name="connsiteX1" fmla="*/ 0 w 1628775"/>
                <a:gd name="connsiteY1" fmla="*/ 457324 h 1171787"/>
                <a:gd name="connsiteX2" fmla="*/ 1628775 w 1628775"/>
                <a:gd name="connsiteY2" fmla="*/ 1171699 h 1171787"/>
                <a:gd name="connsiteX3" fmla="*/ 1590675 w 1628775"/>
                <a:gd name="connsiteY3" fmla="*/ 562099 h 1171787"/>
                <a:gd name="connsiteX4" fmla="*/ 0 w 1628775"/>
                <a:gd name="connsiteY4" fmla="*/ 124 h 1171787"/>
                <a:gd name="connsiteX0" fmla="*/ 0 w 1638300"/>
                <a:gd name="connsiteY0" fmla="*/ 93 h 1295581"/>
                <a:gd name="connsiteX1" fmla="*/ 9525 w 1638300"/>
                <a:gd name="connsiteY1" fmla="*/ 581118 h 1295581"/>
                <a:gd name="connsiteX2" fmla="*/ 1638300 w 1638300"/>
                <a:gd name="connsiteY2" fmla="*/ 1295493 h 1295581"/>
                <a:gd name="connsiteX3" fmla="*/ 1600200 w 1638300"/>
                <a:gd name="connsiteY3" fmla="*/ 685893 h 1295581"/>
                <a:gd name="connsiteX4" fmla="*/ 0 w 1638300"/>
                <a:gd name="connsiteY4" fmla="*/ 93 h 1295581"/>
                <a:gd name="connsiteX0" fmla="*/ 0 w 1609725"/>
                <a:gd name="connsiteY0" fmla="*/ 93 h 1152739"/>
                <a:gd name="connsiteX1" fmla="*/ 9525 w 1609725"/>
                <a:gd name="connsiteY1" fmla="*/ 581118 h 1152739"/>
                <a:gd name="connsiteX2" fmla="*/ 1609725 w 1609725"/>
                <a:gd name="connsiteY2" fmla="*/ 1152618 h 1152739"/>
                <a:gd name="connsiteX3" fmla="*/ 1600200 w 1609725"/>
                <a:gd name="connsiteY3" fmla="*/ 685893 h 1152739"/>
                <a:gd name="connsiteX4" fmla="*/ 0 w 1609725"/>
                <a:gd name="connsiteY4" fmla="*/ 93 h 1152739"/>
                <a:gd name="connsiteX0" fmla="*/ 0 w 1609725"/>
                <a:gd name="connsiteY0" fmla="*/ 93 h 1152618"/>
                <a:gd name="connsiteX1" fmla="*/ 9525 w 1609725"/>
                <a:gd name="connsiteY1" fmla="*/ 581118 h 1152618"/>
                <a:gd name="connsiteX2" fmla="*/ 1609725 w 1609725"/>
                <a:gd name="connsiteY2" fmla="*/ 1152618 h 1152618"/>
                <a:gd name="connsiteX3" fmla="*/ 1600200 w 1609725"/>
                <a:gd name="connsiteY3" fmla="*/ 685893 h 1152618"/>
                <a:gd name="connsiteX4" fmla="*/ 0 w 1609725"/>
                <a:gd name="connsiteY4" fmla="*/ 93 h 1152618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600200 w 1609725"/>
                <a:gd name="connsiteY3" fmla="*/ 685800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571625 w 1609725"/>
                <a:gd name="connsiteY3" fmla="*/ 676275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571625 w 1609725"/>
                <a:gd name="connsiteY3" fmla="*/ 676275 h 1152525"/>
                <a:gd name="connsiteX4" fmla="*/ 0 w 1609725"/>
                <a:gd name="connsiteY4" fmla="*/ 0 h 1152525"/>
                <a:gd name="connsiteX0" fmla="*/ 0 w 1609725"/>
                <a:gd name="connsiteY0" fmla="*/ 0 h 1152525"/>
                <a:gd name="connsiteX1" fmla="*/ 9525 w 1609725"/>
                <a:gd name="connsiteY1" fmla="*/ 581025 h 1152525"/>
                <a:gd name="connsiteX2" fmla="*/ 1609725 w 1609725"/>
                <a:gd name="connsiteY2" fmla="*/ 1152525 h 1152525"/>
                <a:gd name="connsiteX3" fmla="*/ 1609725 w 1609725"/>
                <a:gd name="connsiteY3" fmla="*/ 685800 h 1152525"/>
                <a:gd name="connsiteX4" fmla="*/ 0 w 1609725"/>
                <a:gd name="connsiteY4" fmla="*/ 0 h 11525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09725" h="1152525">
                  <a:moveTo>
                    <a:pt x="0" y="0"/>
                  </a:moveTo>
                  <a:lnTo>
                    <a:pt x="9525" y="581025"/>
                  </a:lnTo>
                  <a:cubicBezTo>
                    <a:pt x="280987" y="776287"/>
                    <a:pt x="1403350" y="941387"/>
                    <a:pt x="1609725" y="1152525"/>
                  </a:cubicBezTo>
                  <a:lnTo>
                    <a:pt x="1609725" y="685800"/>
                  </a:lnTo>
                  <a:cubicBezTo>
                    <a:pt x="1347788" y="366713"/>
                    <a:pt x="234950" y="249238"/>
                    <a:pt x="0" y="0"/>
                  </a:cubicBez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0" name="Figura a mano libera 9"/>
            <p:cNvSpPr/>
            <p:nvPr/>
          </p:nvSpPr>
          <p:spPr>
            <a:xfrm>
              <a:off x="4961345" y="1442027"/>
              <a:ext cx="1353967" cy="968244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800100 w 1628775"/>
                <a:gd name="connsiteY2" fmla="*/ 1000125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38300"/>
                <a:gd name="connsiteY0" fmla="*/ 0 h 1171575"/>
                <a:gd name="connsiteX1" fmla="*/ 9525 w 1638300"/>
                <a:gd name="connsiteY1" fmla="*/ 6096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09625 w 1638300"/>
                <a:gd name="connsiteY5" fmla="*/ 228600 h 1171575"/>
                <a:gd name="connsiteX6" fmla="*/ 0 w 1638300"/>
                <a:gd name="connsiteY6" fmla="*/ 0 h 1171575"/>
                <a:gd name="connsiteX0" fmla="*/ 0 w 1638300"/>
                <a:gd name="connsiteY0" fmla="*/ 0 h 1171575"/>
                <a:gd name="connsiteX1" fmla="*/ 9525 w 1638300"/>
                <a:gd name="connsiteY1" fmla="*/ 6096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19150 w 1638300"/>
                <a:gd name="connsiteY5" fmla="*/ 285750 h 1171575"/>
                <a:gd name="connsiteX6" fmla="*/ 0 w 1638300"/>
                <a:gd name="connsiteY6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19150 w 1638300"/>
                <a:gd name="connsiteY5" fmla="*/ 285750 h 1171575"/>
                <a:gd name="connsiteX6" fmla="*/ 0 w 1638300"/>
                <a:gd name="connsiteY6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800100 w 1638300"/>
                <a:gd name="connsiteY2" fmla="*/ 1000125 h 1171575"/>
                <a:gd name="connsiteX3" fmla="*/ 1628775 w 1638300"/>
                <a:gd name="connsiteY3" fmla="*/ 1171575 h 1171575"/>
                <a:gd name="connsiteX4" fmla="*/ 1638300 w 1638300"/>
                <a:gd name="connsiteY4" fmla="*/ 857250 h 1171575"/>
                <a:gd name="connsiteX5" fmla="*/ 819150 w 1638300"/>
                <a:gd name="connsiteY5" fmla="*/ 285750 h 1171575"/>
                <a:gd name="connsiteX6" fmla="*/ 0 w 1638300"/>
                <a:gd name="connsiteY6" fmla="*/ 0 h 1171575"/>
                <a:gd name="connsiteX0" fmla="*/ 0 w 1638300"/>
                <a:gd name="connsiteY0" fmla="*/ 0 h 1183742"/>
                <a:gd name="connsiteX1" fmla="*/ 0 w 1638300"/>
                <a:gd name="connsiteY1" fmla="*/ 457200 h 1183742"/>
                <a:gd name="connsiteX2" fmla="*/ 800100 w 1638300"/>
                <a:gd name="connsiteY2" fmla="*/ 1000125 h 1183742"/>
                <a:gd name="connsiteX3" fmla="*/ 1628775 w 1638300"/>
                <a:gd name="connsiteY3" fmla="*/ 1171575 h 1183742"/>
                <a:gd name="connsiteX4" fmla="*/ 1638300 w 1638300"/>
                <a:gd name="connsiteY4" fmla="*/ 857250 h 1183742"/>
                <a:gd name="connsiteX5" fmla="*/ 819150 w 1638300"/>
                <a:gd name="connsiteY5" fmla="*/ 285750 h 1183742"/>
                <a:gd name="connsiteX6" fmla="*/ 0 w 1638300"/>
                <a:gd name="connsiteY6" fmla="*/ 0 h 1183742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819150 w 1638300"/>
                <a:gd name="connsiteY4" fmla="*/ 285750 h 1171575"/>
                <a:gd name="connsiteX5" fmla="*/ 0 w 1638300"/>
                <a:gd name="connsiteY5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819150 w 1638300"/>
                <a:gd name="connsiteY4" fmla="*/ 285750 h 1171575"/>
                <a:gd name="connsiteX5" fmla="*/ 0 w 1638300"/>
                <a:gd name="connsiteY5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  <a:gd name="connsiteX0" fmla="*/ 0 w 1638300"/>
                <a:gd name="connsiteY0" fmla="*/ 0 h 1171575"/>
                <a:gd name="connsiteX1" fmla="*/ 0 w 1638300"/>
                <a:gd name="connsiteY1" fmla="*/ 457200 h 1171575"/>
                <a:gd name="connsiteX2" fmla="*/ 1628775 w 1638300"/>
                <a:gd name="connsiteY2" fmla="*/ 1171575 h 1171575"/>
                <a:gd name="connsiteX3" fmla="*/ 1638300 w 1638300"/>
                <a:gd name="connsiteY3" fmla="*/ 857250 h 1171575"/>
                <a:gd name="connsiteX4" fmla="*/ 0 w 1638300"/>
                <a:gd name="connsiteY4" fmla="*/ 0 h 11715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638300" h="1171575">
                  <a:moveTo>
                    <a:pt x="0" y="0"/>
                  </a:moveTo>
                  <a:lnTo>
                    <a:pt x="0" y="457200"/>
                  </a:lnTo>
                  <a:cubicBezTo>
                    <a:pt x="757237" y="623887"/>
                    <a:pt x="898525" y="1066800"/>
                    <a:pt x="1628775" y="1171575"/>
                  </a:cubicBezTo>
                  <a:lnTo>
                    <a:pt x="1638300" y="857250"/>
                  </a:lnTo>
                  <a:cubicBezTo>
                    <a:pt x="1576388" y="385763"/>
                    <a:pt x="273050" y="66675"/>
                    <a:pt x="0" y="0"/>
                  </a:cubicBez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Ovale 19"/>
            <p:cNvSpPr/>
            <p:nvPr/>
          </p:nvSpPr>
          <p:spPr>
            <a:xfrm>
              <a:off x="3678224" y="3023165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3748584" y="3074500"/>
              <a:ext cx="417211" cy="72739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G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Ovale 22"/>
            <p:cNvSpPr/>
            <p:nvPr/>
          </p:nvSpPr>
          <p:spPr>
            <a:xfrm>
              <a:off x="4890497" y="2547058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4960857" y="2598392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F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6" name="Ovale 25"/>
            <p:cNvSpPr/>
            <p:nvPr/>
          </p:nvSpPr>
          <p:spPr>
            <a:xfrm>
              <a:off x="6268081" y="2365784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6338441" y="2417118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E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5" name="Ovale 34"/>
            <p:cNvSpPr/>
            <p:nvPr/>
          </p:nvSpPr>
          <p:spPr>
            <a:xfrm>
              <a:off x="2375425" y="1949085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6" name="CasellaDiTesto 35"/>
            <p:cNvSpPr txBox="1"/>
            <p:nvPr/>
          </p:nvSpPr>
          <p:spPr>
            <a:xfrm>
              <a:off x="2445785" y="1677672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B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8" name="Ovale 37"/>
            <p:cNvSpPr/>
            <p:nvPr/>
          </p:nvSpPr>
          <p:spPr>
            <a:xfrm>
              <a:off x="3560391" y="1588351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9" name="CasellaDiTesto 38"/>
            <p:cNvSpPr txBox="1"/>
            <p:nvPr/>
          </p:nvSpPr>
          <p:spPr>
            <a:xfrm>
              <a:off x="3583519" y="1332682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C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41" name="Ovale 40"/>
            <p:cNvSpPr/>
            <p:nvPr/>
          </p:nvSpPr>
          <p:spPr>
            <a:xfrm>
              <a:off x="4909933" y="1365543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44" name="Ovale 43"/>
            <p:cNvSpPr/>
            <p:nvPr/>
          </p:nvSpPr>
          <p:spPr>
            <a:xfrm>
              <a:off x="6260209" y="2047484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45" name="CasellaDiTesto 44"/>
            <p:cNvSpPr txBox="1"/>
            <p:nvPr/>
          </p:nvSpPr>
          <p:spPr>
            <a:xfrm>
              <a:off x="6330569" y="1831175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E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47" name="Ovale 46"/>
            <p:cNvSpPr/>
            <p:nvPr/>
          </p:nvSpPr>
          <p:spPr>
            <a:xfrm>
              <a:off x="4890498" y="2133973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952986" y="1941280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F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0" name="Ovale 49"/>
            <p:cNvSpPr/>
            <p:nvPr/>
          </p:nvSpPr>
          <p:spPr>
            <a:xfrm>
              <a:off x="2379848" y="2318474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2450207" y="2078548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B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3" name="Ovale 52"/>
            <p:cNvSpPr/>
            <p:nvPr/>
          </p:nvSpPr>
          <p:spPr>
            <a:xfrm>
              <a:off x="3551543" y="2106008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3621902" y="1889698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C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6" name="Ovale 55"/>
            <p:cNvSpPr/>
            <p:nvPr/>
          </p:nvSpPr>
          <p:spPr>
            <a:xfrm>
              <a:off x="4909933" y="1769290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4980292" y="1608084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D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9" name="Ovale 58"/>
            <p:cNvSpPr/>
            <p:nvPr/>
          </p:nvSpPr>
          <p:spPr>
            <a:xfrm>
              <a:off x="3677980" y="2415983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60" name="CasellaDiTesto 59"/>
            <p:cNvSpPr txBox="1"/>
            <p:nvPr/>
          </p:nvSpPr>
          <p:spPr>
            <a:xfrm>
              <a:off x="3740468" y="2223289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G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" name="Figura a mano libera 2"/>
            <p:cNvSpPr/>
            <p:nvPr/>
          </p:nvSpPr>
          <p:spPr>
            <a:xfrm>
              <a:off x="1300910" y="2496754"/>
              <a:ext cx="1349125" cy="968351"/>
            </a:xfrm>
            <a:custGeom>
              <a:avLst/>
              <a:gdLst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123950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714500"/>
                <a:gd name="connsiteY0" fmla="*/ 0 h 1200150"/>
                <a:gd name="connsiteX1" fmla="*/ 95250 w 1714500"/>
                <a:gd name="connsiteY1" fmla="*/ 638175 h 1200150"/>
                <a:gd name="connsiteX2" fmla="*/ 1095375 w 1714500"/>
                <a:gd name="connsiteY2" fmla="*/ 676275 h 1200150"/>
                <a:gd name="connsiteX3" fmla="*/ 1714500 w 1714500"/>
                <a:gd name="connsiteY3" fmla="*/ 1200150 h 1200150"/>
                <a:gd name="connsiteX4" fmla="*/ 1676400 w 1714500"/>
                <a:gd name="connsiteY4" fmla="*/ 590550 h 1200150"/>
                <a:gd name="connsiteX5" fmla="*/ 895350 w 1714500"/>
                <a:gd name="connsiteY5" fmla="*/ 257175 h 1200150"/>
                <a:gd name="connsiteX6" fmla="*/ 0 w 1714500"/>
                <a:gd name="connsiteY6" fmla="*/ 0 h 120015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38300"/>
                <a:gd name="connsiteY0" fmla="*/ 0 h 1181100"/>
                <a:gd name="connsiteX1" fmla="*/ 19050 w 1638300"/>
                <a:gd name="connsiteY1" fmla="*/ 619125 h 1181100"/>
                <a:gd name="connsiteX2" fmla="*/ 1019175 w 1638300"/>
                <a:gd name="connsiteY2" fmla="*/ 657225 h 1181100"/>
                <a:gd name="connsiteX3" fmla="*/ 1638300 w 1638300"/>
                <a:gd name="connsiteY3" fmla="*/ 1181100 h 1181100"/>
                <a:gd name="connsiteX4" fmla="*/ 1600200 w 1638300"/>
                <a:gd name="connsiteY4" fmla="*/ 571500 h 1181100"/>
                <a:gd name="connsiteX5" fmla="*/ 819150 w 1638300"/>
                <a:gd name="connsiteY5" fmla="*/ 238125 h 1181100"/>
                <a:gd name="connsiteX6" fmla="*/ 0 w 1638300"/>
                <a:gd name="connsiteY6" fmla="*/ 0 h 1181100"/>
                <a:gd name="connsiteX0" fmla="*/ 0 w 1628775"/>
                <a:gd name="connsiteY0" fmla="*/ 0 h 1171575"/>
                <a:gd name="connsiteX1" fmla="*/ 9525 w 1628775"/>
                <a:gd name="connsiteY1" fmla="*/ 609600 h 1171575"/>
                <a:gd name="connsiteX2" fmla="*/ 1009650 w 1628775"/>
                <a:gd name="connsiteY2" fmla="*/ 647700 h 1171575"/>
                <a:gd name="connsiteX3" fmla="*/ 1628775 w 1628775"/>
                <a:gd name="connsiteY3" fmla="*/ 1171575 h 1171575"/>
                <a:gd name="connsiteX4" fmla="*/ 1590675 w 1628775"/>
                <a:gd name="connsiteY4" fmla="*/ 561975 h 1171575"/>
                <a:gd name="connsiteX5" fmla="*/ 809625 w 1628775"/>
                <a:gd name="connsiteY5" fmla="*/ 228600 h 1171575"/>
                <a:gd name="connsiteX6" fmla="*/ 0 w 1628775"/>
                <a:gd name="connsiteY6" fmla="*/ 0 h 1171575"/>
                <a:gd name="connsiteX0" fmla="*/ 0 w 1628775"/>
                <a:gd name="connsiteY0" fmla="*/ 0 h 1171699"/>
                <a:gd name="connsiteX1" fmla="*/ 9525 w 1628775"/>
                <a:gd name="connsiteY1" fmla="*/ 609600 h 1171699"/>
                <a:gd name="connsiteX2" fmla="*/ 1628775 w 1628775"/>
                <a:gd name="connsiteY2" fmla="*/ 1171575 h 1171699"/>
                <a:gd name="connsiteX3" fmla="*/ 1590675 w 1628775"/>
                <a:gd name="connsiteY3" fmla="*/ 561975 h 1171699"/>
                <a:gd name="connsiteX4" fmla="*/ 809625 w 1628775"/>
                <a:gd name="connsiteY4" fmla="*/ 228600 h 1171699"/>
                <a:gd name="connsiteX5" fmla="*/ 0 w 1628775"/>
                <a:gd name="connsiteY5" fmla="*/ 0 h 1171699"/>
                <a:gd name="connsiteX0" fmla="*/ 0 w 1628775"/>
                <a:gd name="connsiteY0" fmla="*/ 124 h 1171823"/>
                <a:gd name="connsiteX1" fmla="*/ 9525 w 1628775"/>
                <a:gd name="connsiteY1" fmla="*/ 609724 h 1171823"/>
                <a:gd name="connsiteX2" fmla="*/ 1628775 w 1628775"/>
                <a:gd name="connsiteY2" fmla="*/ 1171699 h 1171823"/>
                <a:gd name="connsiteX3" fmla="*/ 1590675 w 1628775"/>
                <a:gd name="connsiteY3" fmla="*/ 562099 h 1171823"/>
                <a:gd name="connsiteX4" fmla="*/ 0 w 1628775"/>
                <a:gd name="connsiteY4" fmla="*/ 124 h 1171823"/>
                <a:gd name="connsiteX0" fmla="*/ 0 w 1628775"/>
                <a:gd name="connsiteY0" fmla="*/ 124 h 1171699"/>
                <a:gd name="connsiteX1" fmla="*/ 9525 w 1628775"/>
                <a:gd name="connsiteY1" fmla="*/ 609724 h 1171699"/>
                <a:gd name="connsiteX2" fmla="*/ 1628775 w 1628775"/>
                <a:gd name="connsiteY2" fmla="*/ 1171699 h 1171699"/>
                <a:gd name="connsiteX3" fmla="*/ 1590675 w 1628775"/>
                <a:gd name="connsiteY3" fmla="*/ 562099 h 1171699"/>
                <a:gd name="connsiteX4" fmla="*/ 0 w 1628775"/>
                <a:gd name="connsiteY4" fmla="*/ 124 h 1171699"/>
                <a:gd name="connsiteX0" fmla="*/ 0 w 1628775"/>
                <a:gd name="connsiteY0" fmla="*/ 124 h 1171699"/>
                <a:gd name="connsiteX1" fmla="*/ 9525 w 1628775"/>
                <a:gd name="connsiteY1" fmla="*/ 609724 h 1171699"/>
                <a:gd name="connsiteX2" fmla="*/ 1628775 w 1628775"/>
                <a:gd name="connsiteY2" fmla="*/ 1171699 h 1171699"/>
                <a:gd name="connsiteX3" fmla="*/ 1590675 w 1628775"/>
                <a:gd name="connsiteY3" fmla="*/ 562099 h 1171699"/>
                <a:gd name="connsiteX4" fmla="*/ 0 w 1628775"/>
                <a:gd name="connsiteY4" fmla="*/ 124 h 1171699"/>
                <a:gd name="connsiteX0" fmla="*/ 0 w 1632441"/>
                <a:gd name="connsiteY0" fmla="*/ 119 h 1171694"/>
                <a:gd name="connsiteX1" fmla="*/ 9525 w 1632441"/>
                <a:gd name="connsiteY1" fmla="*/ 609719 h 1171694"/>
                <a:gd name="connsiteX2" fmla="*/ 1628775 w 1632441"/>
                <a:gd name="connsiteY2" fmla="*/ 1171694 h 1171694"/>
                <a:gd name="connsiteX3" fmla="*/ 1628775 w 1632441"/>
                <a:gd name="connsiteY3" fmla="*/ 581144 h 1171694"/>
                <a:gd name="connsiteX4" fmla="*/ 0 w 1632441"/>
                <a:gd name="connsiteY4" fmla="*/ 119 h 1171694"/>
                <a:gd name="connsiteX0" fmla="*/ 0 w 1632441"/>
                <a:gd name="connsiteY0" fmla="*/ 130 h 1171705"/>
                <a:gd name="connsiteX1" fmla="*/ 9525 w 1632441"/>
                <a:gd name="connsiteY1" fmla="*/ 609730 h 1171705"/>
                <a:gd name="connsiteX2" fmla="*/ 1628775 w 1632441"/>
                <a:gd name="connsiteY2" fmla="*/ 1171705 h 1171705"/>
                <a:gd name="connsiteX3" fmla="*/ 1628775 w 1632441"/>
                <a:gd name="connsiteY3" fmla="*/ 581155 h 1171705"/>
                <a:gd name="connsiteX4" fmla="*/ 0 w 1632441"/>
                <a:gd name="connsiteY4" fmla="*/ 130 h 1171705"/>
                <a:gd name="connsiteX0" fmla="*/ 0 w 1632441"/>
                <a:gd name="connsiteY0" fmla="*/ 130 h 1171744"/>
                <a:gd name="connsiteX1" fmla="*/ 9525 w 1632441"/>
                <a:gd name="connsiteY1" fmla="*/ 609730 h 1171744"/>
                <a:gd name="connsiteX2" fmla="*/ 590964 w 1632441"/>
                <a:gd name="connsiteY2" fmla="*/ 601447 h 1171744"/>
                <a:gd name="connsiteX3" fmla="*/ 1628775 w 1632441"/>
                <a:gd name="connsiteY3" fmla="*/ 1171705 h 1171744"/>
                <a:gd name="connsiteX4" fmla="*/ 1628775 w 1632441"/>
                <a:gd name="connsiteY4" fmla="*/ 581155 h 1171744"/>
                <a:gd name="connsiteX5" fmla="*/ 0 w 1632441"/>
                <a:gd name="connsiteY5" fmla="*/ 130 h 1171744"/>
                <a:gd name="connsiteX0" fmla="*/ 0 w 1632441"/>
                <a:gd name="connsiteY0" fmla="*/ 130 h 1178752"/>
                <a:gd name="connsiteX1" fmla="*/ 9525 w 1632441"/>
                <a:gd name="connsiteY1" fmla="*/ 609730 h 1178752"/>
                <a:gd name="connsiteX2" fmla="*/ 590964 w 1632441"/>
                <a:gd name="connsiteY2" fmla="*/ 601447 h 1178752"/>
                <a:gd name="connsiteX3" fmla="*/ 1396034 w 1632441"/>
                <a:gd name="connsiteY3" fmla="*/ 899620 h 1178752"/>
                <a:gd name="connsiteX4" fmla="*/ 1628775 w 1632441"/>
                <a:gd name="connsiteY4" fmla="*/ 1171705 h 1178752"/>
                <a:gd name="connsiteX5" fmla="*/ 1628775 w 1632441"/>
                <a:gd name="connsiteY5" fmla="*/ 581155 h 1178752"/>
                <a:gd name="connsiteX6" fmla="*/ 0 w 1632441"/>
                <a:gd name="connsiteY6" fmla="*/ 130 h 1178752"/>
                <a:gd name="connsiteX0" fmla="*/ 0 w 1632441"/>
                <a:gd name="connsiteY0" fmla="*/ 130 h 1178279"/>
                <a:gd name="connsiteX1" fmla="*/ 9525 w 1632441"/>
                <a:gd name="connsiteY1" fmla="*/ 609730 h 1178279"/>
                <a:gd name="connsiteX2" fmla="*/ 590964 w 1632441"/>
                <a:gd name="connsiteY2" fmla="*/ 601447 h 1178279"/>
                <a:gd name="connsiteX3" fmla="*/ 918955 w 1632441"/>
                <a:gd name="connsiteY3" fmla="*/ 820107 h 1178279"/>
                <a:gd name="connsiteX4" fmla="*/ 1396034 w 1632441"/>
                <a:gd name="connsiteY4" fmla="*/ 899620 h 1178279"/>
                <a:gd name="connsiteX5" fmla="*/ 1628775 w 1632441"/>
                <a:gd name="connsiteY5" fmla="*/ 1171705 h 1178279"/>
                <a:gd name="connsiteX6" fmla="*/ 1628775 w 1632441"/>
                <a:gd name="connsiteY6" fmla="*/ 581155 h 1178279"/>
                <a:gd name="connsiteX7" fmla="*/ 0 w 1632441"/>
                <a:gd name="connsiteY7" fmla="*/ 130 h 1178279"/>
                <a:gd name="connsiteX0" fmla="*/ 0 w 1632441"/>
                <a:gd name="connsiteY0" fmla="*/ 130 h 1178279"/>
                <a:gd name="connsiteX1" fmla="*/ 9525 w 1632441"/>
                <a:gd name="connsiteY1" fmla="*/ 609730 h 1178279"/>
                <a:gd name="connsiteX2" fmla="*/ 590964 w 1632441"/>
                <a:gd name="connsiteY2" fmla="*/ 601447 h 1178279"/>
                <a:gd name="connsiteX3" fmla="*/ 918955 w 1632441"/>
                <a:gd name="connsiteY3" fmla="*/ 837920 h 1178279"/>
                <a:gd name="connsiteX4" fmla="*/ 1396034 w 1632441"/>
                <a:gd name="connsiteY4" fmla="*/ 899620 h 1178279"/>
                <a:gd name="connsiteX5" fmla="*/ 1628775 w 1632441"/>
                <a:gd name="connsiteY5" fmla="*/ 1171705 h 1178279"/>
                <a:gd name="connsiteX6" fmla="*/ 1628775 w 1632441"/>
                <a:gd name="connsiteY6" fmla="*/ 581155 h 1178279"/>
                <a:gd name="connsiteX7" fmla="*/ 0 w 1632441"/>
                <a:gd name="connsiteY7" fmla="*/ 130 h 1178279"/>
                <a:gd name="connsiteX0" fmla="*/ 0 w 1632441"/>
                <a:gd name="connsiteY0" fmla="*/ 130 h 1178564"/>
                <a:gd name="connsiteX1" fmla="*/ 9525 w 1632441"/>
                <a:gd name="connsiteY1" fmla="*/ 609730 h 1178564"/>
                <a:gd name="connsiteX2" fmla="*/ 590964 w 1632441"/>
                <a:gd name="connsiteY2" fmla="*/ 601447 h 1178564"/>
                <a:gd name="connsiteX3" fmla="*/ 918955 w 1632441"/>
                <a:gd name="connsiteY3" fmla="*/ 837920 h 1178564"/>
                <a:gd name="connsiteX4" fmla="*/ 1384159 w 1632441"/>
                <a:gd name="connsiteY4" fmla="*/ 911495 h 1178564"/>
                <a:gd name="connsiteX5" fmla="*/ 1628775 w 1632441"/>
                <a:gd name="connsiteY5" fmla="*/ 1171705 h 1178564"/>
                <a:gd name="connsiteX6" fmla="*/ 1628775 w 1632441"/>
                <a:gd name="connsiteY6" fmla="*/ 581155 h 1178564"/>
                <a:gd name="connsiteX7" fmla="*/ 0 w 1632441"/>
                <a:gd name="connsiteY7" fmla="*/ 130 h 1178564"/>
                <a:gd name="connsiteX0" fmla="*/ 0 w 1632441"/>
                <a:gd name="connsiteY0" fmla="*/ 130 h 1171705"/>
                <a:gd name="connsiteX1" fmla="*/ 9525 w 1632441"/>
                <a:gd name="connsiteY1" fmla="*/ 609730 h 1171705"/>
                <a:gd name="connsiteX2" fmla="*/ 590964 w 1632441"/>
                <a:gd name="connsiteY2" fmla="*/ 601447 h 1171705"/>
                <a:gd name="connsiteX3" fmla="*/ 918955 w 1632441"/>
                <a:gd name="connsiteY3" fmla="*/ 837920 h 1171705"/>
                <a:gd name="connsiteX4" fmla="*/ 1384159 w 1632441"/>
                <a:gd name="connsiteY4" fmla="*/ 911495 h 1171705"/>
                <a:gd name="connsiteX5" fmla="*/ 1628775 w 1632441"/>
                <a:gd name="connsiteY5" fmla="*/ 1171705 h 1171705"/>
                <a:gd name="connsiteX6" fmla="*/ 1628775 w 1632441"/>
                <a:gd name="connsiteY6" fmla="*/ 581155 h 1171705"/>
                <a:gd name="connsiteX7" fmla="*/ 0 w 1632441"/>
                <a:gd name="connsiteY7" fmla="*/ 130 h 1171705"/>
                <a:gd name="connsiteX0" fmla="*/ 0 w 1632441"/>
                <a:gd name="connsiteY0" fmla="*/ 130 h 1171705"/>
                <a:gd name="connsiteX1" fmla="*/ 9525 w 1632441"/>
                <a:gd name="connsiteY1" fmla="*/ 609730 h 1171705"/>
                <a:gd name="connsiteX2" fmla="*/ 590964 w 1632441"/>
                <a:gd name="connsiteY2" fmla="*/ 601447 h 1171705"/>
                <a:gd name="connsiteX3" fmla="*/ 918955 w 1632441"/>
                <a:gd name="connsiteY3" fmla="*/ 837920 h 1171705"/>
                <a:gd name="connsiteX4" fmla="*/ 1384159 w 1632441"/>
                <a:gd name="connsiteY4" fmla="*/ 911495 h 1171705"/>
                <a:gd name="connsiteX5" fmla="*/ 1628775 w 1632441"/>
                <a:gd name="connsiteY5" fmla="*/ 1171705 h 1171705"/>
                <a:gd name="connsiteX6" fmla="*/ 1628775 w 1632441"/>
                <a:gd name="connsiteY6" fmla="*/ 581155 h 1171705"/>
                <a:gd name="connsiteX7" fmla="*/ 0 w 1632441"/>
                <a:gd name="connsiteY7" fmla="*/ 130 h 1171705"/>
                <a:gd name="connsiteX0" fmla="*/ 0 w 1632441"/>
                <a:gd name="connsiteY0" fmla="*/ 130 h 1171705"/>
                <a:gd name="connsiteX1" fmla="*/ 9525 w 1632441"/>
                <a:gd name="connsiteY1" fmla="*/ 609730 h 1171705"/>
                <a:gd name="connsiteX2" fmla="*/ 543463 w 1632441"/>
                <a:gd name="connsiteY2" fmla="*/ 607385 h 1171705"/>
                <a:gd name="connsiteX3" fmla="*/ 918955 w 1632441"/>
                <a:gd name="connsiteY3" fmla="*/ 837920 h 1171705"/>
                <a:gd name="connsiteX4" fmla="*/ 1384159 w 1632441"/>
                <a:gd name="connsiteY4" fmla="*/ 911495 h 1171705"/>
                <a:gd name="connsiteX5" fmla="*/ 1628775 w 1632441"/>
                <a:gd name="connsiteY5" fmla="*/ 1171705 h 1171705"/>
                <a:gd name="connsiteX6" fmla="*/ 1628775 w 1632441"/>
                <a:gd name="connsiteY6" fmla="*/ 581155 h 1171705"/>
                <a:gd name="connsiteX7" fmla="*/ 0 w 1632441"/>
                <a:gd name="connsiteY7" fmla="*/ 130 h 1171705"/>
                <a:gd name="connsiteX0" fmla="*/ 0 w 1632441"/>
                <a:gd name="connsiteY0" fmla="*/ 130 h 1171705"/>
                <a:gd name="connsiteX1" fmla="*/ 9525 w 1632441"/>
                <a:gd name="connsiteY1" fmla="*/ 609730 h 1171705"/>
                <a:gd name="connsiteX2" fmla="*/ 543463 w 1632441"/>
                <a:gd name="connsiteY2" fmla="*/ 607385 h 1171705"/>
                <a:gd name="connsiteX3" fmla="*/ 918955 w 1632441"/>
                <a:gd name="connsiteY3" fmla="*/ 837920 h 1171705"/>
                <a:gd name="connsiteX4" fmla="*/ 1384159 w 1632441"/>
                <a:gd name="connsiteY4" fmla="*/ 911495 h 1171705"/>
                <a:gd name="connsiteX5" fmla="*/ 1628775 w 1632441"/>
                <a:gd name="connsiteY5" fmla="*/ 1171705 h 1171705"/>
                <a:gd name="connsiteX6" fmla="*/ 1628775 w 1632441"/>
                <a:gd name="connsiteY6" fmla="*/ 581155 h 1171705"/>
                <a:gd name="connsiteX7" fmla="*/ 0 w 1632441"/>
                <a:gd name="connsiteY7" fmla="*/ 130 h 1171705"/>
                <a:gd name="connsiteX0" fmla="*/ 0 w 1632441"/>
                <a:gd name="connsiteY0" fmla="*/ 130 h 1171705"/>
                <a:gd name="connsiteX1" fmla="*/ 9525 w 1632441"/>
                <a:gd name="connsiteY1" fmla="*/ 609730 h 1171705"/>
                <a:gd name="connsiteX2" fmla="*/ 543463 w 1632441"/>
                <a:gd name="connsiteY2" fmla="*/ 607385 h 1171705"/>
                <a:gd name="connsiteX3" fmla="*/ 918955 w 1632441"/>
                <a:gd name="connsiteY3" fmla="*/ 837920 h 1171705"/>
                <a:gd name="connsiteX4" fmla="*/ 1384159 w 1632441"/>
                <a:gd name="connsiteY4" fmla="*/ 911495 h 1171705"/>
                <a:gd name="connsiteX5" fmla="*/ 1628775 w 1632441"/>
                <a:gd name="connsiteY5" fmla="*/ 1171705 h 1171705"/>
                <a:gd name="connsiteX6" fmla="*/ 1628775 w 1632441"/>
                <a:gd name="connsiteY6" fmla="*/ 581155 h 1171705"/>
                <a:gd name="connsiteX7" fmla="*/ 0 w 1632441"/>
                <a:gd name="connsiteY7" fmla="*/ 130 h 117170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632441" h="1171705">
                  <a:moveTo>
                    <a:pt x="0" y="130"/>
                  </a:moveTo>
                  <a:lnTo>
                    <a:pt x="9525" y="609730"/>
                  </a:lnTo>
                  <a:cubicBezTo>
                    <a:pt x="156058" y="711606"/>
                    <a:pt x="297338" y="549349"/>
                    <a:pt x="543463" y="607385"/>
                  </a:cubicBezTo>
                  <a:cubicBezTo>
                    <a:pt x="744881" y="679322"/>
                    <a:pt x="784777" y="788225"/>
                    <a:pt x="918955" y="837920"/>
                  </a:cubicBezTo>
                  <a:cubicBezTo>
                    <a:pt x="1053133" y="887615"/>
                    <a:pt x="1274138" y="836330"/>
                    <a:pt x="1384159" y="911495"/>
                  </a:cubicBezTo>
                  <a:cubicBezTo>
                    <a:pt x="1494180" y="986660"/>
                    <a:pt x="1544570" y="1090841"/>
                    <a:pt x="1628775" y="1171705"/>
                  </a:cubicBezTo>
                  <a:cubicBezTo>
                    <a:pt x="1616075" y="968505"/>
                    <a:pt x="1641475" y="784355"/>
                    <a:pt x="1628775" y="581155"/>
                  </a:cubicBezTo>
                  <a:cubicBezTo>
                    <a:pt x="1309688" y="347793"/>
                    <a:pt x="263525" y="-7807"/>
                    <a:pt x="0" y="130"/>
                  </a:cubicBezTo>
                  <a:close/>
                </a:path>
              </a:pathLst>
            </a:custGeom>
            <a:noFill/>
            <a:ln w="15875">
              <a:solidFill>
                <a:srgbClr val="0000FF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29" name="Ovale 28"/>
            <p:cNvSpPr/>
            <p:nvPr/>
          </p:nvSpPr>
          <p:spPr>
            <a:xfrm>
              <a:off x="1253680" y="2955727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1324038" y="3007062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A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4" name="Ovale 3"/>
            <p:cNvSpPr/>
            <p:nvPr/>
          </p:nvSpPr>
          <p:spPr>
            <a:xfrm>
              <a:off x="2588454" y="3419300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5" name="CasellaDiTesto 4"/>
            <p:cNvSpPr txBox="1"/>
            <p:nvPr/>
          </p:nvSpPr>
          <p:spPr>
            <a:xfrm>
              <a:off x="2635198" y="3470635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H</a:t>
              </a:r>
              <a:r>
                <a:rPr lang="it-IT" sz="1654" dirty="0">
                  <a:latin typeface="Arial Narrow" panose="020B0606020202030204" pitchFamily="34" charset="0"/>
                </a:rPr>
                <a:t>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62" name="Ovale 61"/>
            <p:cNvSpPr/>
            <p:nvPr/>
          </p:nvSpPr>
          <p:spPr>
            <a:xfrm>
              <a:off x="2572710" y="2909823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63" name="CasellaDiTesto 62"/>
            <p:cNvSpPr txBox="1"/>
            <p:nvPr/>
          </p:nvSpPr>
          <p:spPr>
            <a:xfrm>
              <a:off x="2635198" y="2717130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H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2" name="Ovale 31"/>
            <p:cNvSpPr/>
            <p:nvPr/>
          </p:nvSpPr>
          <p:spPr>
            <a:xfrm>
              <a:off x="1237936" y="2428784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1300424" y="2125883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A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grpSp>
          <p:nvGrpSpPr>
            <p:cNvPr id="64" name="Gruppo 63"/>
            <p:cNvGrpSpPr/>
            <p:nvPr/>
          </p:nvGrpSpPr>
          <p:grpSpPr>
            <a:xfrm>
              <a:off x="7913795" y="4169537"/>
              <a:ext cx="487570" cy="470866"/>
              <a:chOff x="8563565" y="4652830"/>
              <a:chExt cx="589960" cy="569747"/>
            </a:xfrm>
          </p:grpSpPr>
          <p:sp>
            <p:nvSpPr>
              <p:cNvPr id="71" name="Ovale 70"/>
              <p:cNvSpPr/>
              <p:nvPr/>
            </p:nvSpPr>
            <p:spPr>
              <a:xfrm>
                <a:off x="8563565" y="4652830"/>
                <a:ext cx="141695" cy="130026"/>
              </a:xfrm>
              <a:prstGeom prst="ellipse">
                <a:avLst/>
              </a:prstGeom>
              <a:solidFill>
                <a:srgbClr val="FF00FF"/>
              </a:solidFill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  <p:sp>
            <p:nvSpPr>
              <p:cNvPr id="72" name="CasellaDiTesto 71"/>
              <p:cNvSpPr txBox="1"/>
              <p:nvPr/>
            </p:nvSpPr>
            <p:spPr>
              <a:xfrm>
                <a:off x="8648699" y="4714945"/>
                <a:ext cx="504826" cy="5076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654" dirty="0">
                    <a:latin typeface="Arial Narrow" panose="020B0606020202030204" pitchFamily="34" charset="0"/>
                  </a:rPr>
                  <a:t>E’</a:t>
                </a:r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74" name="Ovale 73"/>
            <p:cNvSpPr/>
            <p:nvPr/>
          </p:nvSpPr>
          <p:spPr>
            <a:xfrm>
              <a:off x="4123474" y="3886654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75" name="CasellaDiTesto 74"/>
            <p:cNvSpPr txBox="1"/>
            <p:nvPr/>
          </p:nvSpPr>
          <p:spPr>
            <a:xfrm>
              <a:off x="4193834" y="3615241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B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77" name="Ovale 76"/>
            <p:cNvSpPr/>
            <p:nvPr/>
          </p:nvSpPr>
          <p:spPr>
            <a:xfrm>
              <a:off x="5473749" y="3344867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78" name="CasellaDiTesto 77"/>
            <p:cNvSpPr txBox="1"/>
            <p:nvPr/>
          </p:nvSpPr>
          <p:spPr>
            <a:xfrm>
              <a:off x="5496878" y="3089197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C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80" name="Ovale 79"/>
            <p:cNvSpPr/>
            <p:nvPr/>
          </p:nvSpPr>
          <p:spPr>
            <a:xfrm>
              <a:off x="6555647" y="3169290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81" name="CasellaDiTesto 80"/>
            <p:cNvSpPr txBox="1"/>
            <p:nvPr/>
          </p:nvSpPr>
          <p:spPr>
            <a:xfrm>
              <a:off x="6626006" y="2913621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D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grpSp>
          <p:nvGrpSpPr>
            <p:cNvPr id="65" name="Gruppo 64"/>
            <p:cNvGrpSpPr/>
            <p:nvPr/>
          </p:nvGrpSpPr>
          <p:grpSpPr>
            <a:xfrm>
              <a:off x="7905923" y="3634920"/>
              <a:ext cx="487570" cy="419530"/>
              <a:chOff x="8554040" y="4005953"/>
              <a:chExt cx="589960" cy="507632"/>
            </a:xfrm>
          </p:grpSpPr>
          <p:sp>
            <p:nvSpPr>
              <p:cNvPr id="83" name="Ovale 82"/>
              <p:cNvSpPr/>
              <p:nvPr/>
            </p:nvSpPr>
            <p:spPr>
              <a:xfrm>
                <a:off x="8554040" y="4267688"/>
                <a:ext cx="141695" cy="130026"/>
              </a:xfrm>
              <a:prstGeom prst="ellipse">
                <a:avLst/>
              </a:prstGeom>
              <a:solidFill>
                <a:srgbClr val="FFFF00"/>
              </a:solidFill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  <p:sp>
            <p:nvSpPr>
              <p:cNvPr id="84" name="CasellaDiTesto 83"/>
              <p:cNvSpPr txBox="1"/>
              <p:nvPr/>
            </p:nvSpPr>
            <p:spPr>
              <a:xfrm>
                <a:off x="8639174" y="4005953"/>
                <a:ext cx="504826" cy="5076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654" dirty="0">
                    <a:latin typeface="Arial Narrow" panose="020B0606020202030204" pitchFamily="34" charset="0"/>
                  </a:rPr>
                  <a:t>E</a:t>
                </a:r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86" name="Ovale 85"/>
            <p:cNvSpPr/>
            <p:nvPr/>
          </p:nvSpPr>
          <p:spPr>
            <a:xfrm>
              <a:off x="4127897" y="4256044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87" name="CasellaDiTesto 86"/>
            <p:cNvSpPr txBox="1"/>
            <p:nvPr/>
          </p:nvSpPr>
          <p:spPr>
            <a:xfrm>
              <a:off x="4198257" y="4016118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B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89" name="Ovale 88"/>
            <p:cNvSpPr/>
            <p:nvPr/>
          </p:nvSpPr>
          <p:spPr>
            <a:xfrm>
              <a:off x="5464901" y="3862524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90" name="CasellaDiTesto 89"/>
            <p:cNvSpPr txBox="1"/>
            <p:nvPr/>
          </p:nvSpPr>
          <p:spPr>
            <a:xfrm>
              <a:off x="5535260" y="3646214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C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92" name="Ovale 91"/>
            <p:cNvSpPr/>
            <p:nvPr/>
          </p:nvSpPr>
          <p:spPr>
            <a:xfrm>
              <a:off x="6555647" y="3541550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93" name="CasellaDiTesto 92"/>
            <p:cNvSpPr txBox="1"/>
            <p:nvPr/>
          </p:nvSpPr>
          <p:spPr>
            <a:xfrm>
              <a:off x="6626006" y="3380343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D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95" name="Ovale 94"/>
            <p:cNvSpPr/>
            <p:nvPr/>
          </p:nvSpPr>
          <p:spPr>
            <a:xfrm>
              <a:off x="2923010" y="4602036"/>
              <a:ext cx="117103" cy="107459"/>
            </a:xfrm>
            <a:prstGeom prst="ellipse">
              <a:avLst/>
            </a:prstGeom>
            <a:solidFill>
              <a:srgbClr val="FF00FF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96" name="CasellaDiTesto 95"/>
            <p:cNvSpPr txBox="1"/>
            <p:nvPr/>
          </p:nvSpPr>
          <p:spPr>
            <a:xfrm>
              <a:off x="2993369" y="4653371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A’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grpSp>
          <p:nvGrpSpPr>
            <p:cNvPr id="97" name="Gruppo 96"/>
            <p:cNvGrpSpPr/>
            <p:nvPr/>
          </p:nvGrpSpPr>
          <p:grpSpPr>
            <a:xfrm>
              <a:off x="4281400" y="5101882"/>
              <a:ext cx="519428" cy="419530"/>
              <a:chOff x="2119903" y="3636541"/>
              <a:chExt cx="628508" cy="507632"/>
            </a:xfrm>
          </p:grpSpPr>
          <p:sp>
            <p:nvSpPr>
              <p:cNvPr id="98" name="Ovale 97"/>
              <p:cNvSpPr/>
              <p:nvPr/>
            </p:nvSpPr>
            <p:spPr>
              <a:xfrm>
                <a:off x="2119903" y="3745051"/>
                <a:ext cx="141695" cy="130026"/>
              </a:xfrm>
              <a:prstGeom prst="ellipse">
                <a:avLst/>
              </a:prstGeom>
              <a:solidFill>
                <a:srgbClr val="FF00FF"/>
              </a:solidFill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  <p:sp>
            <p:nvSpPr>
              <p:cNvPr id="99" name="CasellaDiTesto 98"/>
              <p:cNvSpPr txBox="1"/>
              <p:nvPr/>
            </p:nvSpPr>
            <p:spPr>
              <a:xfrm>
                <a:off x="2243587" y="3636541"/>
                <a:ext cx="504824" cy="5076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654" dirty="0">
                    <a:latin typeface="Arial Narrow" panose="020B0606020202030204" pitchFamily="34" charset="0"/>
                  </a:rPr>
                  <a:t>H</a:t>
                </a:r>
                <a:r>
                  <a:rPr lang="it-IT" sz="1654" dirty="0">
                    <a:latin typeface="Arial Narrow" panose="020B0606020202030204" pitchFamily="34" charset="0"/>
                  </a:rPr>
                  <a:t>’</a:t>
                </a:r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101" name="Ovale 100"/>
            <p:cNvSpPr/>
            <p:nvPr/>
          </p:nvSpPr>
          <p:spPr>
            <a:xfrm>
              <a:off x="2907266" y="4075092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02" name="CasellaDiTesto 101"/>
            <p:cNvSpPr txBox="1"/>
            <p:nvPr/>
          </p:nvSpPr>
          <p:spPr>
            <a:xfrm>
              <a:off x="2969753" y="3772192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A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grpSp>
          <p:nvGrpSpPr>
            <p:cNvPr id="16" name="Gruppo 15"/>
            <p:cNvGrpSpPr/>
            <p:nvPr/>
          </p:nvGrpSpPr>
          <p:grpSpPr>
            <a:xfrm>
              <a:off x="5476954" y="4860558"/>
              <a:ext cx="487570" cy="778729"/>
              <a:chOff x="5614988" y="5488965"/>
              <a:chExt cx="589960" cy="942261"/>
            </a:xfrm>
          </p:grpSpPr>
          <p:sp>
            <p:nvSpPr>
              <p:cNvPr id="104" name="Ovale 103"/>
              <p:cNvSpPr/>
              <p:nvPr/>
            </p:nvSpPr>
            <p:spPr>
              <a:xfrm>
                <a:off x="5614988" y="5488965"/>
                <a:ext cx="141695" cy="130026"/>
              </a:xfrm>
              <a:prstGeom prst="ellipse">
                <a:avLst/>
              </a:prstGeom>
              <a:solidFill>
                <a:srgbClr val="FF00FF"/>
              </a:solidFill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  <p:sp>
            <p:nvSpPr>
              <p:cNvPr id="105" name="CasellaDiTesto 104"/>
              <p:cNvSpPr txBox="1"/>
              <p:nvPr/>
            </p:nvSpPr>
            <p:spPr>
              <a:xfrm>
                <a:off x="5700122" y="5551080"/>
                <a:ext cx="504826" cy="88014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654" dirty="0">
                    <a:latin typeface="Arial Narrow" panose="020B0606020202030204" pitchFamily="34" charset="0"/>
                  </a:rPr>
                  <a:t>G’</a:t>
                </a:r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107" name="Ovale 106"/>
            <p:cNvSpPr/>
            <p:nvPr/>
          </p:nvSpPr>
          <p:spPr>
            <a:xfrm>
              <a:off x="5476710" y="4253368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08" name="CasellaDiTesto 107"/>
            <p:cNvSpPr txBox="1"/>
            <p:nvPr/>
          </p:nvSpPr>
          <p:spPr>
            <a:xfrm>
              <a:off x="5539197" y="4060674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G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grpSp>
          <p:nvGrpSpPr>
            <p:cNvPr id="17" name="Gruppo 16"/>
            <p:cNvGrpSpPr/>
            <p:nvPr/>
          </p:nvGrpSpPr>
          <p:grpSpPr>
            <a:xfrm>
              <a:off x="6826007" y="4449428"/>
              <a:ext cx="487570" cy="470866"/>
              <a:chOff x="7247342" y="4991496"/>
              <a:chExt cx="589960" cy="569747"/>
            </a:xfrm>
          </p:grpSpPr>
          <p:sp>
            <p:nvSpPr>
              <p:cNvPr id="110" name="Ovale 109"/>
              <p:cNvSpPr/>
              <p:nvPr/>
            </p:nvSpPr>
            <p:spPr>
              <a:xfrm>
                <a:off x="7247342" y="4991496"/>
                <a:ext cx="141695" cy="130026"/>
              </a:xfrm>
              <a:prstGeom prst="ellipse">
                <a:avLst/>
              </a:prstGeom>
              <a:solidFill>
                <a:srgbClr val="FF00FF"/>
              </a:solidFill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  <p:sp>
            <p:nvSpPr>
              <p:cNvPr id="111" name="CasellaDiTesto 110"/>
              <p:cNvSpPr txBox="1"/>
              <p:nvPr/>
            </p:nvSpPr>
            <p:spPr>
              <a:xfrm>
                <a:off x="7332476" y="5053611"/>
                <a:ext cx="504826" cy="5076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it-IT" sz="1654" dirty="0">
                    <a:latin typeface="Arial Narrow" panose="020B0606020202030204" pitchFamily="34" charset="0"/>
                  </a:rPr>
                  <a:t>F’</a:t>
                </a:r>
                <a:endParaRPr lang="en-US" sz="1654" dirty="0">
                  <a:latin typeface="Arial Narrow" panose="020B0606020202030204" pitchFamily="34" charset="0"/>
                </a:endParaRPr>
              </a:p>
            </p:txBody>
          </p:sp>
        </p:grpSp>
        <p:sp>
          <p:nvSpPr>
            <p:cNvPr id="113" name="Ovale 112"/>
            <p:cNvSpPr/>
            <p:nvPr/>
          </p:nvSpPr>
          <p:spPr>
            <a:xfrm>
              <a:off x="6826008" y="4036335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14" name="CasellaDiTesto 113"/>
            <p:cNvSpPr txBox="1"/>
            <p:nvPr/>
          </p:nvSpPr>
          <p:spPr>
            <a:xfrm>
              <a:off x="6888496" y="3843640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F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16" name="Ovale 115"/>
            <p:cNvSpPr/>
            <p:nvPr/>
          </p:nvSpPr>
          <p:spPr>
            <a:xfrm>
              <a:off x="4281400" y="4733601"/>
              <a:ext cx="117103" cy="107459"/>
            </a:xfrm>
            <a:prstGeom prst="ellipse">
              <a:avLst/>
            </a:prstGeom>
            <a:solidFill>
              <a:srgbClr val="FFFF00"/>
            </a:solidFill>
            <a:ln w="381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17" name="CasellaDiTesto 116"/>
            <p:cNvSpPr txBox="1"/>
            <p:nvPr/>
          </p:nvSpPr>
          <p:spPr>
            <a:xfrm>
              <a:off x="4385642" y="4686368"/>
              <a:ext cx="417211" cy="4195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654" dirty="0">
                  <a:latin typeface="Arial Narrow" panose="020B0606020202030204" pitchFamily="34" charset="0"/>
                </a:rPr>
                <a:t>H</a:t>
              </a:r>
              <a:endParaRPr lang="en-US" sz="1654" dirty="0">
                <a:latin typeface="Arial Narrow" panose="020B0606020202030204" pitchFamily="34" charset="0"/>
              </a:endParaRPr>
            </a:p>
          </p:txBody>
        </p:sp>
        <p:sp>
          <p:nvSpPr>
            <p:cNvPr id="120" name="AutoShape 310"/>
            <p:cNvSpPr>
              <a:spLocks/>
            </p:cNvSpPr>
            <p:nvPr/>
          </p:nvSpPr>
          <p:spPr bwMode="auto">
            <a:xfrm>
              <a:off x="6377312" y="4971920"/>
              <a:ext cx="985519" cy="308638"/>
            </a:xfrm>
            <a:prstGeom prst="callout2">
              <a:avLst>
                <a:gd name="adj1" fmla="val 41170"/>
                <a:gd name="adj2" fmla="val -2461"/>
                <a:gd name="adj3" fmla="val 41170"/>
                <a:gd name="adj4" fmla="val -9871"/>
                <a:gd name="adj5" fmla="val -106525"/>
                <a:gd name="adj6" fmla="val -29043"/>
              </a:avLst>
            </a:prstGeom>
            <a:noFill/>
            <a:ln w="6350">
              <a:solidFill>
                <a:schemeClr val="tx1"/>
              </a:solidFill>
              <a:miter lim="800000"/>
              <a:headEnd type="none" w="lg" len="lg"/>
              <a:tailEnd type="triangle" w="sm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rIns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323" b="1" dirty="0">
                  <a:latin typeface="Arial Narrow" pitchFamily="34" charset="0"/>
                  <a:ea typeface="ＭＳ Ｐゴシック" charset="-128"/>
                  <a:sym typeface="Symbol"/>
                </a:rPr>
                <a:t>FLAT SIDE</a:t>
              </a:r>
              <a:endParaRPr lang="en-US" sz="1323" b="1" dirty="0">
                <a:latin typeface="Arial Narrow" pitchFamily="34" charset="0"/>
                <a:ea typeface="ＭＳ Ｐゴシック" charset="-128"/>
              </a:endParaRPr>
            </a:p>
          </p:txBody>
        </p:sp>
      </p:grpSp>
      <p:sp>
        <p:nvSpPr>
          <p:cNvPr id="132" name="CasellaDiTesto 131"/>
          <p:cNvSpPr txBox="1"/>
          <p:nvPr/>
        </p:nvSpPr>
        <p:spPr>
          <a:xfrm>
            <a:off x="5358814" y="950822"/>
            <a:ext cx="344972" cy="3468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54" dirty="0">
                <a:latin typeface="Arial Narrow" panose="020B0606020202030204" pitchFamily="34" charset="0"/>
              </a:rPr>
              <a:t>D</a:t>
            </a:r>
            <a:endParaRPr lang="en-US" sz="1654" dirty="0">
              <a:latin typeface="Arial Narrow" panose="020B0606020202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59078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o 4"/>
          <p:cNvGrpSpPr/>
          <p:nvPr/>
        </p:nvGrpSpPr>
        <p:grpSpPr>
          <a:xfrm>
            <a:off x="2031030" y="581089"/>
            <a:ext cx="6254992" cy="4277756"/>
            <a:chOff x="-10449026" y="-2872061"/>
            <a:chExt cx="7161912" cy="4897994"/>
          </a:xfrm>
        </p:grpSpPr>
        <p:sp>
          <p:nvSpPr>
            <p:cNvPr id="165" name="Freccia curva 2"/>
            <p:cNvSpPr/>
            <p:nvPr/>
          </p:nvSpPr>
          <p:spPr>
            <a:xfrm flipV="1">
              <a:off x="-5585734" y="-1347871"/>
              <a:ext cx="116738" cy="1522902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612790"/>
                <a:gd name="connsiteY0" fmla="*/ 2389253 h 2389253"/>
                <a:gd name="connsiteX1" fmla="*/ 72468 w 2612790"/>
                <a:gd name="connsiteY1" fmla="*/ 2095501 h 2389253"/>
                <a:gd name="connsiteX2" fmla="*/ 34368 w 2612790"/>
                <a:gd name="connsiteY2" fmla="*/ 1900238 h 2389253"/>
                <a:gd name="connsiteX3" fmla="*/ 77231 w 2612790"/>
                <a:gd name="connsiteY3" fmla="*/ 1319213 h 2389253"/>
                <a:gd name="connsiteX4" fmla="*/ 24843 w 2612790"/>
                <a:gd name="connsiteY4" fmla="*/ 952501 h 2389253"/>
                <a:gd name="connsiteX5" fmla="*/ 12016 w 2612790"/>
                <a:gd name="connsiteY5" fmla="*/ 583866 h 2389253"/>
                <a:gd name="connsiteX6" fmla="*/ 62944 w 2612790"/>
                <a:gd name="connsiteY6" fmla="*/ 447676 h 2389253"/>
                <a:gd name="connsiteX7" fmla="*/ 191532 w 2612790"/>
                <a:gd name="connsiteY7" fmla="*/ 252413 h 2389253"/>
                <a:gd name="connsiteX8" fmla="*/ 353457 w 2612790"/>
                <a:gd name="connsiteY8" fmla="*/ 123826 h 2389253"/>
                <a:gd name="connsiteX9" fmla="*/ 621210 w 2612790"/>
                <a:gd name="connsiteY9" fmla="*/ 12772 h 2389253"/>
                <a:gd name="connsiteX10" fmla="*/ 1339294 w 2612790"/>
                <a:gd name="connsiteY10" fmla="*/ 33338 h 2389253"/>
                <a:gd name="connsiteX11" fmla="*/ 1601232 w 2612790"/>
                <a:gd name="connsiteY11" fmla="*/ 14288 h 2389253"/>
                <a:gd name="connsiteX12" fmla="*/ 1867932 w 2612790"/>
                <a:gd name="connsiteY12" fmla="*/ 0 h 2389253"/>
                <a:gd name="connsiteX13" fmla="*/ 2210832 w 2612790"/>
                <a:gd name="connsiteY13" fmla="*/ 42864 h 2389253"/>
                <a:gd name="connsiteX14" fmla="*/ 2612656 w 2612790"/>
                <a:gd name="connsiteY14" fmla="*/ 12772 h 2389253"/>
                <a:gd name="connsiteX15" fmla="*/ 2607261 w 2612790"/>
                <a:gd name="connsiteY15" fmla="*/ 167260 h 2389253"/>
                <a:gd name="connsiteX16" fmla="*/ 2051444 w 2612790"/>
                <a:gd name="connsiteY16" fmla="*/ 268939 h 2389253"/>
                <a:gd name="connsiteX17" fmla="*/ 621210 w 2612790"/>
                <a:gd name="connsiteY17" fmla="*/ 271213 h 2389253"/>
                <a:gd name="connsiteX18" fmla="*/ 303794 w 2612790"/>
                <a:gd name="connsiteY18" fmla="*/ 588629 h 2389253"/>
                <a:gd name="connsiteX19" fmla="*/ 303795 w 2612790"/>
                <a:gd name="connsiteY19" fmla="*/ 2389253 h 2389253"/>
                <a:gd name="connsiteX20" fmla="*/ 45354 w 2612790"/>
                <a:gd name="connsiteY20" fmla="*/ 2389253 h 2389253"/>
                <a:gd name="connsiteX0" fmla="*/ 45354 w 2612656"/>
                <a:gd name="connsiteY0" fmla="*/ 2389253 h 2389253"/>
                <a:gd name="connsiteX1" fmla="*/ 72468 w 2612656"/>
                <a:gd name="connsiteY1" fmla="*/ 2095501 h 2389253"/>
                <a:gd name="connsiteX2" fmla="*/ 34368 w 2612656"/>
                <a:gd name="connsiteY2" fmla="*/ 1900238 h 2389253"/>
                <a:gd name="connsiteX3" fmla="*/ 77231 w 2612656"/>
                <a:gd name="connsiteY3" fmla="*/ 1319213 h 2389253"/>
                <a:gd name="connsiteX4" fmla="*/ 24843 w 2612656"/>
                <a:gd name="connsiteY4" fmla="*/ 952501 h 2389253"/>
                <a:gd name="connsiteX5" fmla="*/ 12016 w 2612656"/>
                <a:gd name="connsiteY5" fmla="*/ 583866 h 2389253"/>
                <a:gd name="connsiteX6" fmla="*/ 62944 w 2612656"/>
                <a:gd name="connsiteY6" fmla="*/ 447676 h 2389253"/>
                <a:gd name="connsiteX7" fmla="*/ 191532 w 2612656"/>
                <a:gd name="connsiteY7" fmla="*/ 252413 h 2389253"/>
                <a:gd name="connsiteX8" fmla="*/ 353457 w 2612656"/>
                <a:gd name="connsiteY8" fmla="*/ 123826 h 2389253"/>
                <a:gd name="connsiteX9" fmla="*/ 621210 w 2612656"/>
                <a:gd name="connsiteY9" fmla="*/ 12772 h 2389253"/>
                <a:gd name="connsiteX10" fmla="*/ 1339294 w 2612656"/>
                <a:gd name="connsiteY10" fmla="*/ 33338 h 2389253"/>
                <a:gd name="connsiteX11" fmla="*/ 1601232 w 2612656"/>
                <a:gd name="connsiteY11" fmla="*/ 14288 h 2389253"/>
                <a:gd name="connsiteX12" fmla="*/ 1867932 w 2612656"/>
                <a:gd name="connsiteY12" fmla="*/ 0 h 2389253"/>
                <a:gd name="connsiteX13" fmla="*/ 2210832 w 2612656"/>
                <a:gd name="connsiteY13" fmla="*/ 42864 h 2389253"/>
                <a:gd name="connsiteX14" fmla="*/ 2612656 w 2612656"/>
                <a:gd name="connsiteY14" fmla="*/ 12772 h 2389253"/>
                <a:gd name="connsiteX15" fmla="*/ 2051444 w 2612656"/>
                <a:gd name="connsiteY15" fmla="*/ 268939 h 2389253"/>
                <a:gd name="connsiteX16" fmla="*/ 621210 w 2612656"/>
                <a:gd name="connsiteY16" fmla="*/ 271213 h 2389253"/>
                <a:gd name="connsiteX17" fmla="*/ 303794 w 2612656"/>
                <a:gd name="connsiteY17" fmla="*/ 588629 h 2389253"/>
                <a:gd name="connsiteX18" fmla="*/ 303795 w 2612656"/>
                <a:gd name="connsiteY18" fmla="*/ 2389253 h 2389253"/>
                <a:gd name="connsiteX19" fmla="*/ 45354 w 2612656"/>
                <a:gd name="connsiteY19" fmla="*/ 2389253 h 2389253"/>
                <a:gd name="connsiteX0" fmla="*/ 45354 w 2210832"/>
                <a:gd name="connsiteY0" fmla="*/ 2389253 h 2389253"/>
                <a:gd name="connsiteX1" fmla="*/ 72468 w 2210832"/>
                <a:gd name="connsiteY1" fmla="*/ 2095501 h 2389253"/>
                <a:gd name="connsiteX2" fmla="*/ 34368 w 2210832"/>
                <a:gd name="connsiteY2" fmla="*/ 1900238 h 2389253"/>
                <a:gd name="connsiteX3" fmla="*/ 77231 w 2210832"/>
                <a:gd name="connsiteY3" fmla="*/ 1319213 h 2389253"/>
                <a:gd name="connsiteX4" fmla="*/ 24843 w 2210832"/>
                <a:gd name="connsiteY4" fmla="*/ 952501 h 2389253"/>
                <a:gd name="connsiteX5" fmla="*/ 12016 w 2210832"/>
                <a:gd name="connsiteY5" fmla="*/ 583866 h 2389253"/>
                <a:gd name="connsiteX6" fmla="*/ 62944 w 2210832"/>
                <a:gd name="connsiteY6" fmla="*/ 447676 h 2389253"/>
                <a:gd name="connsiteX7" fmla="*/ 191532 w 2210832"/>
                <a:gd name="connsiteY7" fmla="*/ 252413 h 2389253"/>
                <a:gd name="connsiteX8" fmla="*/ 353457 w 2210832"/>
                <a:gd name="connsiteY8" fmla="*/ 123826 h 2389253"/>
                <a:gd name="connsiteX9" fmla="*/ 621210 w 2210832"/>
                <a:gd name="connsiteY9" fmla="*/ 12772 h 2389253"/>
                <a:gd name="connsiteX10" fmla="*/ 1339294 w 2210832"/>
                <a:gd name="connsiteY10" fmla="*/ 33338 h 2389253"/>
                <a:gd name="connsiteX11" fmla="*/ 1601232 w 2210832"/>
                <a:gd name="connsiteY11" fmla="*/ 14288 h 2389253"/>
                <a:gd name="connsiteX12" fmla="*/ 1867932 w 2210832"/>
                <a:gd name="connsiteY12" fmla="*/ 0 h 2389253"/>
                <a:gd name="connsiteX13" fmla="*/ 2210832 w 2210832"/>
                <a:gd name="connsiteY13" fmla="*/ 42864 h 2389253"/>
                <a:gd name="connsiteX14" fmla="*/ 2051444 w 2210832"/>
                <a:gd name="connsiteY14" fmla="*/ 268939 h 2389253"/>
                <a:gd name="connsiteX15" fmla="*/ 621210 w 2210832"/>
                <a:gd name="connsiteY15" fmla="*/ 271213 h 2389253"/>
                <a:gd name="connsiteX16" fmla="*/ 303794 w 2210832"/>
                <a:gd name="connsiteY16" fmla="*/ 588629 h 2389253"/>
                <a:gd name="connsiteX17" fmla="*/ 303795 w 2210832"/>
                <a:gd name="connsiteY17" fmla="*/ 2389253 h 2389253"/>
                <a:gd name="connsiteX18" fmla="*/ 45354 w 2210832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957243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33889 w 2039979"/>
                <a:gd name="connsiteY0" fmla="*/ 2389253 h 2389253"/>
                <a:gd name="connsiteX1" fmla="*/ 61003 w 2039979"/>
                <a:gd name="connsiteY1" fmla="*/ 2095501 h 2389253"/>
                <a:gd name="connsiteX2" fmla="*/ 22903 w 2039979"/>
                <a:gd name="connsiteY2" fmla="*/ 1900238 h 2389253"/>
                <a:gd name="connsiteX3" fmla="*/ 65766 w 2039979"/>
                <a:gd name="connsiteY3" fmla="*/ 1319213 h 2389253"/>
                <a:gd name="connsiteX4" fmla="*/ 13378 w 2039979"/>
                <a:gd name="connsiteY4" fmla="*/ 952501 h 2389253"/>
                <a:gd name="connsiteX5" fmla="*/ 551 w 2039979"/>
                <a:gd name="connsiteY5" fmla="*/ 583866 h 2389253"/>
                <a:gd name="connsiteX6" fmla="*/ 92699 w 2039979"/>
                <a:gd name="connsiteY6" fmla="*/ 378976 h 2389253"/>
                <a:gd name="connsiteX7" fmla="*/ 180067 w 2039979"/>
                <a:gd name="connsiteY7" fmla="*/ 252413 h 2389253"/>
                <a:gd name="connsiteX8" fmla="*/ 341992 w 2039979"/>
                <a:gd name="connsiteY8" fmla="*/ 123826 h 2389253"/>
                <a:gd name="connsiteX9" fmla="*/ 609745 w 2039979"/>
                <a:gd name="connsiteY9" fmla="*/ 12772 h 2389253"/>
                <a:gd name="connsiteX10" fmla="*/ 1327829 w 2039979"/>
                <a:gd name="connsiteY10" fmla="*/ 33338 h 2389253"/>
                <a:gd name="connsiteX11" fmla="*/ 1589767 w 2039979"/>
                <a:gd name="connsiteY11" fmla="*/ 14288 h 2389253"/>
                <a:gd name="connsiteX12" fmla="*/ 1945778 w 2039979"/>
                <a:gd name="connsiteY12" fmla="*/ 0 h 2389253"/>
                <a:gd name="connsiteX13" fmla="*/ 1869606 w 2039979"/>
                <a:gd name="connsiteY13" fmla="*/ 145914 h 2389253"/>
                <a:gd name="connsiteX14" fmla="*/ 2039979 w 2039979"/>
                <a:gd name="connsiteY14" fmla="*/ 268939 h 2389253"/>
                <a:gd name="connsiteX15" fmla="*/ 609745 w 2039979"/>
                <a:gd name="connsiteY15" fmla="*/ 271213 h 2389253"/>
                <a:gd name="connsiteX16" fmla="*/ 292329 w 2039979"/>
                <a:gd name="connsiteY16" fmla="*/ 588629 h 2389253"/>
                <a:gd name="connsiteX17" fmla="*/ 292330 w 2039979"/>
                <a:gd name="connsiteY17" fmla="*/ 2389253 h 2389253"/>
                <a:gd name="connsiteX18" fmla="*/ 33889 w 2039979"/>
                <a:gd name="connsiteY18" fmla="*/ 2389253 h 2389253"/>
                <a:gd name="connsiteX0" fmla="*/ 114279 w 2120369"/>
                <a:gd name="connsiteY0" fmla="*/ 2389253 h 2389253"/>
                <a:gd name="connsiteX1" fmla="*/ 141393 w 2120369"/>
                <a:gd name="connsiteY1" fmla="*/ 2095501 h 2389253"/>
                <a:gd name="connsiteX2" fmla="*/ 103293 w 2120369"/>
                <a:gd name="connsiteY2" fmla="*/ 1900238 h 2389253"/>
                <a:gd name="connsiteX3" fmla="*/ 146156 w 2120369"/>
                <a:gd name="connsiteY3" fmla="*/ 1319213 h 2389253"/>
                <a:gd name="connsiteX4" fmla="*/ 93768 w 2120369"/>
                <a:gd name="connsiteY4" fmla="*/ 952501 h 2389253"/>
                <a:gd name="connsiteX5" fmla="*/ 80941 w 2120369"/>
                <a:gd name="connsiteY5" fmla="*/ 583866 h 2389253"/>
                <a:gd name="connsiteX6" fmla="*/ 173089 w 2120369"/>
                <a:gd name="connsiteY6" fmla="*/ 378976 h 2389253"/>
                <a:gd name="connsiteX7" fmla="*/ 6266 w 2120369"/>
                <a:gd name="connsiteY7" fmla="*/ 376074 h 2389253"/>
                <a:gd name="connsiteX8" fmla="*/ 422382 w 2120369"/>
                <a:gd name="connsiteY8" fmla="*/ 123826 h 2389253"/>
                <a:gd name="connsiteX9" fmla="*/ 690135 w 2120369"/>
                <a:gd name="connsiteY9" fmla="*/ 12772 h 2389253"/>
                <a:gd name="connsiteX10" fmla="*/ 1408219 w 2120369"/>
                <a:gd name="connsiteY10" fmla="*/ 33338 h 2389253"/>
                <a:gd name="connsiteX11" fmla="*/ 1670157 w 2120369"/>
                <a:gd name="connsiteY11" fmla="*/ 14288 h 2389253"/>
                <a:gd name="connsiteX12" fmla="*/ 2026168 w 2120369"/>
                <a:gd name="connsiteY12" fmla="*/ 0 h 2389253"/>
                <a:gd name="connsiteX13" fmla="*/ 1949996 w 2120369"/>
                <a:gd name="connsiteY13" fmla="*/ 145914 h 2389253"/>
                <a:gd name="connsiteX14" fmla="*/ 2120369 w 2120369"/>
                <a:gd name="connsiteY14" fmla="*/ 268939 h 2389253"/>
                <a:gd name="connsiteX15" fmla="*/ 690135 w 2120369"/>
                <a:gd name="connsiteY15" fmla="*/ 271213 h 2389253"/>
                <a:gd name="connsiteX16" fmla="*/ 372719 w 2120369"/>
                <a:gd name="connsiteY16" fmla="*/ 588629 h 2389253"/>
                <a:gd name="connsiteX17" fmla="*/ 372720 w 2120369"/>
                <a:gd name="connsiteY17" fmla="*/ 2389253 h 2389253"/>
                <a:gd name="connsiteX18" fmla="*/ 114279 w 2120369"/>
                <a:gd name="connsiteY18" fmla="*/ 2389253 h 2389253"/>
                <a:gd name="connsiteX0" fmla="*/ 114998 w 2121088"/>
                <a:gd name="connsiteY0" fmla="*/ 2389253 h 2389253"/>
                <a:gd name="connsiteX1" fmla="*/ 142112 w 2121088"/>
                <a:gd name="connsiteY1" fmla="*/ 2095501 h 2389253"/>
                <a:gd name="connsiteX2" fmla="*/ 104012 w 2121088"/>
                <a:gd name="connsiteY2" fmla="*/ 1900238 h 2389253"/>
                <a:gd name="connsiteX3" fmla="*/ 146875 w 2121088"/>
                <a:gd name="connsiteY3" fmla="*/ 1319213 h 2389253"/>
                <a:gd name="connsiteX4" fmla="*/ 94487 w 2121088"/>
                <a:gd name="connsiteY4" fmla="*/ 952501 h 2389253"/>
                <a:gd name="connsiteX5" fmla="*/ 81660 w 2121088"/>
                <a:gd name="connsiteY5" fmla="*/ 583866 h 2389253"/>
                <a:gd name="connsiteX6" fmla="*/ 173808 w 2121088"/>
                <a:gd name="connsiteY6" fmla="*/ 378976 h 2389253"/>
                <a:gd name="connsiteX7" fmla="*/ 6985 w 2121088"/>
                <a:gd name="connsiteY7" fmla="*/ 376074 h 2389253"/>
                <a:gd name="connsiteX8" fmla="*/ 24639 w 2121088"/>
                <a:gd name="connsiteY8" fmla="*/ 2377193 h 2389253"/>
                <a:gd name="connsiteX9" fmla="*/ 690854 w 2121088"/>
                <a:gd name="connsiteY9" fmla="*/ 12772 h 2389253"/>
                <a:gd name="connsiteX10" fmla="*/ 1408938 w 2121088"/>
                <a:gd name="connsiteY10" fmla="*/ 33338 h 2389253"/>
                <a:gd name="connsiteX11" fmla="*/ 1670876 w 2121088"/>
                <a:gd name="connsiteY11" fmla="*/ 14288 h 2389253"/>
                <a:gd name="connsiteX12" fmla="*/ 2026887 w 2121088"/>
                <a:gd name="connsiteY12" fmla="*/ 0 h 2389253"/>
                <a:gd name="connsiteX13" fmla="*/ 1950715 w 2121088"/>
                <a:gd name="connsiteY13" fmla="*/ 145914 h 2389253"/>
                <a:gd name="connsiteX14" fmla="*/ 2121088 w 2121088"/>
                <a:gd name="connsiteY14" fmla="*/ 268939 h 2389253"/>
                <a:gd name="connsiteX15" fmla="*/ 690854 w 2121088"/>
                <a:gd name="connsiteY15" fmla="*/ 271213 h 2389253"/>
                <a:gd name="connsiteX16" fmla="*/ 373438 w 2121088"/>
                <a:gd name="connsiteY16" fmla="*/ 588629 h 2389253"/>
                <a:gd name="connsiteX17" fmla="*/ 373439 w 2121088"/>
                <a:gd name="connsiteY17" fmla="*/ 2389253 h 2389253"/>
                <a:gd name="connsiteX18" fmla="*/ 114998 w 2121088"/>
                <a:gd name="connsiteY18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764102 w 2194336"/>
                <a:gd name="connsiteY14" fmla="*/ 271213 h 2389253"/>
                <a:gd name="connsiteX15" fmla="*/ 446686 w 2194336"/>
                <a:gd name="connsiteY15" fmla="*/ 588629 h 2389253"/>
                <a:gd name="connsiteX16" fmla="*/ 446687 w 2194336"/>
                <a:gd name="connsiteY16" fmla="*/ 2389253 h 2389253"/>
                <a:gd name="connsiteX17" fmla="*/ 188246 w 2194336"/>
                <a:gd name="connsiteY17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446686 w 2194336"/>
                <a:gd name="connsiteY14" fmla="*/ 588629 h 2389253"/>
                <a:gd name="connsiteX15" fmla="*/ 446687 w 2194336"/>
                <a:gd name="connsiteY15" fmla="*/ 2389253 h 2389253"/>
                <a:gd name="connsiteX16" fmla="*/ 188246 w 2194336"/>
                <a:gd name="connsiteY16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446687 w 2194336"/>
                <a:gd name="connsiteY14" fmla="*/ 2389253 h 2389253"/>
                <a:gd name="connsiteX15" fmla="*/ 188246 w 2194336"/>
                <a:gd name="connsiteY15" fmla="*/ 2389253 h 2389253"/>
                <a:gd name="connsiteX0" fmla="*/ 207614 w 2213704"/>
                <a:gd name="connsiteY0" fmla="*/ 2389253 h 2389253"/>
                <a:gd name="connsiteX1" fmla="*/ 234728 w 2213704"/>
                <a:gd name="connsiteY1" fmla="*/ 2095501 h 2389253"/>
                <a:gd name="connsiteX2" fmla="*/ 196628 w 2213704"/>
                <a:gd name="connsiteY2" fmla="*/ 1900238 h 2389253"/>
                <a:gd name="connsiteX3" fmla="*/ 239491 w 2213704"/>
                <a:gd name="connsiteY3" fmla="*/ 1319213 h 2389253"/>
                <a:gd name="connsiteX4" fmla="*/ 187103 w 2213704"/>
                <a:gd name="connsiteY4" fmla="*/ 952501 h 2389253"/>
                <a:gd name="connsiteX5" fmla="*/ 174276 w 2213704"/>
                <a:gd name="connsiteY5" fmla="*/ 583866 h 2389253"/>
                <a:gd name="connsiteX6" fmla="*/ 266424 w 2213704"/>
                <a:gd name="connsiteY6" fmla="*/ 378976 h 2389253"/>
                <a:gd name="connsiteX7" fmla="*/ 99601 w 2213704"/>
                <a:gd name="connsiteY7" fmla="*/ 376074 h 2389253"/>
                <a:gd name="connsiteX8" fmla="*/ 117255 w 2213704"/>
                <a:gd name="connsiteY8" fmla="*/ 2377193 h 2389253"/>
                <a:gd name="connsiteX9" fmla="*/ 1763492 w 2213704"/>
                <a:gd name="connsiteY9" fmla="*/ 14288 h 2389253"/>
                <a:gd name="connsiteX10" fmla="*/ 2119503 w 2213704"/>
                <a:gd name="connsiteY10" fmla="*/ 0 h 2389253"/>
                <a:gd name="connsiteX11" fmla="*/ 2043331 w 2213704"/>
                <a:gd name="connsiteY11" fmla="*/ 145914 h 2389253"/>
                <a:gd name="connsiteX12" fmla="*/ 2213704 w 2213704"/>
                <a:gd name="connsiteY12" fmla="*/ 268939 h 2389253"/>
                <a:gd name="connsiteX13" fmla="*/ 466055 w 2213704"/>
                <a:gd name="connsiteY13" fmla="*/ 2389253 h 2389253"/>
                <a:gd name="connsiteX14" fmla="*/ 207614 w 2213704"/>
                <a:gd name="connsiteY14" fmla="*/ 2389253 h 2389253"/>
                <a:gd name="connsiteX0" fmla="*/ 233952 w 2240042"/>
                <a:gd name="connsiteY0" fmla="*/ 2389253 h 2389253"/>
                <a:gd name="connsiteX1" fmla="*/ 261066 w 2240042"/>
                <a:gd name="connsiteY1" fmla="*/ 2095501 h 2389253"/>
                <a:gd name="connsiteX2" fmla="*/ 222966 w 2240042"/>
                <a:gd name="connsiteY2" fmla="*/ 1900238 h 2389253"/>
                <a:gd name="connsiteX3" fmla="*/ 265829 w 2240042"/>
                <a:gd name="connsiteY3" fmla="*/ 1319213 h 2389253"/>
                <a:gd name="connsiteX4" fmla="*/ 213441 w 2240042"/>
                <a:gd name="connsiteY4" fmla="*/ 952501 h 2389253"/>
                <a:gd name="connsiteX5" fmla="*/ 200614 w 2240042"/>
                <a:gd name="connsiteY5" fmla="*/ 583866 h 2389253"/>
                <a:gd name="connsiteX6" fmla="*/ 292762 w 2240042"/>
                <a:gd name="connsiteY6" fmla="*/ 378976 h 2389253"/>
                <a:gd name="connsiteX7" fmla="*/ 125939 w 2240042"/>
                <a:gd name="connsiteY7" fmla="*/ 376074 h 2389253"/>
                <a:gd name="connsiteX8" fmla="*/ 143593 w 2240042"/>
                <a:gd name="connsiteY8" fmla="*/ 2377193 h 2389253"/>
                <a:gd name="connsiteX9" fmla="*/ 2145841 w 2240042"/>
                <a:gd name="connsiteY9" fmla="*/ 0 h 2389253"/>
                <a:gd name="connsiteX10" fmla="*/ 2069669 w 2240042"/>
                <a:gd name="connsiteY10" fmla="*/ 145914 h 2389253"/>
                <a:gd name="connsiteX11" fmla="*/ 2240042 w 2240042"/>
                <a:gd name="connsiteY11" fmla="*/ 268939 h 2389253"/>
                <a:gd name="connsiteX12" fmla="*/ 492393 w 2240042"/>
                <a:gd name="connsiteY12" fmla="*/ 2389253 h 2389253"/>
                <a:gd name="connsiteX13" fmla="*/ 233952 w 2240042"/>
                <a:gd name="connsiteY13" fmla="*/ 2389253 h 2389253"/>
                <a:gd name="connsiteX0" fmla="*/ 228317 w 2234407"/>
                <a:gd name="connsiteY0" fmla="*/ 2243339 h 2243339"/>
                <a:gd name="connsiteX1" fmla="*/ 255431 w 2234407"/>
                <a:gd name="connsiteY1" fmla="*/ 1949587 h 2243339"/>
                <a:gd name="connsiteX2" fmla="*/ 217331 w 2234407"/>
                <a:gd name="connsiteY2" fmla="*/ 1754324 h 2243339"/>
                <a:gd name="connsiteX3" fmla="*/ 260194 w 2234407"/>
                <a:gd name="connsiteY3" fmla="*/ 1173299 h 2243339"/>
                <a:gd name="connsiteX4" fmla="*/ 207806 w 2234407"/>
                <a:gd name="connsiteY4" fmla="*/ 806587 h 2243339"/>
                <a:gd name="connsiteX5" fmla="*/ 194979 w 2234407"/>
                <a:gd name="connsiteY5" fmla="*/ 437952 h 2243339"/>
                <a:gd name="connsiteX6" fmla="*/ 287127 w 2234407"/>
                <a:gd name="connsiteY6" fmla="*/ 233062 h 2243339"/>
                <a:gd name="connsiteX7" fmla="*/ 120304 w 2234407"/>
                <a:gd name="connsiteY7" fmla="*/ 230160 h 2243339"/>
                <a:gd name="connsiteX8" fmla="*/ 137958 w 2234407"/>
                <a:gd name="connsiteY8" fmla="*/ 2231279 h 2243339"/>
                <a:gd name="connsiteX9" fmla="*/ 2064034 w 2234407"/>
                <a:gd name="connsiteY9" fmla="*/ 0 h 2243339"/>
                <a:gd name="connsiteX10" fmla="*/ 2234407 w 2234407"/>
                <a:gd name="connsiteY10" fmla="*/ 123025 h 2243339"/>
                <a:gd name="connsiteX11" fmla="*/ 486758 w 2234407"/>
                <a:gd name="connsiteY11" fmla="*/ 2243339 h 2243339"/>
                <a:gd name="connsiteX12" fmla="*/ 228317 w 2234407"/>
                <a:gd name="connsiteY12" fmla="*/ 2243339 h 2243339"/>
                <a:gd name="connsiteX0" fmla="*/ 240923 w 2247013"/>
                <a:gd name="connsiteY0" fmla="*/ 2120316 h 2120316"/>
                <a:gd name="connsiteX1" fmla="*/ 268037 w 2247013"/>
                <a:gd name="connsiteY1" fmla="*/ 1826564 h 2120316"/>
                <a:gd name="connsiteX2" fmla="*/ 229937 w 2247013"/>
                <a:gd name="connsiteY2" fmla="*/ 1631301 h 2120316"/>
                <a:gd name="connsiteX3" fmla="*/ 272800 w 2247013"/>
                <a:gd name="connsiteY3" fmla="*/ 1050276 h 2120316"/>
                <a:gd name="connsiteX4" fmla="*/ 220412 w 2247013"/>
                <a:gd name="connsiteY4" fmla="*/ 683564 h 2120316"/>
                <a:gd name="connsiteX5" fmla="*/ 207585 w 2247013"/>
                <a:gd name="connsiteY5" fmla="*/ 314929 h 2120316"/>
                <a:gd name="connsiteX6" fmla="*/ 299733 w 2247013"/>
                <a:gd name="connsiteY6" fmla="*/ 110039 h 2120316"/>
                <a:gd name="connsiteX7" fmla="*/ 132910 w 2247013"/>
                <a:gd name="connsiteY7" fmla="*/ 107137 h 2120316"/>
                <a:gd name="connsiteX8" fmla="*/ 150564 w 2247013"/>
                <a:gd name="connsiteY8" fmla="*/ 2108256 h 2120316"/>
                <a:gd name="connsiteX9" fmla="*/ 2247013 w 2247013"/>
                <a:gd name="connsiteY9" fmla="*/ 2 h 2120316"/>
                <a:gd name="connsiteX10" fmla="*/ 499364 w 2247013"/>
                <a:gd name="connsiteY10" fmla="*/ 2120316 h 2120316"/>
                <a:gd name="connsiteX11" fmla="*/ 240923 w 2247013"/>
                <a:gd name="connsiteY11" fmla="*/ 2120316 h 2120316"/>
                <a:gd name="connsiteX0" fmla="*/ 114280 w 372721"/>
                <a:gd name="connsiteY0" fmla="*/ 2027025 h 2166819"/>
                <a:gd name="connsiteX1" fmla="*/ 141394 w 372721"/>
                <a:gd name="connsiteY1" fmla="*/ 1733273 h 2166819"/>
                <a:gd name="connsiteX2" fmla="*/ 103294 w 372721"/>
                <a:gd name="connsiteY2" fmla="*/ 1538010 h 2166819"/>
                <a:gd name="connsiteX3" fmla="*/ 146157 w 372721"/>
                <a:gd name="connsiteY3" fmla="*/ 956985 h 2166819"/>
                <a:gd name="connsiteX4" fmla="*/ 93769 w 372721"/>
                <a:gd name="connsiteY4" fmla="*/ 590273 h 2166819"/>
                <a:gd name="connsiteX5" fmla="*/ 80942 w 372721"/>
                <a:gd name="connsiteY5" fmla="*/ 221638 h 2166819"/>
                <a:gd name="connsiteX6" fmla="*/ 173090 w 372721"/>
                <a:gd name="connsiteY6" fmla="*/ 16748 h 2166819"/>
                <a:gd name="connsiteX7" fmla="*/ 6267 w 372721"/>
                <a:gd name="connsiteY7" fmla="*/ 13846 h 2166819"/>
                <a:gd name="connsiteX8" fmla="*/ 23921 w 372721"/>
                <a:gd name="connsiteY8" fmla="*/ 2014965 h 2166819"/>
                <a:gd name="connsiteX9" fmla="*/ 372721 w 372721"/>
                <a:gd name="connsiteY9" fmla="*/ 2027025 h 2166819"/>
                <a:gd name="connsiteX10" fmla="*/ 114280 w 372721"/>
                <a:gd name="connsiteY10" fmla="*/ 2027025 h 2166819"/>
                <a:gd name="connsiteX0" fmla="*/ 114280 w 176270"/>
                <a:gd name="connsiteY0" fmla="*/ 2027025 h 2178676"/>
                <a:gd name="connsiteX1" fmla="*/ 141394 w 176270"/>
                <a:gd name="connsiteY1" fmla="*/ 1733273 h 2178676"/>
                <a:gd name="connsiteX2" fmla="*/ 103294 w 176270"/>
                <a:gd name="connsiteY2" fmla="*/ 1538010 h 2178676"/>
                <a:gd name="connsiteX3" fmla="*/ 146157 w 176270"/>
                <a:gd name="connsiteY3" fmla="*/ 956985 h 2178676"/>
                <a:gd name="connsiteX4" fmla="*/ 93769 w 176270"/>
                <a:gd name="connsiteY4" fmla="*/ 590273 h 2178676"/>
                <a:gd name="connsiteX5" fmla="*/ 80942 w 176270"/>
                <a:gd name="connsiteY5" fmla="*/ 221638 h 2178676"/>
                <a:gd name="connsiteX6" fmla="*/ 173090 w 176270"/>
                <a:gd name="connsiteY6" fmla="*/ 16748 h 2178676"/>
                <a:gd name="connsiteX7" fmla="*/ 6267 w 176270"/>
                <a:gd name="connsiteY7" fmla="*/ 13846 h 2178676"/>
                <a:gd name="connsiteX8" fmla="*/ 23921 w 176270"/>
                <a:gd name="connsiteY8" fmla="*/ 2014965 h 2178676"/>
                <a:gd name="connsiteX9" fmla="*/ 114280 w 176270"/>
                <a:gd name="connsiteY9" fmla="*/ 2027025 h 2178676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23921 w 176270"/>
                <a:gd name="connsiteY8" fmla="*/ 2014965 h 2027025"/>
                <a:gd name="connsiteX9" fmla="*/ 114280 w 176270"/>
                <a:gd name="connsiteY9" fmla="*/ 2027025 h 2027025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23921 w 176270"/>
                <a:gd name="connsiteY8" fmla="*/ 2014965 h 2027025"/>
                <a:gd name="connsiteX9" fmla="*/ 114280 w 176270"/>
                <a:gd name="connsiteY9" fmla="*/ 2027025 h 2027025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8037 w 176270"/>
                <a:gd name="connsiteY8" fmla="*/ 2026878 h 2027025"/>
                <a:gd name="connsiteX9" fmla="*/ 114280 w 176270"/>
                <a:gd name="connsiteY9" fmla="*/ 2027025 h 2027025"/>
                <a:gd name="connsiteX0" fmla="*/ 108013 w 166823"/>
                <a:gd name="connsiteY0" fmla="*/ 2162103 h 2162103"/>
                <a:gd name="connsiteX1" fmla="*/ 135127 w 166823"/>
                <a:gd name="connsiteY1" fmla="*/ 1868351 h 2162103"/>
                <a:gd name="connsiteX2" fmla="*/ 97027 w 166823"/>
                <a:gd name="connsiteY2" fmla="*/ 1673088 h 2162103"/>
                <a:gd name="connsiteX3" fmla="*/ 139890 w 166823"/>
                <a:gd name="connsiteY3" fmla="*/ 1092063 h 2162103"/>
                <a:gd name="connsiteX4" fmla="*/ 87502 w 166823"/>
                <a:gd name="connsiteY4" fmla="*/ 725351 h 2162103"/>
                <a:gd name="connsiteX5" fmla="*/ 74675 w 166823"/>
                <a:gd name="connsiteY5" fmla="*/ 356716 h 2162103"/>
                <a:gd name="connsiteX6" fmla="*/ 166823 w 166823"/>
                <a:gd name="connsiteY6" fmla="*/ 151826 h 2162103"/>
                <a:gd name="connsiteX7" fmla="*/ 56287 w 166823"/>
                <a:gd name="connsiteY7" fmla="*/ 150698 h 2162103"/>
                <a:gd name="connsiteX8" fmla="*/ 0 w 166823"/>
                <a:gd name="connsiteY8" fmla="*/ 148924 h 2162103"/>
                <a:gd name="connsiteX9" fmla="*/ 1770 w 166823"/>
                <a:gd name="connsiteY9" fmla="*/ 2161956 h 2162103"/>
                <a:gd name="connsiteX10" fmla="*/ 108013 w 166823"/>
                <a:gd name="connsiteY10" fmla="*/ 2162103 h 2162103"/>
                <a:gd name="connsiteX0" fmla="*/ 108013 w 166823"/>
                <a:gd name="connsiteY0" fmla="*/ 2169259 h 2169259"/>
                <a:gd name="connsiteX1" fmla="*/ 135127 w 166823"/>
                <a:gd name="connsiteY1" fmla="*/ 1875507 h 2169259"/>
                <a:gd name="connsiteX2" fmla="*/ 97027 w 166823"/>
                <a:gd name="connsiteY2" fmla="*/ 1680244 h 2169259"/>
                <a:gd name="connsiteX3" fmla="*/ 139890 w 166823"/>
                <a:gd name="connsiteY3" fmla="*/ 1099219 h 2169259"/>
                <a:gd name="connsiteX4" fmla="*/ 87502 w 166823"/>
                <a:gd name="connsiteY4" fmla="*/ 732507 h 2169259"/>
                <a:gd name="connsiteX5" fmla="*/ 74675 w 166823"/>
                <a:gd name="connsiteY5" fmla="*/ 363872 h 2169259"/>
                <a:gd name="connsiteX6" fmla="*/ 166823 w 166823"/>
                <a:gd name="connsiteY6" fmla="*/ 158982 h 2169259"/>
                <a:gd name="connsiteX7" fmla="*/ 0 w 166823"/>
                <a:gd name="connsiteY7" fmla="*/ 156080 h 2169259"/>
                <a:gd name="connsiteX8" fmla="*/ 1770 w 166823"/>
                <a:gd name="connsiteY8" fmla="*/ 2169112 h 2169259"/>
                <a:gd name="connsiteX9" fmla="*/ 108013 w 166823"/>
                <a:gd name="connsiteY9" fmla="*/ 2169259 h 2169259"/>
                <a:gd name="connsiteX0" fmla="*/ 108013 w 166823"/>
                <a:gd name="connsiteY0" fmla="*/ 2013179 h 2013179"/>
                <a:gd name="connsiteX1" fmla="*/ 135127 w 166823"/>
                <a:gd name="connsiteY1" fmla="*/ 1719427 h 2013179"/>
                <a:gd name="connsiteX2" fmla="*/ 97027 w 166823"/>
                <a:gd name="connsiteY2" fmla="*/ 1524164 h 2013179"/>
                <a:gd name="connsiteX3" fmla="*/ 139890 w 166823"/>
                <a:gd name="connsiteY3" fmla="*/ 943139 h 2013179"/>
                <a:gd name="connsiteX4" fmla="*/ 87502 w 166823"/>
                <a:gd name="connsiteY4" fmla="*/ 576427 h 2013179"/>
                <a:gd name="connsiteX5" fmla="*/ 74675 w 166823"/>
                <a:gd name="connsiteY5" fmla="*/ 207792 h 2013179"/>
                <a:gd name="connsiteX6" fmla="*/ 166823 w 166823"/>
                <a:gd name="connsiteY6" fmla="*/ 2902 h 2013179"/>
                <a:gd name="connsiteX7" fmla="*/ 0 w 166823"/>
                <a:gd name="connsiteY7" fmla="*/ 0 h 2013179"/>
                <a:gd name="connsiteX8" fmla="*/ 1770 w 166823"/>
                <a:gd name="connsiteY8" fmla="*/ 2013032 h 2013179"/>
                <a:gd name="connsiteX9" fmla="*/ 108013 w 166823"/>
                <a:gd name="connsiteY9" fmla="*/ 2013179 h 2013179"/>
                <a:gd name="connsiteX0" fmla="*/ 108013 w 168429"/>
                <a:gd name="connsiteY0" fmla="*/ 2013179 h 2013179"/>
                <a:gd name="connsiteX1" fmla="*/ 135127 w 168429"/>
                <a:gd name="connsiteY1" fmla="*/ 1719427 h 2013179"/>
                <a:gd name="connsiteX2" fmla="*/ 97027 w 168429"/>
                <a:gd name="connsiteY2" fmla="*/ 1524164 h 2013179"/>
                <a:gd name="connsiteX3" fmla="*/ 139890 w 168429"/>
                <a:gd name="connsiteY3" fmla="*/ 943139 h 2013179"/>
                <a:gd name="connsiteX4" fmla="*/ 87502 w 168429"/>
                <a:gd name="connsiteY4" fmla="*/ 576427 h 2013179"/>
                <a:gd name="connsiteX5" fmla="*/ 166823 w 168429"/>
                <a:gd name="connsiteY5" fmla="*/ 2902 h 2013179"/>
                <a:gd name="connsiteX6" fmla="*/ 0 w 168429"/>
                <a:gd name="connsiteY6" fmla="*/ 0 h 2013179"/>
                <a:gd name="connsiteX7" fmla="*/ 1770 w 168429"/>
                <a:gd name="connsiteY7" fmla="*/ 2013032 h 2013179"/>
                <a:gd name="connsiteX8" fmla="*/ 108013 w 168429"/>
                <a:gd name="connsiteY8" fmla="*/ 2013179 h 2013179"/>
                <a:gd name="connsiteX0" fmla="*/ 108013 w 174167"/>
                <a:gd name="connsiteY0" fmla="*/ 2013179 h 2013179"/>
                <a:gd name="connsiteX1" fmla="*/ 135127 w 174167"/>
                <a:gd name="connsiteY1" fmla="*/ 1719427 h 2013179"/>
                <a:gd name="connsiteX2" fmla="*/ 97027 w 174167"/>
                <a:gd name="connsiteY2" fmla="*/ 1524164 h 2013179"/>
                <a:gd name="connsiteX3" fmla="*/ 139890 w 174167"/>
                <a:gd name="connsiteY3" fmla="*/ 943139 h 2013179"/>
                <a:gd name="connsiteX4" fmla="*/ 166823 w 174167"/>
                <a:gd name="connsiteY4" fmla="*/ 2902 h 2013179"/>
                <a:gd name="connsiteX5" fmla="*/ 0 w 174167"/>
                <a:gd name="connsiteY5" fmla="*/ 0 h 2013179"/>
                <a:gd name="connsiteX6" fmla="*/ 1770 w 174167"/>
                <a:gd name="connsiteY6" fmla="*/ 2013032 h 2013179"/>
                <a:gd name="connsiteX7" fmla="*/ 108013 w 174167"/>
                <a:gd name="connsiteY7" fmla="*/ 2013179 h 2013179"/>
                <a:gd name="connsiteX0" fmla="*/ 108013 w 174167"/>
                <a:gd name="connsiteY0" fmla="*/ 2013179 h 2013179"/>
                <a:gd name="connsiteX1" fmla="*/ 97027 w 174167"/>
                <a:gd name="connsiteY1" fmla="*/ 1524164 h 2013179"/>
                <a:gd name="connsiteX2" fmla="*/ 139890 w 174167"/>
                <a:gd name="connsiteY2" fmla="*/ 943139 h 2013179"/>
                <a:gd name="connsiteX3" fmla="*/ 166823 w 174167"/>
                <a:gd name="connsiteY3" fmla="*/ 2902 h 2013179"/>
                <a:gd name="connsiteX4" fmla="*/ 0 w 174167"/>
                <a:gd name="connsiteY4" fmla="*/ 0 h 2013179"/>
                <a:gd name="connsiteX5" fmla="*/ 1770 w 174167"/>
                <a:gd name="connsiteY5" fmla="*/ 2013032 h 2013179"/>
                <a:gd name="connsiteX6" fmla="*/ 108013 w 174167"/>
                <a:gd name="connsiteY6" fmla="*/ 2013179 h 2013179"/>
                <a:gd name="connsiteX0" fmla="*/ 108013 w 144816"/>
                <a:gd name="connsiteY0" fmla="*/ 2013179 h 2013179"/>
                <a:gd name="connsiteX1" fmla="*/ 97027 w 144816"/>
                <a:gd name="connsiteY1" fmla="*/ 1524164 h 2013179"/>
                <a:gd name="connsiteX2" fmla="*/ 139890 w 144816"/>
                <a:gd name="connsiteY2" fmla="*/ 943139 h 2013179"/>
                <a:gd name="connsiteX3" fmla="*/ 118507 w 144816"/>
                <a:gd name="connsiteY3" fmla="*/ 14120 h 2013179"/>
                <a:gd name="connsiteX4" fmla="*/ 0 w 144816"/>
                <a:gd name="connsiteY4" fmla="*/ 0 h 2013179"/>
                <a:gd name="connsiteX5" fmla="*/ 1770 w 144816"/>
                <a:gd name="connsiteY5" fmla="*/ 2013032 h 2013179"/>
                <a:gd name="connsiteX6" fmla="*/ 108013 w 144816"/>
                <a:gd name="connsiteY6" fmla="*/ 2013179 h 2013179"/>
                <a:gd name="connsiteX0" fmla="*/ 108013 w 141320"/>
                <a:gd name="connsiteY0" fmla="*/ 2013179 h 2013179"/>
                <a:gd name="connsiteX1" fmla="*/ 97027 w 141320"/>
                <a:gd name="connsiteY1" fmla="*/ 1524164 h 2013179"/>
                <a:gd name="connsiteX2" fmla="*/ 139890 w 141320"/>
                <a:gd name="connsiteY2" fmla="*/ 943139 h 2013179"/>
                <a:gd name="connsiteX3" fmla="*/ 118507 w 141320"/>
                <a:gd name="connsiteY3" fmla="*/ 14120 h 2013179"/>
                <a:gd name="connsiteX4" fmla="*/ 0 w 141320"/>
                <a:gd name="connsiteY4" fmla="*/ 0 h 2013179"/>
                <a:gd name="connsiteX5" fmla="*/ 1770 w 141320"/>
                <a:gd name="connsiteY5" fmla="*/ 2013032 h 2013179"/>
                <a:gd name="connsiteX6" fmla="*/ 108013 w 141320"/>
                <a:gd name="connsiteY6" fmla="*/ 2013179 h 2013179"/>
                <a:gd name="connsiteX0" fmla="*/ 108013 w 141451"/>
                <a:gd name="connsiteY0" fmla="*/ 2013179 h 2013179"/>
                <a:gd name="connsiteX1" fmla="*/ 97027 w 141451"/>
                <a:gd name="connsiteY1" fmla="*/ 1524164 h 2013179"/>
                <a:gd name="connsiteX2" fmla="*/ 139890 w 141451"/>
                <a:gd name="connsiteY2" fmla="*/ 943139 h 2013179"/>
                <a:gd name="connsiteX3" fmla="*/ 118507 w 141451"/>
                <a:gd name="connsiteY3" fmla="*/ 14120 h 2013179"/>
                <a:gd name="connsiteX4" fmla="*/ 0 w 141451"/>
                <a:gd name="connsiteY4" fmla="*/ 0 h 2013179"/>
                <a:gd name="connsiteX5" fmla="*/ 1770 w 141451"/>
                <a:gd name="connsiteY5" fmla="*/ 2013032 h 2013179"/>
                <a:gd name="connsiteX6" fmla="*/ 108013 w 141451"/>
                <a:gd name="connsiteY6" fmla="*/ 2013179 h 2013179"/>
                <a:gd name="connsiteX0" fmla="*/ 108013 w 141000"/>
                <a:gd name="connsiteY0" fmla="*/ 2021113 h 2021113"/>
                <a:gd name="connsiteX1" fmla="*/ 97027 w 141000"/>
                <a:gd name="connsiteY1" fmla="*/ 1532098 h 2021113"/>
                <a:gd name="connsiteX2" fmla="*/ 139890 w 141000"/>
                <a:gd name="connsiteY2" fmla="*/ 951073 h 2021113"/>
                <a:gd name="connsiteX3" fmla="*/ 92348 w 141000"/>
                <a:gd name="connsiteY3" fmla="*/ 0 h 2021113"/>
                <a:gd name="connsiteX4" fmla="*/ 0 w 141000"/>
                <a:gd name="connsiteY4" fmla="*/ 7934 h 2021113"/>
                <a:gd name="connsiteX5" fmla="*/ 1770 w 141000"/>
                <a:gd name="connsiteY5" fmla="*/ 2020966 h 2021113"/>
                <a:gd name="connsiteX6" fmla="*/ 108013 w 141000"/>
                <a:gd name="connsiteY6" fmla="*/ 2021113 h 2021113"/>
                <a:gd name="connsiteX0" fmla="*/ 144636 w 147020"/>
                <a:gd name="connsiteY0" fmla="*/ 2021113 h 2021113"/>
                <a:gd name="connsiteX1" fmla="*/ 97027 w 147020"/>
                <a:gd name="connsiteY1" fmla="*/ 1532098 h 2021113"/>
                <a:gd name="connsiteX2" fmla="*/ 139890 w 147020"/>
                <a:gd name="connsiteY2" fmla="*/ 951073 h 2021113"/>
                <a:gd name="connsiteX3" fmla="*/ 92348 w 147020"/>
                <a:gd name="connsiteY3" fmla="*/ 0 h 2021113"/>
                <a:gd name="connsiteX4" fmla="*/ 0 w 147020"/>
                <a:gd name="connsiteY4" fmla="*/ 7934 h 2021113"/>
                <a:gd name="connsiteX5" fmla="*/ 1770 w 147020"/>
                <a:gd name="connsiteY5" fmla="*/ 2020966 h 2021113"/>
                <a:gd name="connsiteX6" fmla="*/ 144636 w 147020"/>
                <a:gd name="connsiteY6" fmla="*/ 2021113 h 202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020" h="2021113">
                  <a:moveTo>
                    <a:pt x="144636" y="2021113"/>
                  </a:moveTo>
                  <a:cubicBezTo>
                    <a:pt x="160512" y="1939635"/>
                    <a:pt x="91714" y="1710438"/>
                    <a:pt x="97027" y="1532098"/>
                  </a:cubicBezTo>
                  <a:cubicBezTo>
                    <a:pt x="100202" y="1343186"/>
                    <a:pt x="136715" y="1139985"/>
                    <a:pt x="139890" y="951073"/>
                  </a:cubicBezTo>
                  <a:cubicBezTo>
                    <a:pt x="151523" y="697529"/>
                    <a:pt x="67347" y="538623"/>
                    <a:pt x="92348" y="0"/>
                  </a:cubicBezTo>
                  <a:lnTo>
                    <a:pt x="0" y="7934"/>
                  </a:lnTo>
                  <a:lnTo>
                    <a:pt x="1770" y="2020966"/>
                  </a:lnTo>
                  <a:lnTo>
                    <a:pt x="144636" y="2021113"/>
                  </a:lnTo>
                  <a:close/>
                </a:path>
              </a:pathLst>
            </a:custGeom>
            <a:pattFill prst="pct70">
              <a:fgClr>
                <a:srgbClr val="EE7713"/>
              </a:fgClr>
              <a:bgClr>
                <a:srgbClr val="FFFF00"/>
              </a:bgClr>
            </a:pattFill>
            <a:ln w="19050">
              <a:solidFill>
                <a:srgbClr val="00206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sz="1488" dirty="0"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164" name="Freccia curva 2"/>
            <p:cNvSpPr/>
            <p:nvPr/>
          </p:nvSpPr>
          <p:spPr>
            <a:xfrm flipV="1">
              <a:off x="-9267642" y="-1309639"/>
              <a:ext cx="116738" cy="1522902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612790"/>
                <a:gd name="connsiteY0" fmla="*/ 2389253 h 2389253"/>
                <a:gd name="connsiteX1" fmla="*/ 72468 w 2612790"/>
                <a:gd name="connsiteY1" fmla="*/ 2095501 h 2389253"/>
                <a:gd name="connsiteX2" fmla="*/ 34368 w 2612790"/>
                <a:gd name="connsiteY2" fmla="*/ 1900238 h 2389253"/>
                <a:gd name="connsiteX3" fmla="*/ 77231 w 2612790"/>
                <a:gd name="connsiteY3" fmla="*/ 1319213 h 2389253"/>
                <a:gd name="connsiteX4" fmla="*/ 24843 w 2612790"/>
                <a:gd name="connsiteY4" fmla="*/ 952501 h 2389253"/>
                <a:gd name="connsiteX5" fmla="*/ 12016 w 2612790"/>
                <a:gd name="connsiteY5" fmla="*/ 583866 h 2389253"/>
                <a:gd name="connsiteX6" fmla="*/ 62944 w 2612790"/>
                <a:gd name="connsiteY6" fmla="*/ 447676 h 2389253"/>
                <a:gd name="connsiteX7" fmla="*/ 191532 w 2612790"/>
                <a:gd name="connsiteY7" fmla="*/ 252413 h 2389253"/>
                <a:gd name="connsiteX8" fmla="*/ 353457 w 2612790"/>
                <a:gd name="connsiteY8" fmla="*/ 123826 h 2389253"/>
                <a:gd name="connsiteX9" fmla="*/ 621210 w 2612790"/>
                <a:gd name="connsiteY9" fmla="*/ 12772 h 2389253"/>
                <a:gd name="connsiteX10" fmla="*/ 1339294 w 2612790"/>
                <a:gd name="connsiteY10" fmla="*/ 33338 h 2389253"/>
                <a:gd name="connsiteX11" fmla="*/ 1601232 w 2612790"/>
                <a:gd name="connsiteY11" fmla="*/ 14288 h 2389253"/>
                <a:gd name="connsiteX12" fmla="*/ 1867932 w 2612790"/>
                <a:gd name="connsiteY12" fmla="*/ 0 h 2389253"/>
                <a:gd name="connsiteX13" fmla="*/ 2210832 w 2612790"/>
                <a:gd name="connsiteY13" fmla="*/ 42864 h 2389253"/>
                <a:gd name="connsiteX14" fmla="*/ 2612656 w 2612790"/>
                <a:gd name="connsiteY14" fmla="*/ 12772 h 2389253"/>
                <a:gd name="connsiteX15" fmla="*/ 2607261 w 2612790"/>
                <a:gd name="connsiteY15" fmla="*/ 167260 h 2389253"/>
                <a:gd name="connsiteX16" fmla="*/ 2051444 w 2612790"/>
                <a:gd name="connsiteY16" fmla="*/ 268939 h 2389253"/>
                <a:gd name="connsiteX17" fmla="*/ 621210 w 2612790"/>
                <a:gd name="connsiteY17" fmla="*/ 271213 h 2389253"/>
                <a:gd name="connsiteX18" fmla="*/ 303794 w 2612790"/>
                <a:gd name="connsiteY18" fmla="*/ 588629 h 2389253"/>
                <a:gd name="connsiteX19" fmla="*/ 303795 w 2612790"/>
                <a:gd name="connsiteY19" fmla="*/ 2389253 h 2389253"/>
                <a:gd name="connsiteX20" fmla="*/ 45354 w 2612790"/>
                <a:gd name="connsiteY20" fmla="*/ 2389253 h 2389253"/>
                <a:gd name="connsiteX0" fmla="*/ 45354 w 2612656"/>
                <a:gd name="connsiteY0" fmla="*/ 2389253 h 2389253"/>
                <a:gd name="connsiteX1" fmla="*/ 72468 w 2612656"/>
                <a:gd name="connsiteY1" fmla="*/ 2095501 h 2389253"/>
                <a:gd name="connsiteX2" fmla="*/ 34368 w 2612656"/>
                <a:gd name="connsiteY2" fmla="*/ 1900238 h 2389253"/>
                <a:gd name="connsiteX3" fmla="*/ 77231 w 2612656"/>
                <a:gd name="connsiteY3" fmla="*/ 1319213 h 2389253"/>
                <a:gd name="connsiteX4" fmla="*/ 24843 w 2612656"/>
                <a:gd name="connsiteY4" fmla="*/ 952501 h 2389253"/>
                <a:gd name="connsiteX5" fmla="*/ 12016 w 2612656"/>
                <a:gd name="connsiteY5" fmla="*/ 583866 h 2389253"/>
                <a:gd name="connsiteX6" fmla="*/ 62944 w 2612656"/>
                <a:gd name="connsiteY6" fmla="*/ 447676 h 2389253"/>
                <a:gd name="connsiteX7" fmla="*/ 191532 w 2612656"/>
                <a:gd name="connsiteY7" fmla="*/ 252413 h 2389253"/>
                <a:gd name="connsiteX8" fmla="*/ 353457 w 2612656"/>
                <a:gd name="connsiteY8" fmla="*/ 123826 h 2389253"/>
                <a:gd name="connsiteX9" fmla="*/ 621210 w 2612656"/>
                <a:gd name="connsiteY9" fmla="*/ 12772 h 2389253"/>
                <a:gd name="connsiteX10" fmla="*/ 1339294 w 2612656"/>
                <a:gd name="connsiteY10" fmla="*/ 33338 h 2389253"/>
                <a:gd name="connsiteX11" fmla="*/ 1601232 w 2612656"/>
                <a:gd name="connsiteY11" fmla="*/ 14288 h 2389253"/>
                <a:gd name="connsiteX12" fmla="*/ 1867932 w 2612656"/>
                <a:gd name="connsiteY12" fmla="*/ 0 h 2389253"/>
                <a:gd name="connsiteX13" fmla="*/ 2210832 w 2612656"/>
                <a:gd name="connsiteY13" fmla="*/ 42864 h 2389253"/>
                <a:gd name="connsiteX14" fmla="*/ 2612656 w 2612656"/>
                <a:gd name="connsiteY14" fmla="*/ 12772 h 2389253"/>
                <a:gd name="connsiteX15" fmla="*/ 2051444 w 2612656"/>
                <a:gd name="connsiteY15" fmla="*/ 268939 h 2389253"/>
                <a:gd name="connsiteX16" fmla="*/ 621210 w 2612656"/>
                <a:gd name="connsiteY16" fmla="*/ 271213 h 2389253"/>
                <a:gd name="connsiteX17" fmla="*/ 303794 w 2612656"/>
                <a:gd name="connsiteY17" fmla="*/ 588629 h 2389253"/>
                <a:gd name="connsiteX18" fmla="*/ 303795 w 2612656"/>
                <a:gd name="connsiteY18" fmla="*/ 2389253 h 2389253"/>
                <a:gd name="connsiteX19" fmla="*/ 45354 w 2612656"/>
                <a:gd name="connsiteY19" fmla="*/ 2389253 h 2389253"/>
                <a:gd name="connsiteX0" fmla="*/ 45354 w 2210832"/>
                <a:gd name="connsiteY0" fmla="*/ 2389253 h 2389253"/>
                <a:gd name="connsiteX1" fmla="*/ 72468 w 2210832"/>
                <a:gd name="connsiteY1" fmla="*/ 2095501 h 2389253"/>
                <a:gd name="connsiteX2" fmla="*/ 34368 w 2210832"/>
                <a:gd name="connsiteY2" fmla="*/ 1900238 h 2389253"/>
                <a:gd name="connsiteX3" fmla="*/ 77231 w 2210832"/>
                <a:gd name="connsiteY3" fmla="*/ 1319213 h 2389253"/>
                <a:gd name="connsiteX4" fmla="*/ 24843 w 2210832"/>
                <a:gd name="connsiteY4" fmla="*/ 952501 h 2389253"/>
                <a:gd name="connsiteX5" fmla="*/ 12016 w 2210832"/>
                <a:gd name="connsiteY5" fmla="*/ 583866 h 2389253"/>
                <a:gd name="connsiteX6" fmla="*/ 62944 w 2210832"/>
                <a:gd name="connsiteY6" fmla="*/ 447676 h 2389253"/>
                <a:gd name="connsiteX7" fmla="*/ 191532 w 2210832"/>
                <a:gd name="connsiteY7" fmla="*/ 252413 h 2389253"/>
                <a:gd name="connsiteX8" fmla="*/ 353457 w 2210832"/>
                <a:gd name="connsiteY8" fmla="*/ 123826 h 2389253"/>
                <a:gd name="connsiteX9" fmla="*/ 621210 w 2210832"/>
                <a:gd name="connsiteY9" fmla="*/ 12772 h 2389253"/>
                <a:gd name="connsiteX10" fmla="*/ 1339294 w 2210832"/>
                <a:gd name="connsiteY10" fmla="*/ 33338 h 2389253"/>
                <a:gd name="connsiteX11" fmla="*/ 1601232 w 2210832"/>
                <a:gd name="connsiteY11" fmla="*/ 14288 h 2389253"/>
                <a:gd name="connsiteX12" fmla="*/ 1867932 w 2210832"/>
                <a:gd name="connsiteY12" fmla="*/ 0 h 2389253"/>
                <a:gd name="connsiteX13" fmla="*/ 2210832 w 2210832"/>
                <a:gd name="connsiteY13" fmla="*/ 42864 h 2389253"/>
                <a:gd name="connsiteX14" fmla="*/ 2051444 w 2210832"/>
                <a:gd name="connsiteY14" fmla="*/ 268939 h 2389253"/>
                <a:gd name="connsiteX15" fmla="*/ 621210 w 2210832"/>
                <a:gd name="connsiteY15" fmla="*/ 271213 h 2389253"/>
                <a:gd name="connsiteX16" fmla="*/ 303794 w 2210832"/>
                <a:gd name="connsiteY16" fmla="*/ 588629 h 2389253"/>
                <a:gd name="connsiteX17" fmla="*/ 303795 w 2210832"/>
                <a:gd name="connsiteY17" fmla="*/ 2389253 h 2389253"/>
                <a:gd name="connsiteX18" fmla="*/ 45354 w 2210832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957243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33889 w 2039979"/>
                <a:gd name="connsiteY0" fmla="*/ 2389253 h 2389253"/>
                <a:gd name="connsiteX1" fmla="*/ 61003 w 2039979"/>
                <a:gd name="connsiteY1" fmla="*/ 2095501 h 2389253"/>
                <a:gd name="connsiteX2" fmla="*/ 22903 w 2039979"/>
                <a:gd name="connsiteY2" fmla="*/ 1900238 h 2389253"/>
                <a:gd name="connsiteX3" fmla="*/ 65766 w 2039979"/>
                <a:gd name="connsiteY3" fmla="*/ 1319213 h 2389253"/>
                <a:gd name="connsiteX4" fmla="*/ 13378 w 2039979"/>
                <a:gd name="connsiteY4" fmla="*/ 952501 h 2389253"/>
                <a:gd name="connsiteX5" fmla="*/ 551 w 2039979"/>
                <a:gd name="connsiteY5" fmla="*/ 583866 h 2389253"/>
                <a:gd name="connsiteX6" fmla="*/ 92699 w 2039979"/>
                <a:gd name="connsiteY6" fmla="*/ 378976 h 2389253"/>
                <a:gd name="connsiteX7" fmla="*/ 180067 w 2039979"/>
                <a:gd name="connsiteY7" fmla="*/ 252413 h 2389253"/>
                <a:gd name="connsiteX8" fmla="*/ 341992 w 2039979"/>
                <a:gd name="connsiteY8" fmla="*/ 123826 h 2389253"/>
                <a:gd name="connsiteX9" fmla="*/ 609745 w 2039979"/>
                <a:gd name="connsiteY9" fmla="*/ 12772 h 2389253"/>
                <a:gd name="connsiteX10" fmla="*/ 1327829 w 2039979"/>
                <a:gd name="connsiteY10" fmla="*/ 33338 h 2389253"/>
                <a:gd name="connsiteX11" fmla="*/ 1589767 w 2039979"/>
                <a:gd name="connsiteY11" fmla="*/ 14288 h 2389253"/>
                <a:gd name="connsiteX12" fmla="*/ 1945778 w 2039979"/>
                <a:gd name="connsiteY12" fmla="*/ 0 h 2389253"/>
                <a:gd name="connsiteX13" fmla="*/ 1869606 w 2039979"/>
                <a:gd name="connsiteY13" fmla="*/ 145914 h 2389253"/>
                <a:gd name="connsiteX14" fmla="*/ 2039979 w 2039979"/>
                <a:gd name="connsiteY14" fmla="*/ 268939 h 2389253"/>
                <a:gd name="connsiteX15" fmla="*/ 609745 w 2039979"/>
                <a:gd name="connsiteY15" fmla="*/ 271213 h 2389253"/>
                <a:gd name="connsiteX16" fmla="*/ 292329 w 2039979"/>
                <a:gd name="connsiteY16" fmla="*/ 588629 h 2389253"/>
                <a:gd name="connsiteX17" fmla="*/ 292330 w 2039979"/>
                <a:gd name="connsiteY17" fmla="*/ 2389253 h 2389253"/>
                <a:gd name="connsiteX18" fmla="*/ 33889 w 2039979"/>
                <a:gd name="connsiteY18" fmla="*/ 2389253 h 2389253"/>
                <a:gd name="connsiteX0" fmla="*/ 114279 w 2120369"/>
                <a:gd name="connsiteY0" fmla="*/ 2389253 h 2389253"/>
                <a:gd name="connsiteX1" fmla="*/ 141393 w 2120369"/>
                <a:gd name="connsiteY1" fmla="*/ 2095501 h 2389253"/>
                <a:gd name="connsiteX2" fmla="*/ 103293 w 2120369"/>
                <a:gd name="connsiteY2" fmla="*/ 1900238 h 2389253"/>
                <a:gd name="connsiteX3" fmla="*/ 146156 w 2120369"/>
                <a:gd name="connsiteY3" fmla="*/ 1319213 h 2389253"/>
                <a:gd name="connsiteX4" fmla="*/ 93768 w 2120369"/>
                <a:gd name="connsiteY4" fmla="*/ 952501 h 2389253"/>
                <a:gd name="connsiteX5" fmla="*/ 80941 w 2120369"/>
                <a:gd name="connsiteY5" fmla="*/ 583866 h 2389253"/>
                <a:gd name="connsiteX6" fmla="*/ 173089 w 2120369"/>
                <a:gd name="connsiteY6" fmla="*/ 378976 h 2389253"/>
                <a:gd name="connsiteX7" fmla="*/ 6266 w 2120369"/>
                <a:gd name="connsiteY7" fmla="*/ 376074 h 2389253"/>
                <a:gd name="connsiteX8" fmla="*/ 422382 w 2120369"/>
                <a:gd name="connsiteY8" fmla="*/ 123826 h 2389253"/>
                <a:gd name="connsiteX9" fmla="*/ 690135 w 2120369"/>
                <a:gd name="connsiteY9" fmla="*/ 12772 h 2389253"/>
                <a:gd name="connsiteX10" fmla="*/ 1408219 w 2120369"/>
                <a:gd name="connsiteY10" fmla="*/ 33338 h 2389253"/>
                <a:gd name="connsiteX11" fmla="*/ 1670157 w 2120369"/>
                <a:gd name="connsiteY11" fmla="*/ 14288 h 2389253"/>
                <a:gd name="connsiteX12" fmla="*/ 2026168 w 2120369"/>
                <a:gd name="connsiteY12" fmla="*/ 0 h 2389253"/>
                <a:gd name="connsiteX13" fmla="*/ 1949996 w 2120369"/>
                <a:gd name="connsiteY13" fmla="*/ 145914 h 2389253"/>
                <a:gd name="connsiteX14" fmla="*/ 2120369 w 2120369"/>
                <a:gd name="connsiteY14" fmla="*/ 268939 h 2389253"/>
                <a:gd name="connsiteX15" fmla="*/ 690135 w 2120369"/>
                <a:gd name="connsiteY15" fmla="*/ 271213 h 2389253"/>
                <a:gd name="connsiteX16" fmla="*/ 372719 w 2120369"/>
                <a:gd name="connsiteY16" fmla="*/ 588629 h 2389253"/>
                <a:gd name="connsiteX17" fmla="*/ 372720 w 2120369"/>
                <a:gd name="connsiteY17" fmla="*/ 2389253 h 2389253"/>
                <a:gd name="connsiteX18" fmla="*/ 114279 w 2120369"/>
                <a:gd name="connsiteY18" fmla="*/ 2389253 h 2389253"/>
                <a:gd name="connsiteX0" fmla="*/ 114998 w 2121088"/>
                <a:gd name="connsiteY0" fmla="*/ 2389253 h 2389253"/>
                <a:gd name="connsiteX1" fmla="*/ 142112 w 2121088"/>
                <a:gd name="connsiteY1" fmla="*/ 2095501 h 2389253"/>
                <a:gd name="connsiteX2" fmla="*/ 104012 w 2121088"/>
                <a:gd name="connsiteY2" fmla="*/ 1900238 h 2389253"/>
                <a:gd name="connsiteX3" fmla="*/ 146875 w 2121088"/>
                <a:gd name="connsiteY3" fmla="*/ 1319213 h 2389253"/>
                <a:gd name="connsiteX4" fmla="*/ 94487 w 2121088"/>
                <a:gd name="connsiteY4" fmla="*/ 952501 h 2389253"/>
                <a:gd name="connsiteX5" fmla="*/ 81660 w 2121088"/>
                <a:gd name="connsiteY5" fmla="*/ 583866 h 2389253"/>
                <a:gd name="connsiteX6" fmla="*/ 173808 w 2121088"/>
                <a:gd name="connsiteY6" fmla="*/ 378976 h 2389253"/>
                <a:gd name="connsiteX7" fmla="*/ 6985 w 2121088"/>
                <a:gd name="connsiteY7" fmla="*/ 376074 h 2389253"/>
                <a:gd name="connsiteX8" fmla="*/ 24639 w 2121088"/>
                <a:gd name="connsiteY8" fmla="*/ 2377193 h 2389253"/>
                <a:gd name="connsiteX9" fmla="*/ 690854 w 2121088"/>
                <a:gd name="connsiteY9" fmla="*/ 12772 h 2389253"/>
                <a:gd name="connsiteX10" fmla="*/ 1408938 w 2121088"/>
                <a:gd name="connsiteY10" fmla="*/ 33338 h 2389253"/>
                <a:gd name="connsiteX11" fmla="*/ 1670876 w 2121088"/>
                <a:gd name="connsiteY11" fmla="*/ 14288 h 2389253"/>
                <a:gd name="connsiteX12" fmla="*/ 2026887 w 2121088"/>
                <a:gd name="connsiteY12" fmla="*/ 0 h 2389253"/>
                <a:gd name="connsiteX13" fmla="*/ 1950715 w 2121088"/>
                <a:gd name="connsiteY13" fmla="*/ 145914 h 2389253"/>
                <a:gd name="connsiteX14" fmla="*/ 2121088 w 2121088"/>
                <a:gd name="connsiteY14" fmla="*/ 268939 h 2389253"/>
                <a:gd name="connsiteX15" fmla="*/ 690854 w 2121088"/>
                <a:gd name="connsiteY15" fmla="*/ 271213 h 2389253"/>
                <a:gd name="connsiteX16" fmla="*/ 373438 w 2121088"/>
                <a:gd name="connsiteY16" fmla="*/ 588629 h 2389253"/>
                <a:gd name="connsiteX17" fmla="*/ 373439 w 2121088"/>
                <a:gd name="connsiteY17" fmla="*/ 2389253 h 2389253"/>
                <a:gd name="connsiteX18" fmla="*/ 114998 w 2121088"/>
                <a:gd name="connsiteY18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764102 w 2194336"/>
                <a:gd name="connsiteY14" fmla="*/ 271213 h 2389253"/>
                <a:gd name="connsiteX15" fmla="*/ 446686 w 2194336"/>
                <a:gd name="connsiteY15" fmla="*/ 588629 h 2389253"/>
                <a:gd name="connsiteX16" fmla="*/ 446687 w 2194336"/>
                <a:gd name="connsiteY16" fmla="*/ 2389253 h 2389253"/>
                <a:gd name="connsiteX17" fmla="*/ 188246 w 2194336"/>
                <a:gd name="connsiteY17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446686 w 2194336"/>
                <a:gd name="connsiteY14" fmla="*/ 588629 h 2389253"/>
                <a:gd name="connsiteX15" fmla="*/ 446687 w 2194336"/>
                <a:gd name="connsiteY15" fmla="*/ 2389253 h 2389253"/>
                <a:gd name="connsiteX16" fmla="*/ 188246 w 2194336"/>
                <a:gd name="connsiteY16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446687 w 2194336"/>
                <a:gd name="connsiteY14" fmla="*/ 2389253 h 2389253"/>
                <a:gd name="connsiteX15" fmla="*/ 188246 w 2194336"/>
                <a:gd name="connsiteY15" fmla="*/ 2389253 h 2389253"/>
                <a:gd name="connsiteX0" fmla="*/ 207614 w 2213704"/>
                <a:gd name="connsiteY0" fmla="*/ 2389253 h 2389253"/>
                <a:gd name="connsiteX1" fmla="*/ 234728 w 2213704"/>
                <a:gd name="connsiteY1" fmla="*/ 2095501 h 2389253"/>
                <a:gd name="connsiteX2" fmla="*/ 196628 w 2213704"/>
                <a:gd name="connsiteY2" fmla="*/ 1900238 h 2389253"/>
                <a:gd name="connsiteX3" fmla="*/ 239491 w 2213704"/>
                <a:gd name="connsiteY3" fmla="*/ 1319213 h 2389253"/>
                <a:gd name="connsiteX4" fmla="*/ 187103 w 2213704"/>
                <a:gd name="connsiteY4" fmla="*/ 952501 h 2389253"/>
                <a:gd name="connsiteX5" fmla="*/ 174276 w 2213704"/>
                <a:gd name="connsiteY5" fmla="*/ 583866 h 2389253"/>
                <a:gd name="connsiteX6" fmla="*/ 266424 w 2213704"/>
                <a:gd name="connsiteY6" fmla="*/ 378976 h 2389253"/>
                <a:gd name="connsiteX7" fmla="*/ 99601 w 2213704"/>
                <a:gd name="connsiteY7" fmla="*/ 376074 h 2389253"/>
                <a:gd name="connsiteX8" fmla="*/ 117255 w 2213704"/>
                <a:gd name="connsiteY8" fmla="*/ 2377193 h 2389253"/>
                <a:gd name="connsiteX9" fmla="*/ 1763492 w 2213704"/>
                <a:gd name="connsiteY9" fmla="*/ 14288 h 2389253"/>
                <a:gd name="connsiteX10" fmla="*/ 2119503 w 2213704"/>
                <a:gd name="connsiteY10" fmla="*/ 0 h 2389253"/>
                <a:gd name="connsiteX11" fmla="*/ 2043331 w 2213704"/>
                <a:gd name="connsiteY11" fmla="*/ 145914 h 2389253"/>
                <a:gd name="connsiteX12" fmla="*/ 2213704 w 2213704"/>
                <a:gd name="connsiteY12" fmla="*/ 268939 h 2389253"/>
                <a:gd name="connsiteX13" fmla="*/ 466055 w 2213704"/>
                <a:gd name="connsiteY13" fmla="*/ 2389253 h 2389253"/>
                <a:gd name="connsiteX14" fmla="*/ 207614 w 2213704"/>
                <a:gd name="connsiteY14" fmla="*/ 2389253 h 2389253"/>
                <a:gd name="connsiteX0" fmla="*/ 233952 w 2240042"/>
                <a:gd name="connsiteY0" fmla="*/ 2389253 h 2389253"/>
                <a:gd name="connsiteX1" fmla="*/ 261066 w 2240042"/>
                <a:gd name="connsiteY1" fmla="*/ 2095501 h 2389253"/>
                <a:gd name="connsiteX2" fmla="*/ 222966 w 2240042"/>
                <a:gd name="connsiteY2" fmla="*/ 1900238 h 2389253"/>
                <a:gd name="connsiteX3" fmla="*/ 265829 w 2240042"/>
                <a:gd name="connsiteY3" fmla="*/ 1319213 h 2389253"/>
                <a:gd name="connsiteX4" fmla="*/ 213441 w 2240042"/>
                <a:gd name="connsiteY4" fmla="*/ 952501 h 2389253"/>
                <a:gd name="connsiteX5" fmla="*/ 200614 w 2240042"/>
                <a:gd name="connsiteY5" fmla="*/ 583866 h 2389253"/>
                <a:gd name="connsiteX6" fmla="*/ 292762 w 2240042"/>
                <a:gd name="connsiteY6" fmla="*/ 378976 h 2389253"/>
                <a:gd name="connsiteX7" fmla="*/ 125939 w 2240042"/>
                <a:gd name="connsiteY7" fmla="*/ 376074 h 2389253"/>
                <a:gd name="connsiteX8" fmla="*/ 143593 w 2240042"/>
                <a:gd name="connsiteY8" fmla="*/ 2377193 h 2389253"/>
                <a:gd name="connsiteX9" fmla="*/ 2145841 w 2240042"/>
                <a:gd name="connsiteY9" fmla="*/ 0 h 2389253"/>
                <a:gd name="connsiteX10" fmla="*/ 2069669 w 2240042"/>
                <a:gd name="connsiteY10" fmla="*/ 145914 h 2389253"/>
                <a:gd name="connsiteX11" fmla="*/ 2240042 w 2240042"/>
                <a:gd name="connsiteY11" fmla="*/ 268939 h 2389253"/>
                <a:gd name="connsiteX12" fmla="*/ 492393 w 2240042"/>
                <a:gd name="connsiteY12" fmla="*/ 2389253 h 2389253"/>
                <a:gd name="connsiteX13" fmla="*/ 233952 w 2240042"/>
                <a:gd name="connsiteY13" fmla="*/ 2389253 h 2389253"/>
                <a:gd name="connsiteX0" fmla="*/ 228317 w 2234407"/>
                <a:gd name="connsiteY0" fmla="*/ 2243339 h 2243339"/>
                <a:gd name="connsiteX1" fmla="*/ 255431 w 2234407"/>
                <a:gd name="connsiteY1" fmla="*/ 1949587 h 2243339"/>
                <a:gd name="connsiteX2" fmla="*/ 217331 w 2234407"/>
                <a:gd name="connsiteY2" fmla="*/ 1754324 h 2243339"/>
                <a:gd name="connsiteX3" fmla="*/ 260194 w 2234407"/>
                <a:gd name="connsiteY3" fmla="*/ 1173299 h 2243339"/>
                <a:gd name="connsiteX4" fmla="*/ 207806 w 2234407"/>
                <a:gd name="connsiteY4" fmla="*/ 806587 h 2243339"/>
                <a:gd name="connsiteX5" fmla="*/ 194979 w 2234407"/>
                <a:gd name="connsiteY5" fmla="*/ 437952 h 2243339"/>
                <a:gd name="connsiteX6" fmla="*/ 287127 w 2234407"/>
                <a:gd name="connsiteY6" fmla="*/ 233062 h 2243339"/>
                <a:gd name="connsiteX7" fmla="*/ 120304 w 2234407"/>
                <a:gd name="connsiteY7" fmla="*/ 230160 h 2243339"/>
                <a:gd name="connsiteX8" fmla="*/ 137958 w 2234407"/>
                <a:gd name="connsiteY8" fmla="*/ 2231279 h 2243339"/>
                <a:gd name="connsiteX9" fmla="*/ 2064034 w 2234407"/>
                <a:gd name="connsiteY9" fmla="*/ 0 h 2243339"/>
                <a:gd name="connsiteX10" fmla="*/ 2234407 w 2234407"/>
                <a:gd name="connsiteY10" fmla="*/ 123025 h 2243339"/>
                <a:gd name="connsiteX11" fmla="*/ 486758 w 2234407"/>
                <a:gd name="connsiteY11" fmla="*/ 2243339 h 2243339"/>
                <a:gd name="connsiteX12" fmla="*/ 228317 w 2234407"/>
                <a:gd name="connsiteY12" fmla="*/ 2243339 h 2243339"/>
                <a:gd name="connsiteX0" fmla="*/ 240923 w 2247013"/>
                <a:gd name="connsiteY0" fmla="*/ 2120316 h 2120316"/>
                <a:gd name="connsiteX1" fmla="*/ 268037 w 2247013"/>
                <a:gd name="connsiteY1" fmla="*/ 1826564 h 2120316"/>
                <a:gd name="connsiteX2" fmla="*/ 229937 w 2247013"/>
                <a:gd name="connsiteY2" fmla="*/ 1631301 h 2120316"/>
                <a:gd name="connsiteX3" fmla="*/ 272800 w 2247013"/>
                <a:gd name="connsiteY3" fmla="*/ 1050276 h 2120316"/>
                <a:gd name="connsiteX4" fmla="*/ 220412 w 2247013"/>
                <a:gd name="connsiteY4" fmla="*/ 683564 h 2120316"/>
                <a:gd name="connsiteX5" fmla="*/ 207585 w 2247013"/>
                <a:gd name="connsiteY5" fmla="*/ 314929 h 2120316"/>
                <a:gd name="connsiteX6" fmla="*/ 299733 w 2247013"/>
                <a:gd name="connsiteY6" fmla="*/ 110039 h 2120316"/>
                <a:gd name="connsiteX7" fmla="*/ 132910 w 2247013"/>
                <a:gd name="connsiteY7" fmla="*/ 107137 h 2120316"/>
                <a:gd name="connsiteX8" fmla="*/ 150564 w 2247013"/>
                <a:gd name="connsiteY8" fmla="*/ 2108256 h 2120316"/>
                <a:gd name="connsiteX9" fmla="*/ 2247013 w 2247013"/>
                <a:gd name="connsiteY9" fmla="*/ 2 h 2120316"/>
                <a:gd name="connsiteX10" fmla="*/ 499364 w 2247013"/>
                <a:gd name="connsiteY10" fmla="*/ 2120316 h 2120316"/>
                <a:gd name="connsiteX11" fmla="*/ 240923 w 2247013"/>
                <a:gd name="connsiteY11" fmla="*/ 2120316 h 2120316"/>
                <a:gd name="connsiteX0" fmla="*/ 114280 w 372721"/>
                <a:gd name="connsiteY0" fmla="*/ 2027025 h 2166819"/>
                <a:gd name="connsiteX1" fmla="*/ 141394 w 372721"/>
                <a:gd name="connsiteY1" fmla="*/ 1733273 h 2166819"/>
                <a:gd name="connsiteX2" fmla="*/ 103294 w 372721"/>
                <a:gd name="connsiteY2" fmla="*/ 1538010 h 2166819"/>
                <a:gd name="connsiteX3" fmla="*/ 146157 w 372721"/>
                <a:gd name="connsiteY3" fmla="*/ 956985 h 2166819"/>
                <a:gd name="connsiteX4" fmla="*/ 93769 w 372721"/>
                <a:gd name="connsiteY4" fmla="*/ 590273 h 2166819"/>
                <a:gd name="connsiteX5" fmla="*/ 80942 w 372721"/>
                <a:gd name="connsiteY5" fmla="*/ 221638 h 2166819"/>
                <a:gd name="connsiteX6" fmla="*/ 173090 w 372721"/>
                <a:gd name="connsiteY6" fmla="*/ 16748 h 2166819"/>
                <a:gd name="connsiteX7" fmla="*/ 6267 w 372721"/>
                <a:gd name="connsiteY7" fmla="*/ 13846 h 2166819"/>
                <a:gd name="connsiteX8" fmla="*/ 23921 w 372721"/>
                <a:gd name="connsiteY8" fmla="*/ 2014965 h 2166819"/>
                <a:gd name="connsiteX9" fmla="*/ 372721 w 372721"/>
                <a:gd name="connsiteY9" fmla="*/ 2027025 h 2166819"/>
                <a:gd name="connsiteX10" fmla="*/ 114280 w 372721"/>
                <a:gd name="connsiteY10" fmla="*/ 2027025 h 2166819"/>
                <a:gd name="connsiteX0" fmla="*/ 114280 w 176270"/>
                <a:gd name="connsiteY0" fmla="*/ 2027025 h 2178676"/>
                <a:gd name="connsiteX1" fmla="*/ 141394 w 176270"/>
                <a:gd name="connsiteY1" fmla="*/ 1733273 h 2178676"/>
                <a:gd name="connsiteX2" fmla="*/ 103294 w 176270"/>
                <a:gd name="connsiteY2" fmla="*/ 1538010 h 2178676"/>
                <a:gd name="connsiteX3" fmla="*/ 146157 w 176270"/>
                <a:gd name="connsiteY3" fmla="*/ 956985 h 2178676"/>
                <a:gd name="connsiteX4" fmla="*/ 93769 w 176270"/>
                <a:gd name="connsiteY4" fmla="*/ 590273 h 2178676"/>
                <a:gd name="connsiteX5" fmla="*/ 80942 w 176270"/>
                <a:gd name="connsiteY5" fmla="*/ 221638 h 2178676"/>
                <a:gd name="connsiteX6" fmla="*/ 173090 w 176270"/>
                <a:gd name="connsiteY6" fmla="*/ 16748 h 2178676"/>
                <a:gd name="connsiteX7" fmla="*/ 6267 w 176270"/>
                <a:gd name="connsiteY7" fmla="*/ 13846 h 2178676"/>
                <a:gd name="connsiteX8" fmla="*/ 23921 w 176270"/>
                <a:gd name="connsiteY8" fmla="*/ 2014965 h 2178676"/>
                <a:gd name="connsiteX9" fmla="*/ 114280 w 176270"/>
                <a:gd name="connsiteY9" fmla="*/ 2027025 h 2178676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23921 w 176270"/>
                <a:gd name="connsiteY8" fmla="*/ 2014965 h 2027025"/>
                <a:gd name="connsiteX9" fmla="*/ 114280 w 176270"/>
                <a:gd name="connsiteY9" fmla="*/ 2027025 h 2027025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23921 w 176270"/>
                <a:gd name="connsiteY8" fmla="*/ 2014965 h 2027025"/>
                <a:gd name="connsiteX9" fmla="*/ 114280 w 176270"/>
                <a:gd name="connsiteY9" fmla="*/ 2027025 h 2027025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8037 w 176270"/>
                <a:gd name="connsiteY8" fmla="*/ 2026878 h 2027025"/>
                <a:gd name="connsiteX9" fmla="*/ 114280 w 176270"/>
                <a:gd name="connsiteY9" fmla="*/ 2027025 h 2027025"/>
                <a:gd name="connsiteX0" fmla="*/ 108013 w 166823"/>
                <a:gd name="connsiteY0" fmla="*/ 2162103 h 2162103"/>
                <a:gd name="connsiteX1" fmla="*/ 135127 w 166823"/>
                <a:gd name="connsiteY1" fmla="*/ 1868351 h 2162103"/>
                <a:gd name="connsiteX2" fmla="*/ 97027 w 166823"/>
                <a:gd name="connsiteY2" fmla="*/ 1673088 h 2162103"/>
                <a:gd name="connsiteX3" fmla="*/ 139890 w 166823"/>
                <a:gd name="connsiteY3" fmla="*/ 1092063 h 2162103"/>
                <a:gd name="connsiteX4" fmla="*/ 87502 w 166823"/>
                <a:gd name="connsiteY4" fmla="*/ 725351 h 2162103"/>
                <a:gd name="connsiteX5" fmla="*/ 74675 w 166823"/>
                <a:gd name="connsiteY5" fmla="*/ 356716 h 2162103"/>
                <a:gd name="connsiteX6" fmla="*/ 166823 w 166823"/>
                <a:gd name="connsiteY6" fmla="*/ 151826 h 2162103"/>
                <a:gd name="connsiteX7" fmla="*/ 56287 w 166823"/>
                <a:gd name="connsiteY7" fmla="*/ 150698 h 2162103"/>
                <a:gd name="connsiteX8" fmla="*/ 0 w 166823"/>
                <a:gd name="connsiteY8" fmla="*/ 148924 h 2162103"/>
                <a:gd name="connsiteX9" fmla="*/ 1770 w 166823"/>
                <a:gd name="connsiteY9" fmla="*/ 2161956 h 2162103"/>
                <a:gd name="connsiteX10" fmla="*/ 108013 w 166823"/>
                <a:gd name="connsiteY10" fmla="*/ 2162103 h 2162103"/>
                <a:gd name="connsiteX0" fmla="*/ 108013 w 166823"/>
                <a:gd name="connsiteY0" fmla="*/ 2169259 h 2169259"/>
                <a:gd name="connsiteX1" fmla="*/ 135127 w 166823"/>
                <a:gd name="connsiteY1" fmla="*/ 1875507 h 2169259"/>
                <a:gd name="connsiteX2" fmla="*/ 97027 w 166823"/>
                <a:gd name="connsiteY2" fmla="*/ 1680244 h 2169259"/>
                <a:gd name="connsiteX3" fmla="*/ 139890 w 166823"/>
                <a:gd name="connsiteY3" fmla="*/ 1099219 h 2169259"/>
                <a:gd name="connsiteX4" fmla="*/ 87502 w 166823"/>
                <a:gd name="connsiteY4" fmla="*/ 732507 h 2169259"/>
                <a:gd name="connsiteX5" fmla="*/ 74675 w 166823"/>
                <a:gd name="connsiteY5" fmla="*/ 363872 h 2169259"/>
                <a:gd name="connsiteX6" fmla="*/ 166823 w 166823"/>
                <a:gd name="connsiteY6" fmla="*/ 158982 h 2169259"/>
                <a:gd name="connsiteX7" fmla="*/ 0 w 166823"/>
                <a:gd name="connsiteY7" fmla="*/ 156080 h 2169259"/>
                <a:gd name="connsiteX8" fmla="*/ 1770 w 166823"/>
                <a:gd name="connsiteY8" fmla="*/ 2169112 h 2169259"/>
                <a:gd name="connsiteX9" fmla="*/ 108013 w 166823"/>
                <a:gd name="connsiteY9" fmla="*/ 2169259 h 2169259"/>
                <a:gd name="connsiteX0" fmla="*/ 108013 w 166823"/>
                <a:gd name="connsiteY0" fmla="*/ 2013179 h 2013179"/>
                <a:gd name="connsiteX1" fmla="*/ 135127 w 166823"/>
                <a:gd name="connsiteY1" fmla="*/ 1719427 h 2013179"/>
                <a:gd name="connsiteX2" fmla="*/ 97027 w 166823"/>
                <a:gd name="connsiteY2" fmla="*/ 1524164 h 2013179"/>
                <a:gd name="connsiteX3" fmla="*/ 139890 w 166823"/>
                <a:gd name="connsiteY3" fmla="*/ 943139 h 2013179"/>
                <a:gd name="connsiteX4" fmla="*/ 87502 w 166823"/>
                <a:gd name="connsiteY4" fmla="*/ 576427 h 2013179"/>
                <a:gd name="connsiteX5" fmla="*/ 74675 w 166823"/>
                <a:gd name="connsiteY5" fmla="*/ 207792 h 2013179"/>
                <a:gd name="connsiteX6" fmla="*/ 166823 w 166823"/>
                <a:gd name="connsiteY6" fmla="*/ 2902 h 2013179"/>
                <a:gd name="connsiteX7" fmla="*/ 0 w 166823"/>
                <a:gd name="connsiteY7" fmla="*/ 0 h 2013179"/>
                <a:gd name="connsiteX8" fmla="*/ 1770 w 166823"/>
                <a:gd name="connsiteY8" fmla="*/ 2013032 h 2013179"/>
                <a:gd name="connsiteX9" fmla="*/ 108013 w 166823"/>
                <a:gd name="connsiteY9" fmla="*/ 2013179 h 2013179"/>
                <a:gd name="connsiteX0" fmla="*/ 108013 w 168429"/>
                <a:gd name="connsiteY0" fmla="*/ 2013179 h 2013179"/>
                <a:gd name="connsiteX1" fmla="*/ 135127 w 168429"/>
                <a:gd name="connsiteY1" fmla="*/ 1719427 h 2013179"/>
                <a:gd name="connsiteX2" fmla="*/ 97027 w 168429"/>
                <a:gd name="connsiteY2" fmla="*/ 1524164 h 2013179"/>
                <a:gd name="connsiteX3" fmla="*/ 139890 w 168429"/>
                <a:gd name="connsiteY3" fmla="*/ 943139 h 2013179"/>
                <a:gd name="connsiteX4" fmla="*/ 87502 w 168429"/>
                <a:gd name="connsiteY4" fmla="*/ 576427 h 2013179"/>
                <a:gd name="connsiteX5" fmla="*/ 166823 w 168429"/>
                <a:gd name="connsiteY5" fmla="*/ 2902 h 2013179"/>
                <a:gd name="connsiteX6" fmla="*/ 0 w 168429"/>
                <a:gd name="connsiteY6" fmla="*/ 0 h 2013179"/>
                <a:gd name="connsiteX7" fmla="*/ 1770 w 168429"/>
                <a:gd name="connsiteY7" fmla="*/ 2013032 h 2013179"/>
                <a:gd name="connsiteX8" fmla="*/ 108013 w 168429"/>
                <a:gd name="connsiteY8" fmla="*/ 2013179 h 2013179"/>
                <a:gd name="connsiteX0" fmla="*/ 108013 w 174167"/>
                <a:gd name="connsiteY0" fmla="*/ 2013179 h 2013179"/>
                <a:gd name="connsiteX1" fmla="*/ 135127 w 174167"/>
                <a:gd name="connsiteY1" fmla="*/ 1719427 h 2013179"/>
                <a:gd name="connsiteX2" fmla="*/ 97027 w 174167"/>
                <a:gd name="connsiteY2" fmla="*/ 1524164 h 2013179"/>
                <a:gd name="connsiteX3" fmla="*/ 139890 w 174167"/>
                <a:gd name="connsiteY3" fmla="*/ 943139 h 2013179"/>
                <a:gd name="connsiteX4" fmla="*/ 166823 w 174167"/>
                <a:gd name="connsiteY4" fmla="*/ 2902 h 2013179"/>
                <a:gd name="connsiteX5" fmla="*/ 0 w 174167"/>
                <a:gd name="connsiteY5" fmla="*/ 0 h 2013179"/>
                <a:gd name="connsiteX6" fmla="*/ 1770 w 174167"/>
                <a:gd name="connsiteY6" fmla="*/ 2013032 h 2013179"/>
                <a:gd name="connsiteX7" fmla="*/ 108013 w 174167"/>
                <a:gd name="connsiteY7" fmla="*/ 2013179 h 2013179"/>
                <a:gd name="connsiteX0" fmla="*/ 108013 w 174167"/>
                <a:gd name="connsiteY0" fmla="*/ 2013179 h 2013179"/>
                <a:gd name="connsiteX1" fmla="*/ 97027 w 174167"/>
                <a:gd name="connsiteY1" fmla="*/ 1524164 h 2013179"/>
                <a:gd name="connsiteX2" fmla="*/ 139890 w 174167"/>
                <a:gd name="connsiteY2" fmla="*/ 943139 h 2013179"/>
                <a:gd name="connsiteX3" fmla="*/ 166823 w 174167"/>
                <a:gd name="connsiteY3" fmla="*/ 2902 h 2013179"/>
                <a:gd name="connsiteX4" fmla="*/ 0 w 174167"/>
                <a:gd name="connsiteY4" fmla="*/ 0 h 2013179"/>
                <a:gd name="connsiteX5" fmla="*/ 1770 w 174167"/>
                <a:gd name="connsiteY5" fmla="*/ 2013032 h 2013179"/>
                <a:gd name="connsiteX6" fmla="*/ 108013 w 174167"/>
                <a:gd name="connsiteY6" fmla="*/ 2013179 h 2013179"/>
                <a:gd name="connsiteX0" fmla="*/ 108013 w 144816"/>
                <a:gd name="connsiteY0" fmla="*/ 2013179 h 2013179"/>
                <a:gd name="connsiteX1" fmla="*/ 97027 w 144816"/>
                <a:gd name="connsiteY1" fmla="*/ 1524164 h 2013179"/>
                <a:gd name="connsiteX2" fmla="*/ 139890 w 144816"/>
                <a:gd name="connsiteY2" fmla="*/ 943139 h 2013179"/>
                <a:gd name="connsiteX3" fmla="*/ 118507 w 144816"/>
                <a:gd name="connsiteY3" fmla="*/ 14120 h 2013179"/>
                <a:gd name="connsiteX4" fmla="*/ 0 w 144816"/>
                <a:gd name="connsiteY4" fmla="*/ 0 h 2013179"/>
                <a:gd name="connsiteX5" fmla="*/ 1770 w 144816"/>
                <a:gd name="connsiteY5" fmla="*/ 2013032 h 2013179"/>
                <a:gd name="connsiteX6" fmla="*/ 108013 w 144816"/>
                <a:gd name="connsiteY6" fmla="*/ 2013179 h 2013179"/>
                <a:gd name="connsiteX0" fmla="*/ 108013 w 141320"/>
                <a:gd name="connsiteY0" fmla="*/ 2013179 h 2013179"/>
                <a:gd name="connsiteX1" fmla="*/ 97027 w 141320"/>
                <a:gd name="connsiteY1" fmla="*/ 1524164 h 2013179"/>
                <a:gd name="connsiteX2" fmla="*/ 139890 w 141320"/>
                <a:gd name="connsiteY2" fmla="*/ 943139 h 2013179"/>
                <a:gd name="connsiteX3" fmla="*/ 118507 w 141320"/>
                <a:gd name="connsiteY3" fmla="*/ 14120 h 2013179"/>
                <a:gd name="connsiteX4" fmla="*/ 0 w 141320"/>
                <a:gd name="connsiteY4" fmla="*/ 0 h 2013179"/>
                <a:gd name="connsiteX5" fmla="*/ 1770 w 141320"/>
                <a:gd name="connsiteY5" fmla="*/ 2013032 h 2013179"/>
                <a:gd name="connsiteX6" fmla="*/ 108013 w 141320"/>
                <a:gd name="connsiteY6" fmla="*/ 2013179 h 2013179"/>
                <a:gd name="connsiteX0" fmla="*/ 108013 w 141451"/>
                <a:gd name="connsiteY0" fmla="*/ 2013179 h 2013179"/>
                <a:gd name="connsiteX1" fmla="*/ 97027 w 141451"/>
                <a:gd name="connsiteY1" fmla="*/ 1524164 h 2013179"/>
                <a:gd name="connsiteX2" fmla="*/ 139890 w 141451"/>
                <a:gd name="connsiteY2" fmla="*/ 943139 h 2013179"/>
                <a:gd name="connsiteX3" fmla="*/ 118507 w 141451"/>
                <a:gd name="connsiteY3" fmla="*/ 14120 h 2013179"/>
                <a:gd name="connsiteX4" fmla="*/ 0 w 141451"/>
                <a:gd name="connsiteY4" fmla="*/ 0 h 2013179"/>
                <a:gd name="connsiteX5" fmla="*/ 1770 w 141451"/>
                <a:gd name="connsiteY5" fmla="*/ 2013032 h 2013179"/>
                <a:gd name="connsiteX6" fmla="*/ 108013 w 141451"/>
                <a:gd name="connsiteY6" fmla="*/ 2013179 h 2013179"/>
                <a:gd name="connsiteX0" fmla="*/ 108013 w 141000"/>
                <a:gd name="connsiteY0" fmla="*/ 2021113 h 2021113"/>
                <a:gd name="connsiteX1" fmla="*/ 97027 w 141000"/>
                <a:gd name="connsiteY1" fmla="*/ 1532098 h 2021113"/>
                <a:gd name="connsiteX2" fmla="*/ 139890 w 141000"/>
                <a:gd name="connsiteY2" fmla="*/ 951073 h 2021113"/>
                <a:gd name="connsiteX3" fmla="*/ 92348 w 141000"/>
                <a:gd name="connsiteY3" fmla="*/ 0 h 2021113"/>
                <a:gd name="connsiteX4" fmla="*/ 0 w 141000"/>
                <a:gd name="connsiteY4" fmla="*/ 7934 h 2021113"/>
                <a:gd name="connsiteX5" fmla="*/ 1770 w 141000"/>
                <a:gd name="connsiteY5" fmla="*/ 2020966 h 2021113"/>
                <a:gd name="connsiteX6" fmla="*/ 108013 w 141000"/>
                <a:gd name="connsiteY6" fmla="*/ 2021113 h 2021113"/>
                <a:gd name="connsiteX0" fmla="*/ 144636 w 147020"/>
                <a:gd name="connsiteY0" fmla="*/ 2021113 h 2021113"/>
                <a:gd name="connsiteX1" fmla="*/ 97027 w 147020"/>
                <a:gd name="connsiteY1" fmla="*/ 1532098 h 2021113"/>
                <a:gd name="connsiteX2" fmla="*/ 139890 w 147020"/>
                <a:gd name="connsiteY2" fmla="*/ 951073 h 2021113"/>
                <a:gd name="connsiteX3" fmla="*/ 92348 w 147020"/>
                <a:gd name="connsiteY3" fmla="*/ 0 h 2021113"/>
                <a:gd name="connsiteX4" fmla="*/ 0 w 147020"/>
                <a:gd name="connsiteY4" fmla="*/ 7934 h 2021113"/>
                <a:gd name="connsiteX5" fmla="*/ 1770 w 147020"/>
                <a:gd name="connsiteY5" fmla="*/ 2020966 h 2021113"/>
                <a:gd name="connsiteX6" fmla="*/ 144636 w 147020"/>
                <a:gd name="connsiteY6" fmla="*/ 2021113 h 20211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47020" h="2021113">
                  <a:moveTo>
                    <a:pt x="144636" y="2021113"/>
                  </a:moveTo>
                  <a:cubicBezTo>
                    <a:pt x="160512" y="1939635"/>
                    <a:pt x="91714" y="1710438"/>
                    <a:pt x="97027" y="1532098"/>
                  </a:cubicBezTo>
                  <a:cubicBezTo>
                    <a:pt x="100202" y="1343186"/>
                    <a:pt x="136715" y="1139985"/>
                    <a:pt x="139890" y="951073"/>
                  </a:cubicBezTo>
                  <a:cubicBezTo>
                    <a:pt x="151523" y="697529"/>
                    <a:pt x="67347" y="538623"/>
                    <a:pt x="92348" y="0"/>
                  </a:cubicBezTo>
                  <a:lnTo>
                    <a:pt x="0" y="7934"/>
                  </a:lnTo>
                  <a:lnTo>
                    <a:pt x="1770" y="2020966"/>
                  </a:lnTo>
                  <a:lnTo>
                    <a:pt x="144636" y="2021113"/>
                  </a:lnTo>
                  <a:close/>
                </a:path>
              </a:pathLst>
            </a:custGeom>
            <a:pattFill prst="pct70">
              <a:fgClr>
                <a:srgbClr val="EE7713"/>
              </a:fgClr>
              <a:bgClr>
                <a:srgbClr val="FFFF00"/>
              </a:bgClr>
            </a:patt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88" dirty="0">
                <a:latin typeface="Arial" pitchFamily="34" charset="0"/>
                <a:ea typeface="ＭＳ Ｐゴシック" pitchFamily="34" charset="-128"/>
              </a:endParaRPr>
            </a:p>
          </p:txBody>
        </p:sp>
        <p:sp>
          <p:nvSpPr>
            <p:cNvPr id="93" name="Rettangolo 92"/>
            <p:cNvSpPr/>
            <p:nvPr/>
          </p:nvSpPr>
          <p:spPr>
            <a:xfrm rot="10800000" flipV="1">
              <a:off x="-5912491" y="-2812191"/>
              <a:ext cx="116403" cy="3208408"/>
            </a:xfrm>
            <a:prstGeom prst="rect">
              <a:avLst/>
            </a:prstGeom>
            <a:pattFill prst="pct70">
              <a:fgClr>
                <a:srgbClr val="EE7713"/>
              </a:fgClr>
              <a:bgClr>
                <a:srgbClr val="FFFF00"/>
              </a:bgClr>
            </a:patt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88" dirty="0"/>
            </a:p>
          </p:txBody>
        </p:sp>
        <p:sp>
          <p:nvSpPr>
            <p:cNvPr id="95" name="Rettangolo 94"/>
            <p:cNvSpPr/>
            <p:nvPr/>
          </p:nvSpPr>
          <p:spPr>
            <a:xfrm rot="10800000" flipV="1">
              <a:off x="-5076139" y="595368"/>
              <a:ext cx="806441" cy="162853"/>
            </a:xfrm>
            <a:prstGeom prst="rect">
              <a:avLst/>
            </a:prstGeom>
            <a:pattFill prst="pct70">
              <a:fgClr>
                <a:srgbClr val="EE7713"/>
              </a:fgClr>
              <a:bgClr>
                <a:srgbClr val="FFFF00"/>
              </a:bgClr>
            </a:patt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88" dirty="0"/>
            </a:p>
          </p:txBody>
        </p:sp>
        <p:sp>
          <p:nvSpPr>
            <p:cNvPr id="96" name="Freccia curva 2"/>
            <p:cNvSpPr/>
            <p:nvPr/>
          </p:nvSpPr>
          <p:spPr>
            <a:xfrm flipV="1">
              <a:off x="-5523001" y="-1333478"/>
              <a:ext cx="2235887" cy="1986308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34130 w 2704096"/>
                <a:gd name="connsiteY19" fmla="*/ 2389253 h 2389253"/>
                <a:gd name="connsiteX20" fmla="*/ 45354 w 2704096"/>
                <a:gd name="connsiteY20" fmla="*/ 2389253 h 2389253"/>
                <a:gd name="connsiteX0" fmla="*/ 84357 w 2704096"/>
                <a:gd name="connsiteY0" fmla="*/ 2402254 h 2402254"/>
                <a:gd name="connsiteX1" fmla="*/ 72468 w 2704096"/>
                <a:gd name="connsiteY1" fmla="*/ 2095501 h 2402254"/>
                <a:gd name="connsiteX2" fmla="*/ 34368 w 2704096"/>
                <a:gd name="connsiteY2" fmla="*/ 1900238 h 2402254"/>
                <a:gd name="connsiteX3" fmla="*/ 77231 w 2704096"/>
                <a:gd name="connsiteY3" fmla="*/ 1319213 h 2402254"/>
                <a:gd name="connsiteX4" fmla="*/ 24843 w 2704096"/>
                <a:gd name="connsiteY4" fmla="*/ 952501 h 2402254"/>
                <a:gd name="connsiteX5" fmla="*/ 12016 w 2704096"/>
                <a:gd name="connsiteY5" fmla="*/ 583866 h 2402254"/>
                <a:gd name="connsiteX6" fmla="*/ 62944 w 2704096"/>
                <a:gd name="connsiteY6" fmla="*/ 447676 h 2402254"/>
                <a:gd name="connsiteX7" fmla="*/ 191532 w 2704096"/>
                <a:gd name="connsiteY7" fmla="*/ 252413 h 2402254"/>
                <a:gd name="connsiteX8" fmla="*/ 353457 w 2704096"/>
                <a:gd name="connsiteY8" fmla="*/ 123826 h 2402254"/>
                <a:gd name="connsiteX9" fmla="*/ 621210 w 2704096"/>
                <a:gd name="connsiteY9" fmla="*/ 12772 h 2402254"/>
                <a:gd name="connsiteX10" fmla="*/ 1339294 w 2704096"/>
                <a:gd name="connsiteY10" fmla="*/ 33338 h 2402254"/>
                <a:gd name="connsiteX11" fmla="*/ 1601232 w 2704096"/>
                <a:gd name="connsiteY11" fmla="*/ 14288 h 2402254"/>
                <a:gd name="connsiteX12" fmla="*/ 1867932 w 2704096"/>
                <a:gd name="connsiteY12" fmla="*/ 0 h 2402254"/>
                <a:gd name="connsiteX13" fmla="*/ 2210832 w 2704096"/>
                <a:gd name="connsiteY13" fmla="*/ 42864 h 2402254"/>
                <a:gd name="connsiteX14" fmla="*/ 2612656 w 2704096"/>
                <a:gd name="connsiteY14" fmla="*/ 12772 h 2402254"/>
                <a:gd name="connsiteX15" fmla="*/ 2607261 w 2704096"/>
                <a:gd name="connsiteY15" fmla="*/ 167260 h 2402254"/>
                <a:gd name="connsiteX16" fmla="*/ 2704096 w 2704096"/>
                <a:gd name="connsiteY16" fmla="*/ 262069 h 2402254"/>
                <a:gd name="connsiteX17" fmla="*/ 621210 w 2704096"/>
                <a:gd name="connsiteY17" fmla="*/ 271213 h 2402254"/>
                <a:gd name="connsiteX18" fmla="*/ 303794 w 2704096"/>
                <a:gd name="connsiteY18" fmla="*/ 588629 h 2402254"/>
                <a:gd name="connsiteX19" fmla="*/ 334130 w 2704096"/>
                <a:gd name="connsiteY19" fmla="*/ 2389253 h 2402254"/>
                <a:gd name="connsiteX20" fmla="*/ 84357 w 2704096"/>
                <a:gd name="connsiteY20" fmla="*/ 2402254 h 2402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4096" h="2402254">
                  <a:moveTo>
                    <a:pt x="84357" y="2402254"/>
                  </a:moveTo>
                  <a:cubicBezTo>
                    <a:pt x="83870" y="2305924"/>
                    <a:pt x="72955" y="2191831"/>
                    <a:pt x="72468" y="2095501"/>
                  </a:cubicBezTo>
                  <a:cubicBezTo>
                    <a:pt x="72468" y="2058988"/>
                    <a:pt x="34368" y="1936751"/>
                    <a:pt x="34368" y="1900238"/>
                  </a:cubicBezTo>
                  <a:cubicBezTo>
                    <a:pt x="37543" y="1711326"/>
                    <a:pt x="74056" y="1508125"/>
                    <a:pt x="77231" y="1319213"/>
                  </a:cubicBezTo>
                  <a:cubicBezTo>
                    <a:pt x="74056" y="1201738"/>
                    <a:pt x="28018" y="1069976"/>
                    <a:pt x="24843" y="952501"/>
                  </a:cubicBezTo>
                  <a:cubicBezTo>
                    <a:pt x="65017" y="807397"/>
                    <a:pt x="5179" y="705157"/>
                    <a:pt x="12016" y="583866"/>
                  </a:cubicBezTo>
                  <a:cubicBezTo>
                    <a:pt x="13604" y="499729"/>
                    <a:pt x="-38588" y="542858"/>
                    <a:pt x="62944" y="447676"/>
                  </a:cubicBezTo>
                  <a:cubicBezTo>
                    <a:pt x="96832" y="391640"/>
                    <a:pt x="143113" y="306388"/>
                    <a:pt x="191532" y="252413"/>
                  </a:cubicBezTo>
                  <a:cubicBezTo>
                    <a:pt x="239951" y="198438"/>
                    <a:pt x="285813" y="162972"/>
                    <a:pt x="353457" y="123826"/>
                  </a:cubicBezTo>
                  <a:cubicBezTo>
                    <a:pt x="421101" y="84680"/>
                    <a:pt x="455316" y="30235"/>
                    <a:pt x="621210" y="12772"/>
                  </a:cubicBezTo>
                  <a:cubicBezTo>
                    <a:pt x="863746" y="14865"/>
                    <a:pt x="1096758" y="31245"/>
                    <a:pt x="1339294" y="33338"/>
                  </a:cubicBezTo>
                  <a:lnTo>
                    <a:pt x="1601232" y="14288"/>
                  </a:lnTo>
                  <a:cubicBezTo>
                    <a:pt x="1691719" y="14288"/>
                    <a:pt x="1777445" y="0"/>
                    <a:pt x="1867932" y="0"/>
                  </a:cubicBezTo>
                  <a:cubicBezTo>
                    <a:pt x="1974295" y="3175"/>
                    <a:pt x="2104469" y="39689"/>
                    <a:pt x="2210832" y="42864"/>
                  </a:cubicBezTo>
                  <a:lnTo>
                    <a:pt x="2612656" y="12772"/>
                  </a:lnTo>
                  <a:cubicBezTo>
                    <a:pt x="2613906" y="55124"/>
                    <a:pt x="2606011" y="124908"/>
                    <a:pt x="2607261" y="167260"/>
                  </a:cubicBezTo>
                  <a:lnTo>
                    <a:pt x="2704096" y="262069"/>
                  </a:lnTo>
                  <a:lnTo>
                    <a:pt x="621210" y="271213"/>
                  </a:lnTo>
                  <a:cubicBezTo>
                    <a:pt x="445906" y="271213"/>
                    <a:pt x="303794" y="413325"/>
                    <a:pt x="303794" y="588629"/>
                  </a:cubicBezTo>
                  <a:cubicBezTo>
                    <a:pt x="221455" y="1626536"/>
                    <a:pt x="277792" y="1810714"/>
                    <a:pt x="334130" y="2389253"/>
                  </a:cubicBezTo>
                  <a:lnTo>
                    <a:pt x="84357" y="2402254"/>
                  </a:lnTo>
                  <a:close/>
                </a:path>
              </a:pathLst>
            </a:custGeom>
            <a:pattFill prst="dkDnDiag">
              <a:fgClr>
                <a:schemeClr val="accent4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sp>
          <p:nvSpPr>
            <p:cNvPr id="97" name="Freccia curva 4"/>
            <p:cNvSpPr/>
            <p:nvPr/>
          </p:nvSpPr>
          <p:spPr>
            <a:xfrm flipV="1">
              <a:off x="-6412833" y="-2872061"/>
              <a:ext cx="2138902" cy="4879049"/>
            </a:xfrm>
            <a:custGeom>
              <a:avLst/>
              <a:gdLst>
                <a:gd name="connsiteX0" fmla="*/ 0 w 1042416"/>
                <a:gd name="connsiteY0" fmla="*/ 1993392 h 1993392"/>
                <a:gd name="connsiteX1" fmla="*/ 0 w 1042416"/>
                <a:gd name="connsiteY1" fmla="*/ 456057 h 1993392"/>
                <a:gd name="connsiteX2" fmla="*/ 456057 w 1042416"/>
                <a:gd name="connsiteY2" fmla="*/ 0 h 1993392"/>
                <a:gd name="connsiteX3" fmla="*/ 1042416 w 1042416"/>
                <a:gd name="connsiteY3" fmla="*/ 0 h 1993392"/>
                <a:gd name="connsiteX4" fmla="*/ 1042416 w 1042416"/>
                <a:gd name="connsiteY4" fmla="*/ 0 h 1993392"/>
                <a:gd name="connsiteX5" fmla="*/ 1042416 w 1042416"/>
                <a:gd name="connsiteY5" fmla="*/ 108140 h 1993392"/>
                <a:gd name="connsiteX6" fmla="*/ 1042416 w 1042416"/>
                <a:gd name="connsiteY6" fmla="*/ 216280 h 1993392"/>
                <a:gd name="connsiteX7" fmla="*/ 1042416 w 1042416"/>
                <a:gd name="connsiteY7" fmla="*/ 216280 h 1993392"/>
                <a:gd name="connsiteX8" fmla="*/ 456057 w 1042416"/>
                <a:gd name="connsiteY8" fmla="*/ 216280 h 1993392"/>
                <a:gd name="connsiteX9" fmla="*/ 216280 w 1042416"/>
                <a:gd name="connsiteY9" fmla="*/ 456057 h 1993392"/>
                <a:gd name="connsiteX10" fmla="*/ 216280 w 1042416"/>
                <a:gd name="connsiteY10" fmla="*/ 1993392 h 1993392"/>
                <a:gd name="connsiteX11" fmla="*/ 0 w 1042416"/>
                <a:gd name="connsiteY11" fmla="*/ 1993392 h 1993392"/>
                <a:gd name="connsiteX0" fmla="*/ 0 w 1042416"/>
                <a:gd name="connsiteY0" fmla="*/ 1993392 h 1993392"/>
                <a:gd name="connsiteX1" fmla="*/ 0 w 1042416"/>
                <a:gd name="connsiteY1" fmla="*/ 456057 h 1993392"/>
                <a:gd name="connsiteX2" fmla="*/ 456057 w 1042416"/>
                <a:gd name="connsiteY2" fmla="*/ 0 h 1993392"/>
                <a:gd name="connsiteX3" fmla="*/ 1042416 w 1042416"/>
                <a:gd name="connsiteY3" fmla="*/ 0 h 1993392"/>
                <a:gd name="connsiteX4" fmla="*/ 1042416 w 1042416"/>
                <a:gd name="connsiteY4" fmla="*/ 0 h 1993392"/>
                <a:gd name="connsiteX5" fmla="*/ 1042416 w 1042416"/>
                <a:gd name="connsiteY5" fmla="*/ 216280 h 1993392"/>
                <a:gd name="connsiteX6" fmla="*/ 1042416 w 1042416"/>
                <a:gd name="connsiteY6" fmla="*/ 216280 h 1993392"/>
                <a:gd name="connsiteX7" fmla="*/ 456057 w 1042416"/>
                <a:gd name="connsiteY7" fmla="*/ 216280 h 1993392"/>
                <a:gd name="connsiteX8" fmla="*/ 216280 w 1042416"/>
                <a:gd name="connsiteY8" fmla="*/ 456057 h 1993392"/>
                <a:gd name="connsiteX9" fmla="*/ 216280 w 1042416"/>
                <a:gd name="connsiteY9" fmla="*/ 1993392 h 1993392"/>
                <a:gd name="connsiteX10" fmla="*/ 0 w 1042416"/>
                <a:gd name="connsiteY10" fmla="*/ 1993392 h 1993392"/>
                <a:gd name="connsiteX0" fmla="*/ 0 w 1042416"/>
                <a:gd name="connsiteY0" fmla="*/ 2154155 h 2154155"/>
                <a:gd name="connsiteX1" fmla="*/ 0 w 1042416"/>
                <a:gd name="connsiteY1" fmla="*/ 616820 h 2154155"/>
                <a:gd name="connsiteX2" fmla="*/ 237744 w 1042416"/>
                <a:gd name="connsiteY2" fmla="*/ 14459 h 2154155"/>
                <a:gd name="connsiteX3" fmla="*/ 456057 w 1042416"/>
                <a:gd name="connsiteY3" fmla="*/ 160763 h 2154155"/>
                <a:gd name="connsiteX4" fmla="*/ 1042416 w 1042416"/>
                <a:gd name="connsiteY4" fmla="*/ 160763 h 2154155"/>
                <a:gd name="connsiteX5" fmla="*/ 1042416 w 1042416"/>
                <a:gd name="connsiteY5" fmla="*/ 160763 h 2154155"/>
                <a:gd name="connsiteX6" fmla="*/ 1042416 w 1042416"/>
                <a:gd name="connsiteY6" fmla="*/ 377043 h 2154155"/>
                <a:gd name="connsiteX7" fmla="*/ 1042416 w 1042416"/>
                <a:gd name="connsiteY7" fmla="*/ 377043 h 2154155"/>
                <a:gd name="connsiteX8" fmla="*/ 456057 w 1042416"/>
                <a:gd name="connsiteY8" fmla="*/ 377043 h 2154155"/>
                <a:gd name="connsiteX9" fmla="*/ 216280 w 1042416"/>
                <a:gd name="connsiteY9" fmla="*/ 616820 h 2154155"/>
                <a:gd name="connsiteX10" fmla="*/ 216280 w 1042416"/>
                <a:gd name="connsiteY10" fmla="*/ 2154155 h 2154155"/>
                <a:gd name="connsiteX11" fmla="*/ 0 w 1042416"/>
                <a:gd name="connsiteY11" fmla="*/ 2154155 h 2154155"/>
                <a:gd name="connsiteX0" fmla="*/ 0 w 1042416"/>
                <a:gd name="connsiteY0" fmla="*/ 2707689 h 2707689"/>
                <a:gd name="connsiteX1" fmla="*/ 0 w 1042416"/>
                <a:gd name="connsiteY1" fmla="*/ 1170354 h 2707689"/>
                <a:gd name="connsiteX2" fmla="*/ 265176 w 1042416"/>
                <a:gd name="connsiteY2" fmla="*/ 10209 h 2707689"/>
                <a:gd name="connsiteX3" fmla="*/ 237744 w 1042416"/>
                <a:gd name="connsiteY3" fmla="*/ 567993 h 2707689"/>
                <a:gd name="connsiteX4" fmla="*/ 456057 w 1042416"/>
                <a:gd name="connsiteY4" fmla="*/ 714297 h 2707689"/>
                <a:gd name="connsiteX5" fmla="*/ 1042416 w 1042416"/>
                <a:gd name="connsiteY5" fmla="*/ 714297 h 2707689"/>
                <a:gd name="connsiteX6" fmla="*/ 1042416 w 1042416"/>
                <a:gd name="connsiteY6" fmla="*/ 714297 h 2707689"/>
                <a:gd name="connsiteX7" fmla="*/ 1042416 w 1042416"/>
                <a:gd name="connsiteY7" fmla="*/ 930577 h 2707689"/>
                <a:gd name="connsiteX8" fmla="*/ 1042416 w 1042416"/>
                <a:gd name="connsiteY8" fmla="*/ 930577 h 2707689"/>
                <a:gd name="connsiteX9" fmla="*/ 456057 w 1042416"/>
                <a:gd name="connsiteY9" fmla="*/ 930577 h 2707689"/>
                <a:gd name="connsiteX10" fmla="*/ 216280 w 1042416"/>
                <a:gd name="connsiteY10" fmla="*/ 1170354 h 2707689"/>
                <a:gd name="connsiteX11" fmla="*/ 216280 w 1042416"/>
                <a:gd name="connsiteY11" fmla="*/ 2707689 h 2707689"/>
                <a:gd name="connsiteX12" fmla="*/ 0 w 1042416"/>
                <a:gd name="connsiteY12" fmla="*/ 2707689 h 2707689"/>
                <a:gd name="connsiteX0" fmla="*/ 192024 w 1234440"/>
                <a:gd name="connsiteY0" fmla="*/ 2776488 h 2776488"/>
                <a:gd name="connsiteX1" fmla="*/ 0 w 1234440"/>
                <a:gd name="connsiteY1" fmla="*/ 132729 h 2776488"/>
                <a:gd name="connsiteX2" fmla="*/ 457200 w 1234440"/>
                <a:gd name="connsiteY2" fmla="*/ 79008 h 2776488"/>
                <a:gd name="connsiteX3" fmla="*/ 429768 w 1234440"/>
                <a:gd name="connsiteY3" fmla="*/ 636792 h 2776488"/>
                <a:gd name="connsiteX4" fmla="*/ 648081 w 1234440"/>
                <a:gd name="connsiteY4" fmla="*/ 783096 h 2776488"/>
                <a:gd name="connsiteX5" fmla="*/ 1234440 w 1234440"/>
                <a:gd name="connsiteY5" fmla="*/ 783096 h 2776488"/>
                <a:gd name="connsiteX6" fmla="*/ 1234440 w 1234440"/>
                <a:gd name="connsiteY6" fmla="*/ 783096 h 2776488"/>
                <a:gd name="connsiteX7" fmla="*/ 1234440 w 1234440"/>
                <a:gd name="connsiteY7" fmla="*/ 999376 h 2776488"/>
                <a:gd name="connsiteX8" fmla="*/ 1234440 w 1234440"/>
                <a:gd name="connsiteY8" fmla="*/ 999376 h 2776488"/>
                <a:gd name="connsiteX9" fmla="*/ 648081 w 1234440"/>
                <a:gd name="connsiteY9" fmla="*/ 999376 h 2776488"/>
                <a:gd name="connsiteX10" fmla="*/ 408304 w 1234440"/>
                <a:gd name="connsiteY10" fmla="*/ 1239153 h 2776488"/>
                <a:gd name="connsiteX11" fmla="*/ 408304 w 1234440"/>
                <a:gd name="connsiteY11" fmla="*/ 2776488 h 2776488"/>
                <a:gd name="connsiteX12" fmla="*/ 192024 w 1234440"/>
                <a:gd name="connsiteY12" fmla="*/ 2776488 h 2776488"/>
                <a:gd name="connsiteX0" fmla="*/ 192024 w 1234440"/>
                <a:gd name="connsiteY0" fmla="*/ 2776488 h 2776488"/>
                <a:gd name="connsiteX1" fmla="*/ 0 w 1234440"/>
                <a:gd name="connsiteY1" fmla="*/ 1688353 h 2776488"/>
                <a:gd name="connsiteX2" fmla="*/ 0 w 1234440"/>
                <a:gd name="connsiteY2" fmla="*/ 132729 h 2776488"/>
                <a:gd name="connsiteX3" fmla="*/ 457200 w 1234440"/>
                <a:gd name="connsiteY3" fmla="*/ 79008 h 2776488"/>
                <a:gd name="connsiteX4" fmla="*/ 429768 w 1234440"/>
                <a:gd name="connsiteY4" fmla="*/ 636792 h 2776488"/>
                <a:gd name="connsiteX5" fmla="*/ 648081 w 1234440"/>
                <a:gd name="connsiteY5" fmla="*/ 783096 h 2776488"/>
                <a:gd name="connsiteX6" fmla="*/ 1234440 w 1234440"/>
                <a:gd name="connsiteY6" fmla="*/ 783096 h 2776488"/>
                <a:gd name="connsiteX7" fmla="*/ 1234440 w 1234440"/>
                <a:gd name="connsiteY7" fmla="*/ 783096 h 2776488"/>
                <a:gd name="connsiteX8" fmla="*/ 1234440 w 1234440"/>
                <a:gd name="connsiteY8" fmla="*/ 999376 h 2776488"/>
                <a:gd name="connsiteX9" fmla="*/ 1234440 w 1234440"/>
                <a:gd name="connsiteY9" fmla="*/ 999376 h 2776488"/>
                <a:gd name="connsiteX10" fmla="*/ 648081 w 1234440"/>
                <a:gd name="connsiteY10" fmla="*/ 999376 h 2776488"/>
                <a:gd name="connsiteX11" fmla="*/ 408304 w 1234440"/>
                <a:gd name="connsiteY11" fmla="*/ 1239153 h 2776488"/>
                <a:gd name="connsiteX12" fmla="*/ 408304 w 1234440"/>
                <a:gd name="connsiteY12" fmla="*/ 2776488 h 2776488"/>
                <a:gd name="connsiteX13" fmla="*/ 192024 w 1234440"/>
                <a:gd name="connsiteY13" fmla="*/ 2776488 h 2776488"/>
                <a:gd name="connsiteX0" fmla="*/ 192024 w 1234440"/>
                <a:gd name="connsiteY0" fmla="*/ 2776488 h 2776488"/>
                <a:gd name="connsiteX1" fmla="*/ 155448 w 1234440"/>
                <a:gd name="connsiteY1" fmla="*/ 1889521 h 2776488"/>
                <a:gd name="connsiteX2" fmla="*/ 0 w 1234440"/>
                <a:gd name="connsiteY2" fmla="*/ 1688353 h 2776488"/>
                <a:gd name="connsiteX3" fmla="*/ 0 w 1234440"/>
                <a:gd name="connsiteY3" fmla="*/ 132729 h 2776488"/>
                <a:gd name="connsiteX4" fmla="*/ 457200 w 1234440"/>
                <a:gd name="connsiteY4" fmla="*/ 79008 h 2776488"/>
                <a:gd name="connsiteX5" fmla="*/ 429768 w 1234440"/>
                <a:gd name="connsiteY5" fmla="*/ 636792 h 2776488"/>
                <a:gd name="connsiteX6" fmla="*/ 648081 w 1234440"/>
                <a:gd name="connsiteY6" fmla="*/ 783096 h 2776488"/>
                <a:gd name="connsiteX7" fmla="*/ 1234440 w 1234440"/>
                <a:gd name="connsiteY7" fmla="*/ 783096 h 2776488"/>
                <a:gd name="connsiteX8" fmla="*/ 1234440 w 1234440"/>
                <a:gd name="connsiteY8" fmla="*/ 783096 h 2776488"/>
                <a:gd name="connsiteX9" fmla="*/ 1234440 w 1234440"/>
                <a:gd name="connsiteY9" fmla="*/ 999376 h 2776488"/>
                <a:gd name="connsiteX10" fmla="*/ 1234440 w 1234440"/>
                <a:gd name="connsiteY10" fmla="*/ 999376 h 2776488"/>
                <a:gd name="connsiteX11" fmla="*/ 648081 w 1234440"/>
                <a:gd name="connsiteY11" fmla="*/ 999376 h 2776488"/>
                <a:gd name="connsiteX12" fmla="*/ 408304 w 1234440"/>
                <a:gd name="connsiteY12" fmla="*/ 1239153 h 2776488"/>
                <a:gd name="connsiteX13" fmla="*/ 408304 w 1234440"/>
                <a:gd name="connsiteY13" fmla="*/ 2776488 h 2776488"/>
                <a:gd name="connsiteX14" fmla="*/ 192024 w 1234440"/>
                <a:gd name="connsiteY14" fmla="*/ 2776488 h 2776488"/>
                <a:gd name="connsiteX0" fmla="*/ 192024 w 1234440"/>
                <a:gd name="connsiteY0" fmla="*/ 2776488 h 2867929"/>
                <a:gd name="connsiteX1" fmla="*/ 155448 w 1234440"/>
                <a:gd name="connsiteY1" fmla="*/ 1889521 h 2867929"/>
                <a:gd name="connsiteX2" fmla="*/ 0 w 1234440"/>
                <a:gd name="connsiteY2" fmla="*/ 1688353 h 2867929"/>
                <a:gd name="connsiteX3" fmla="*/ 0 w 1234440"/>
                <a:gd name="connsiteY3" fmla="*/ 132729 h 2867929"/>
                <a:gd name="connsiteX4" fmla="*/ 457200 w 1234440"/>
                <a:gd name="connsiteY4" fmla="*/ 79008 h 2867929"/>
                <a:gd name="connsiteX5" fmla="*/ 429768 w 1234440"/>
                <a:gd name="connsiteY5" fmla="*/ 636792 h 2867929"/>
                <a:gd name="connsiteX6" fmla="*/ 648081 w 1234440"/>
                <a:gd name="connsiteY6" fmla="*/ 783096 h 2867929"/>
                <a:gd name="connsiteX7" fmla="*/ 1234440 w 1234440"/>
                <a:gd name="connsiteY7" fmla="*/ 783096 h 2867929"/>
                <a:gd name="connsiteX8" fmla="*/ 1234440 w 1234440"/>
                <a:gd name="connsiteY8" fmla="*/ 783096 h 2867929"/>
                <a:gd name="connsiteX9" fmla="*/ 1234440 w 1234440"/>
                <a:gd name="connsiteY9" fmla="*/ 999376 h 2867929"/>
                <a:gd name="connsiteX10" fmla="*/ 1234440 w 1234440"/>
                <a:gd name="connsiteY10" fmla="*/ 999376 h 2867929"/>
                <a:gd name="connsiteX11" fmla="*/ 648081 w 1234440"/>
                <a:gd name="connsiteY11" fmla="*/ 999376 h 2867929"/>
                <a:gd name="connsiteX12" fmla="*/ 408304 w 1234440"/>
                <a:gd name="connsiteY12" fmla="*/ 1239153 h 2867929"/>
                <a:gd name="connsiteX13" fmla="*/ 408304 w 1234440"/>
                <a:gd name="connsiteY13" fmla="*/ 2776488 h 2867929"/>
                <a:gd name="connsiteX14" fmla="*/ 274320 w 1234440"/>
                <a:gd name="connsiteY14" fmla="*/ 2867929 h 2867929"/>
                <a:gd name="connsiteX15" fmla="*/ 192024 w 1234440"/>
                <a:gd name="connsiteY15" fmla="*/ 2776488 h 2867929"/>
                <a:gd name="connsiteX0" fmla="*/ 192024 w 1234440"/>
                <a:gd name="connsiteY0" fmla="*/ 2776488 h 4989336"/>
                <a:gd name="connsiteX1" fmla="*/ 155448 w 1234440"/>
                <a:gd name="connsiteY1" fmla="*/ 1889521 h 4989336"/>
                <a:gd name="connsiteX2" fmla="*/ 0 w 1234440"/>
                <a:gd name="connsiteY2" fmla="*/ 1688353 h 4989336"/>
                <a:gd name="connsiteX3" fmla="*/ 0 w 1234440"/>
                <a:gd name="connsiteY3" fmla="*/ 132729 h 4989336"/>
                <a:gd name="connsiteX4" fmla="*/ 457200 w 1234440"/>
                <a:gd name="connsiteY4" fmla="*/ 79008 h 4989336"/>
                <a:gd name="connsiteX5" fmla="*/ 429768 w 1234440"/>
                <a:gd name="connsiteY5" fmla="*/ 636792 h 4989336"/>
                <a:gd name="connsiteX6" fmla="*/ 648081 w 1234440"/>
                <a:gd name="connsiteY6" fmla="*/ 783096 h 4989336"/>
                <a:gd name="connsiteX7" fmla="*/ 1234440 w 1234440"/>
                <a:gd name="connsiteY7" fmla="*/ 783096 h 4989336"/>
                <a:gd name="connsiteX8" fmla="*/ 1234440 w 1234440"/>
                <a:gd name="connsiteY8" fmla="*/ 783096 h 4989336"/>
                <a:gd name="connsiteX9" fmla="*/ 1234440 w 1234440"/>
                <a:gd name="connsiteY9" fmla="*/ 999376 h 4989336"/>
                <a:gd name="connsiteX10" fmla="*/ 1234440 w 1234440"/>
                <a:gd name="connsiteY10" fmla="*/ 999376 h 4989336"/>
                <a:gd name="connsiteX11" fmla="*/ 648081 w 1234440"/>
                <a:gd name="connsiteY11" fmla="*/ 999376 h 4989336"/>
                <a:gd name="connsiteX12" fmla="*/ 408304 w 1234440"/>
                <a:gd name="connsiteY12" fmla="*/ 1239153 h 4989336"/>
                <a:gd name="connsiteX13" fmla="*/ 463168 w 1234440"/>
                <a:gd name="connsiteY13" fmla="*/ 4989336 h 4989336"/>
                <a:gd name="connsiteX14" fmla="*/ 274320 w 1234440"/>
                <a:gd name="connsiteY14" fmla="*/ 2867929 h 4989336"/>
                <a:gd name="connsiteX15" fmla="*/ 192024 w 1234440"/>
                <a:gd name="connsiteY15" fmla="*/ 2776488 h 4989336"/>
                <a:gd name="connsiteX0" fmla="*/ 192024 w 1234440"/>
                <a:gd name="connsiteY0" fmla="*/ 2776488 h 5100439"/>
                <a:gd name="connsiteX1" fmla="*/ 155448 w 1234440"/>
                <a:gd name="connsiteY1" fmla="*/ 1889521 h 5100439"/>
                <a:gd name="connsiteX2" fmla="*/ 0 w 1234440"/>
                <a:gd name="connsiteY2" fmla="*/ 1688353 h 5100439"/>
                <a:gd name="connsiteX3" fmla="*/ 0 w 1234440"/>
                <a:gd name="connsiteY3" fmla="*/ 132729 h 5100439"/>
                <a:gd name="connsiteX4" fmla="*/ 457200 w 1234440"/>
                <a:gd name="connsiteY4" fmla="*/ 79008 h 5100439"/>
                <a:gd name="connsiteX5" fmla="*/ 429768 w 1234440"/>
                <a:gd name="connsiteY5" fmla="*/ 636792 h 5100439"/>
                <a:gd name="connsiteX6" fmla="*/ 648081 w 1234440"/>
                <a:gd name="connsiteY6" fmla="*/ 783096 h 5100439"/>
                <a:gd name="connsiteX7" fmla="*/ 1234440 w 1234440"/>
                <a:gd name="connsiteY7" fmla="*/ 783096 h 5100439"/>
                <a:gd name="connsiteX8" fmla="*/ 1234440 w 1234440"/>
                <a:gd name="connsiteY8" fmla="*/ 783096 h 5100439"/>
                <a:gd name="connsiteX9" fmla="*/ 1234440 w 1234440"/>
                <a:gd name="connsiteY9" fmla="*/ 999376 h 5100439"/>
                <a:gd name="connsiteX10" fmla="*/ 1234440 w 1234440"/>
                <a:gd name="connsiteY10" fmla="*/ 999376 h 5100439"/>
                <a:gd name="connsiteX11" fmla="*/ 648081 w 1234440"/>
                <a:gd name="connsiteY11" fmla="*/ 999376 h 5100439"/>
                <a:gd name="connsiteX12" fmla="*/ 408304 w 1234440"/>
                <a:gd name="connsiteY12" fmla="*/ 1239153 h 5100439"/>
                <a:gd name="connsiteX13" fmla="*/ 463168 w 1234440"/>
                <a:gd name="connsiteY13" fmla="*/ 4989336 h 5100439"/>
                <a:gd name="connsiteX14" fmla="*/ 320040 w 1234440"/>
                <a:gd name="connsiteY14" fmla="*/ 3882912 h 5100439"/>
                <a:gd name="connsiteX15" fmla="*/ 274320 w 1234440"/>
                <a:gd name="connsiteY15" fmla="*/ 2867929 h 5100439"/>
                <a:gd name="connsiteX16" fmla="*/ 192024 w 1234440"/>
                <a:gd name="connsiteY16" fmla="*/ 2776488 h 5100439"/>
                <a:gd name="connsiteX0" fmla="*/ 192024 w 1234440"/>
                <a:gd name="connsiteY0" fmla="*/ 2776488 h 5272752"/>
                <a:gd name="connsiteX1" fmla="*/ 155448 w 1234440"/>
                <a:gd name="connsiteY1" fmla="*/ 1889521 h 5272752"/>
                <a:gd name="connsiteX2" fmla="*/ 0 w 1234440"/>
                <a:gd name="connsiteY2" fmla="*/ 1688353 h 5272752"/>
                <a:gd name="connsiteX3" fmla="*/ 0 w 1234440"/>
                <a:gd name="connsiteY3" fmla="*/ 132729 h 5272752"/>
                <a:gd name="connsiteX4" fmla="*/ 457200 w 1234440"/>
                <a:gd name="connsiteY4" fmla="*/ 79008 h 5272752"/>
                <a:gd name="connsiteX5" fmla="*/ 429768 w 1234440"/>
                <a:gd name="connsiteY5" fmla="*/ 636792 h 5272752"/>
                <a:gd name="connsiteX6" fmla="*/ 648081 w 1234440"/>
                <a:gd name="connsiteY6" fmla="*/ 783096 h 5272752"/>
                <a:gd name="connsiteX7" fmla="*/ 1234440 w 1234440"/>
                <a:gd name="connsiteY7" fmla="*/ 783096 h 5272752"/>
                <a:gd name="connsiteX8" fmla="*/ 1234440 w 1234440"/>
                <a:gd name="connsiteY8" fmla="*/ 783096 h 5272752"/>
                <a:gd name="connsiteX9" fmla="*/ 1234440 w 1234440"/>
                <a:gd name="connsiteY9" fmla="*/ 999376 h 5272752"/>
                <a:gd name="connsiteX10" fmla="*/ 1234440 w 1234440"/>
                <a:gd name="connsiteY10" fmla="*/ 999376 h 5272752"/>
                <a:gd name="connsiteX11" fmla="*/ 648081 w 1234440"/>
                <a:gd name="connsiteY11" fmla="*/ 999376 h 5272752"/>
                <a:gd name="connsiteX12" fmla="*/ 408304 w 1234440"/>
                <a:gd name="connsiteY12" fmla="*/ 1239153 h 5272752"/>
                <a:gd name="connsiteX13" fmla="*/ 463168 w 1234440"/>
                <a:gd name="connsiteY13" fmla="*/ 4989336 h 5272752"/>
                <a:gd name="connsiteX14" fmla="*/ 384048 w 1234440"/>
                <a:gd name="connsiteY14" fmla="*/ 4943615 h 5272752"/>
                <a:gd name="connsiteX15" fmla="*/ 320040 w 1234440"/>
                <a:gd name="connsiteY15" fmla="*/ 3882912 h 5272752"/>
                <a:gd name="connsiteX16" fmla="*/ 274320 w 1234440"/>
                <a:gd name="connsiteY16" fmla="*/ 2867929 h 5272752"/>
                <a:gd name="connsiteX17" fmla="*/ 192024 w 1234440"/>
                <a:gd name="connsiteY17" fmla="*/ 2776488 h 5272752"/>
                <a:gd name="connsiteX0" fmla="*/ 192024 w 1234440"/>
                <a:gd name="connsiteY0" fmla="*/ 2776488 h 5272752"/>
                <a:gd name="connsiteX1" fmla="*/ 155448 w 1234440"/>
                <a:gd name="connsiteY1" fmla="*/ 1889521 h 5272752"/>
                <a:gd name="connsiteX2" fmla="*/ 0 w 1234440"/>
                <a:gd name="connsiteY2" fmla="*/ 1688353 h 5272752"/>
                <a:gd name="connsiteX3" fmla="*/ 0 w 1234440"/>
                <a:gd name="connsiteY3" fmla="*/ 132729 h 5272752"/>
                <a:gd name="connsiteX4" fmla="*/ 457200 w 1234440"/>
                <a:gd name="connsiteY4" fmla="*/ 79008 h 5272752"/>
                <a:gd name="connsiteX5" fmla="*/ 429768 w 1234440"/>
                <a:gd name="connsiteY5" fmla="*/ 636792 h 5272752"/>
                <a:gd name="connsiteX6" fmla="*/ 648081 w 1234440"/>
                <a:gd name="connsiteY6" fmla="*/ 783096 h 5272752"/>
                <a:gd name="connsiteX7" fmla="*/ 1234440 w 1234440"/>
                <a:gd name="connsiteY7" fmla="*/ 783096 h 5272752"/>
                <a:gd name="connsiteX8" fmla="*/ 1234440 w 1234440"/>
                <a:gd name="connsiteY8" fmla="*/ 783096 h 5272752"/>
                <a:gd name="connsiteX9" fmla="*/ 1234440 w 1234440"/>
                <a:gd name="connsiteY9" fmla="*/ 999376 h 5272752"/>
                <a:gd name="connsiteX10" fmla="*/ 1234440 w 1234440"/>
                <a:gd name="connsiteY10" fmla="*/ 999376 h 5272752"/>
                <a:gd name="connsiteX11" fmla="*/ 648081 w 1234440"/>
                <a:gd name="connsiteY11" fmla="*/ 999376 h 5272752"/>
                <a:gd name="connsiteX12" fmla="*/ 408304 w 1234440"/>
                <a:gd name="connsiteY12" fmla="*/ 1239153 h 5272752"/>
                <a:gd name="connsiteX13" fmla="*/ 463168 w 1234440"/>
                <a:gd name="connsiteY13" fmla="*/ 4989336 h 5272752"/>
                <a:gd name="connsiteX14" fmla="*/ 384048 w 1234440"/>
                <a:gd name="connsiteY14" fmla="*/ 4943615 h 5272752"/>
                <a:gd name="connsiteX15" fmla="*/ 320040 w 1234440"/>
                <a:gd name="connsiteY15" fmla="*/ 3882912 h 5272752"/>
                <a:gd name="connsiteX16" fmla="*/ 274320 w 1234440"/>
                <a:gd name="connsiteY16" fmla="*/ 2867929 h 5272752"/>
                <a:gd name="connsiteX17" fmla="*/ 192024 w 1234440"/>
                <a:gd name="connsiteY17" fmla="*/ 2776488 h 5272752"/>
                <a:gd name="connsiteX0" fmla="*/ 192024 w 1234440"/>
                <a:gd name="connsiteY0" fmla="*/ 2707690 h 5203954"/>
                <a:gd name="connsiteX1" fmla="*/ 155448 w 1234440"/>
                <a:gd name="connsiteY1" fmla="*/ 1820723 h 5203954"/>
                <a:gd name="connsiteX2" fmla="*/ 0 w 1234440"/>
                <a:gd name="connsiteY2" fmla="*/ 1619555 h 5203954"/>
                <a:gd name="connsiteX3" fmla="*/ 0 w 1234440"/>
                <a:gd name="connsiteY3" fmla="*/ 63931 h 5203954"/>
                <a:gd name="connsiteX4" fmla="*/ 457200 w 1234440"/>
                <a:gd name="connsiteY4" fmla="*/ 10210 h 5203954"/>
                <a:gd name="connsiteX5" fmla="*/ 429768 w 1234440"/>
                <a:gd name="connsiteY5" fmla="*/ 567994 h 5203954"/>
                <a:gd name="connsiteX6" fmla="*/ 648081 w 1234440"/>
                <a:gd name="connsiteY6" fmla="*/ 714298 h 5203954"/>
                <a:gd name="connsiteX7" fmla="*/ 1234440 w 1234440"/>
                <a:gd name="connsiteY7" fmla="*/ 714298 h 5203954"/>
                <a:gd name="connsiteX8" fmla="*/ 1234440 w 1234440"/>
                <a:gd name="connsiteY8" fmla="*/ 714298 h 5203954"/>
                <a:gd name="connsiteX9" fmla="*/ 1234440 w 1234440"/>
                <a:gd name="connsiteY9" fmla="*/ 930578 h 5203954"/>
                <a:gd name="connsiteX10" fmla="*/ 1234440 w 1234440"/>
                <a:gd name="connsiteY10" fmla="*/ 930578 h 5203954"/>
                <a:gd name="connsiteX11" fmla="*/ 648081 w 1234440"/>
                <a:gd name="connsiteY11" fmla="*/ 930578 h 5203954"/>
                <a:gd name="connsiteX12" fmla="*/ 408304 w 1234440"/>
                <a:gd name="connsiteY12" fmla="*/ 1170355 h 5203954"/>
                <a:gd name="connsiteX13" fmla="*/ 463168 w 1234440"/>
                <a:gd name="connsiteY13" fmla="*/ 4920538 h 5203954"/>
                <a:gd name="connsiteX14" fmla="*/ 384048 w 1234440"/>
                <a:gd name="connsiteY14" fmla="*/ 4874817 h 5203954"/>
                <a:gd name="connsiteX15" fmla="*/ 320040 w 1234440"/>
                <a:gd name="connsiteY15" fmla="*/ 3814114 h 5203954"/>
                <a:gd name="connsiteX16" fmla="*/ 274320 w 1234440"/>
                <a:gd name="connsiteY16" fmla="*/ 2799131 h 5203954"/>
                <a:gd name="connsiteX17" fmla="*/ 192024 w 1234440"/>
                <a:gd name="connsiteY17" fmla="*/ 2707690 h 5203954"/>
                <a:gd name="connsiteX0" fmla="*/ 192024 w 1234440"/>
                <a:gd name="connsiteY0" fmla="*/ 2697480 h 5193744"/>
                <a:gd name="connsiteX1" fmla="*/ 155448 w 1234440"/>
                <a:gd name="connsiteY1" fmla="*/ 1810513 h 5193744"/>
                <a:gd name="connsiteX2" fmla="*/ 0 w 1234440"/>
                <a:gd name="connsiteY2" fmla="*/ 1609345 h 5193744"/>
                <a:gd name="connsiteX3" fmla="*/ 0 w 1234440"/>
                <a:gd name="connsiteY3" fmla="*/ 53721 h 5193744"/>
                <a:gd name="connsiteX4" fmla="*/ 457200 w 1234440"/>
                <a:gd name="connsiteY4" fmla="*/ 0 h 5193744"/>
                <a:gd name="connsiteX5" fmla="*/ 429768 w 1234440"/>
                <a:gd name="connsiteY5" fmla="*/ 557784 h 5193744"/>
                <a:gd name="connsiteX6" fmla="*/ 648081 w 1234440"/>
                <a:gd name="connsiteY6" fmla="*/ 704088 h 5193744"/>
                <a:gd name="connsiteX7" fmla="*/ 1234440 w 1234440"/>
                <a:gd name="connsiteY7" fmla="*/ 704088 h 5193744"/>
                <a:gd name="connsiteX8" fmla="*/ 1234440 w 1234440"/>
                <a:gd name="connsiteY8" fmla="*/ 704088 h 5193744"/>
                <a:gd name="connsiteX9" fmla="*/ 1234440 w 1234440"/>
                <a:gd name="connsiteY9" fmla="*/ 920368 h 5193744"/>
                <a:gd name="connsiteX10" fmla="*/ 1234440 w 1234440"/>
                <a:gd name="connsiteY10" fmla="*/ 920368 h 5193744"/>
                <a:gd name="connsiteX11" fmla="*/ 648081 w 1234440"/>
                <a:gd name="connsiteY11" fmla="*/ 920368 h 5193744"/>
                <a:gd name="connsiteX12" fmla="*/ 408304 w 1234440"/>
                <a:gd name="connsiteY12" fmla="*/ 1160145 h 5193744"/>
                <a:gd name="connsiteX13" fmla="*/ 463168 w 1234440"/>
                <a:gd name="connsiteY13" fmla="*/ 4910328 h 5193744"/>
                <a:gd name="connsiteX14" fmla="*/ 384048 w 1234440"/>
                <a:gd name="connsiteY14" fmla="*/ 4864607 h 5193744"/>
                <a:gd name="connsiteX15" fmla="*/ 320040 w 1234440"/>
                <a:gd name="connsiteY15" fmla="*/ 3803904 h 5193744"/>
                <a:gd name="connsiteX16" fmla="*/ 274320 w 1234440"/>
                <a:gd name="connsiteY16" fmla="*/ 2788921 h 5193744"/>
                <a:gd name="connsiteX17" fmla="*/ 192024 w 1234440"/>
                <a:gd name="connsiteY17" fmla="*/ 2697480 h 5193744"/>
                <a:gd name="connsiteX0" fmla="*/ 192024 w 1234440"/>
                <a:gd name="connsiteY0" fmla="*/ 2697480 h 5193744"/>
                <a:gd name="connsiteX1" fmla="*/ 155448 w 1234440"/>
                <a:gd name="connsiteY1" fmla="*/ 1810513 h 5193744"/>
                <a:gd name="connsiteX2" fmla="*/ 0 w 1234440"/>
                <a:gd name="connsiteY2" fmla="*/ 1609345 h 5193744"/>
                <a:gd name="connsiteX3" fmla="*/ 0 w 1234440"/>
                <a:gd name="connsiteY3" fmla="*/ 53721 h 5193744"/>
                <a:gd name="connsiteX4" fmla="*/ 457200 w 1234440"/>
                <a:gd name="connsiteY4" fmla="*/ 0 h 5193744"/>
                <a:gd name="connsiteX5" fmla="*/ 429768 w 1234440"/>
                <a:gd name="connsiteY5" fmla="*/ 557784 h 5193744"/>
                <a:gd name="connsiteX6" fmla="*/ 648081 w 1234440"/>
                <a:gd name="connsiteY6" fmla="*/ 704088 h 5193744"/>
                <a:gd name="connsiteX7" fmla="*/ 1234440 w 1234440"/>
                <a:gd name="connsiteY7" fmla="*/ 704088 h 5193744"/>
                <a:gd name="connsiteX8" fmla="*/ 1234440 w 1234440"/>
                <a:gd name="connsiteY8" fmla="*/ 704088 h 5193744"/>
                <a:gd name="connsiteX9" fmla="*/ 1234440 w 1234440"/>
                <a:gd name="connsiteY9" fmla="*/ 920368 h 5193744"/>
                <a:gd name="connsiteX10" fmla="*/ 1234440 w 1234440"/>
                <a:gd name="connsiteY10" fmla="*/ 920368 h 5193744"/>
                <a:gd name="connsiteX11" fmla="*/ 648081 w 1234440"/>
                <a:gd name="connsiteY11" fmla="*/ 920368 h 5193744"/>
                <a:gd name="connsiteX12" fmla="*/ 408304 w 1234440"/>
                <a:gd name="connsiteY12" fmla="*/ 1160145 h 5193744"/>
                <a:gd name="connsiteX13" fmla="*/ 463168 w 1234440"/>
                <a:gd name="connsiteY13" fmla="*/ 4910328 h 5193744"/>
                <a:gd name="connsiteX14" fmla="*/ 384048 w 1234440"/>
                <a:gd name="connsiteY14" fmla="*/ 4864607 h 5193744"/>
                <a:gd name="connsiteX15" fmla="*/ 320040 w 1234440"/>
                <a:gd name="connsiteY15" fmla="*/ 3803904 h 5193744"/>
                <a:gd name="connsiteX16" fmla="*/ 274320 w 1234440"/>
                <a:gd name="connsiteY16" fmla="*/ 2788921 h 5193744"/>
                <a:gd name="connsiteX17" fmla="*/ 192024 w 1234440"/>
                <a:gd name="connsiteY17" fmla="*/ 2697480 h 5193744"/>
                <a:gd name="connsiteX0" fmla="*/ 192024 w 1234440"/>
                <a:gd name="connsiteY0" fmla="*/ 2697480 h 4910328"/>
                <a:gd name="connsiteX1" fmla="*/ 155448 w 1234440"/>
                <a:gd name="connsiteY1" fmla="*/ 1810513 h 4910328"/>
                <a:gd name="connsiteX2" fmla="*/ 0 w 1234440"/>
                <a:gd name="connsiteY2" fmla="*/ 1609345 h 4910328"/>
                <a:gd name="connsiteX3" fmla="*/ 0 w 1234440"/>
                <a:gd name="connsiteY3" fmla="*/ 53721 h 4910328"/>
                <a:gd name="connsiteX4" fmla="*/ 457200 w 1234440"/>
                <a:gd name="connsiteY4" fmla="*/ 0 h 4910328"/>
                <a:gd name="connsiteX5" fmla="*/ 429768 w 1234440"/>
                <a:gd name="connsiteY5" fmla="*/ 557784 h 4910328"/>
                <a:gd name="connsiteX6" fmla="*/ 648081 w 1234440"/>
                <a:gd name="connsiteY6" fmla="*/ 704088 h 4910328"/>
                <a:gd name="connsiteX7" fmla="*/ 1234440 w 1234440"/>
                <a:gd name="connsiteY7" fmla="*/ 704088 h 4910328"/>
                <a:gd name="connsiteX8" fmla="*/ 1234440 w 1234440"/>
                <a:gd name="connsiteY8" fmla="*/ 704088 h 4910328"/>
                <a:gd name="connsiteX9" fmla="*/ 1234440 w 1234440"/>
                <a:gd name="connsiteY9" fmla="*/ 920368 h 4910328"/>
                <a:gd name="connsiteX10" fmla="*/ 1234440 w 1234440"/>
                <a:gd name="connsiteY10" fmla="*/ 920368 h 4910328"/>
                <a:gd name="connsiteX11" fmla="*/ 648081 w 1234440"/>
                <a:gd name="connsiteY11" fmla="*/ 920368 h 4910328"/>
                <a:gd name="connsiteX12" fmla="*/ 408304 w 1234440"/>
                <a:gd name="connsiteY12" fmla="*/ 1160145 h 4910328"/>
                <a:gd name="connsiteX13" fmla="*/ 463168 w 1234440"/>
                <a:gd name="connsiteY13" fmla="*/ 4910328 h 4910328"/>
                <a:gd name="connsiteX14" fmla="*/ 384048 w 1234440"/>
                <a:gd name="connsiteY14" fmla="*/ 4864607 h 4910328"/>
                <a:gd name="connsiteX15" fmla="*/ 320040 w 1234440"/>
                <a:gd name="connsiteY15" fmla="*/ 3803904 h 4910328"/>
                <a:gd name="connsiteX16" fmla="*/ 274320 w 1234440"/>
                <a:gd name="connsiteY16" fmla="*/ 2788921 h 4910328"/>
                <a:gd name="connsiteX17" fmla="*/ 192024 w 1234440"/>
                <a:gd name="connsiteY17" fmla="*/ 2697480 h 4910328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57200 w 1234440"/>
                <a:gd name="connsiteY4" fmla="*/ 65151 h 4975479"/>
                <a:gd name="connsiteX5" fmla="*/ 429768 w 1234440"/>
                <a:gd name="connsiteY5" fmla="*/ 622935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70632 h 4983480"/>
                <a:gd name="connsiteX1" fmla="*/ 155448 w 1234440"/>
                <a:gd name="connsiteY1" fmla="*/ 1883665 h 4983480"/>
                <a:gd name="connsiteX2" fmla="*/ 0 w 1234440"/>
                <a:gd name="connsiteY2" fmla="*/ 1682497 h 4983480"/>
                <a:gd name="connsiteX3" fmla="*/ 9144 w 1234440"/>
                <a:gd name="connsiteY3" fmla="*/ 8001 h 4983480"/>
                <a:gd name="connsiteX4" fmla="*/ 484632 w 1234440"/>
                <a:gd name="connsiteY4" fmla="*/ 0 h 4983480"/>
                <a:gd name="connsiteX5" fmla="*/ 429768 w 1234440"/>
                <a:gd name="connsiteY5" fmla="*/ 630936 h 4983480"/>
                <a:gd name="connsiteX6" fmla="*/ 648081 w 1234440"/>
                <a:gd name="connsiteY6" fmla="*/ 777240 h 4983480"/>
                <a:gd name="connsiteX7" fmla="*/ 1234440 w 1234440"/>
                <a:gd name="connsiteY7" fmla="*/ 777240 h 4983480"/>
                <a:gd name="connsiteX8" fmla="*/ 1234440 w 1234440"/>
                <a:gd name="connsiteY8" fmla="*/ 777240 h 4983480"/>
                <a:gd name="connsiteX9" fmla="*/ 1234440 w 1234440"/>
                <a:gd name="connsiteY9" fmla="*/ 993520 h 4983480"/>
                <a:gd name="connsiteX10" fmla="*/ 1234440 w 1234440"/>
                <a:gd name="connsiteY10" fmla="*/ 993520 h 4983480"/>
                <a:gd name="connsiteX11" fmla="*/ 648081 w 1234440"/>
                <a:gd name="connsiteY11" fmla="*/ 993520 h 4983480"/>
                <a:gd name="connsiteX12" fmla="*/ 408304 w 1234440"/>
                <a:gd name="connsiteY12" fmla="*/ 1233297 h 4983480"/>
                <a:gd name="connsiteX13" fmla="*/ 463168 w 1234440"/>
                <a:gd name="connsiteY13" fmla="*/ 4983480 h 4983480"/>
                <a:gd name="connsiteX14" fmla="*/ 384048 w 1234440"/>
                <a:gd name="connsiteY14" fmla="*/ 4937759 h 4983480"/>
                <a:gd name="connsiteX15" fmla="*/ 320040 w 1234440"/>
                <a:gd name="connsiteY15" fmla="*/ 3877056 h 4983480"/>
                <a:gd name="connsiteX16" fmla="*/ 274320 w 1234440"/>
                <a:gd name="connsiteY16" fmla="*/ 2862073 h 4983480"/>
                <a:gd name="connsiteX17" fmla="*/ 192024 w 1234440"/>
                <a:gd name="connsiteY17" fmla="*/ 2770632 h 4983480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29768 w 1234440"/>
                <a:gd name="connsiteY4" fmla="*/ 1143 h 4975479"/>
                <a:gd name="connsiteX5" fmla="*/ 429768 w 1234440"/>
                <a:gd name="connsiteY5" fmla="*/ 622935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29768 w 1234440"/>
                <a:gd name="connsiteY4" fmla="*/ 1143 h 4975479"/>
                <a:gd name="connsiteX5" fmla="*/ 469962 w 1234440"/>
                <a:gd name="connsiteY5" fmla="*/ 632984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69962 w 1234440"/>
                <a:gd name="connsiteY5" fmla="*/ 632984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583149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583149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565497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80553 w 1234440"/>
                <a:gd name="connsiteY4" fmla="*/ 5623 h 4975479"/>
                <a:gd name="connsiteX5" fmla="*/ 474986 w 1234440"/>
                <a:gd name="connsiteY5" fmla="*/ 565497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57008 h 4969856"/>
                <a:gd name="connsiteX1" fmla="*/ 155448 w 1234440"/>
                <a:gd name="connsiteY1" fmla="*/ 1870041 h 4969856"/>
                <a:gd name="connsiteX2" fmla="*/ 0 w 1234440"/>
                <a:gd name="connsiteY2" fmla="*/ 1668873 h 4969856"/>
                <a:gd name="connsiteX3" fmla="*/ 9144 w 1234440"/>
                <a:gd name="connsiteY3" fmla="*/ 1438 h 4969856"/>
                <a:gd name="connsiteX4" fmla="*/ 480553 w 1234440"/>
                <a:gd name="connsiteY4" fmla="*/ 0 h 4969856"/>
                <a:gd name="connsiteX5" fmla="*/ 474986 w 1234440"/>
                <a:gd name="connsiteY5" fmla="*/ 559874 h 4969856"/>
                <a:gd name="connsiteX6" fmla="*/ 648081 w 1234440"/>
                <a:gd name="connsiteY6" fmla="*/ 763616 h 4969856"/>
                <a:gd name="connsiteX7" fmla="*/ 1234440 w 1234440"/>
                <a:gd name="connsiteY7" fmla="*/ 763616 h 4969856"/>
                <a:gd name="connsiteX8" fmla="*/ 1234440 w 1234440"/>
                <a:gd name="connsiteY8" fmla="*/ 763616 h 4969856"/>
                <a:gd name="connsiteX9" fmla="*/ 1234440 w 1234440"/>
                <a:gd name="connsiteY9" fmla="*/ 979896 h 4969856"/>
                <a:gd name="connsiteX10" fmla="*/ 1234440 w 1234440"/>
                <a:gd name="connsiteY10" fmla="*/ 979896 h 4969856"/>
                <a:gd name="connsiteX11" fmla="*/ 648081 w 1234440"/>
                <a:gd name="connsiteY11" fmla="*/ 979896 h 4969856"/>
                <a:gd name="connsiteX12" fmla="*/ 408304 w 1234440"/>
                <a:gd name="connsiteY12" fmla="*/ 1219673 h 4969856"/>
                <a:gd name="connsiteX13" fmla="*/ 463168 w 1234440"/>
                <a:gd name="connsiteY13" fmla="*/ 4969856 h 4969856"/>
                <a:gd name="connsiteX14" fmla="*/ 384048 w 1234440"/>
                <a:gd name="connsiteY14" fmla="*/ 4924135 h 4969856"/>
                <a:gd name="connsiteX15" fmla="*/ 320040 w 1234440"/>
                <a:gd name="connsiteY15" fmla="*/ 3863432 h 4969856"/>
                <a:gd name="connsiteX16" fmla="*/ 274320 w 1234440"/>
                <a:gd name="connsiteY16" fmla="*/ 2848449 h 4969856"/>
                <a:gd name="connsiteX17" fmla="*/ 192024 w 1234440"/>
                <a:gd name="connsiteY17" fmla="*/ 2757008 h 4969856"/>
                <a:gd name="connsiteX0" fmla="*/ 182880 w 1225296"/>
                <a:gd name="connsiteY0" fmla="*/ 2757008 h 4969856"/>
                <a:gd name="connsiteX1" fmla="*/ 146304 w 1225296"/>
                <a:gd name="connsiteY1" fmla="*/ 1870041 h 4969856"/>
                <a:gd name="connsiteX2" fmla="*/ 132076 w 1225296"/>
                <a:gd name="connsiteY2" fmla="*/ 1637099 h 4969856"/>
                <a:gd name="connsiteX3" fmla="*/ 0 w 1225296"/>
                <a:gd name="connsiteY3" fmla="*/ 1438 h 4969856"/>
                <a:gd name="connsiteX4" fmla="*/ 471409 w 1225296"/>
                <a:gd name="connsiteY4" fmla="*/ 0 h 4969856"/>
                <a:gd name="connsiteX5" fmla="*/ 465842 w 1225296"/>
                <a:gd name="connsiteY5" fmla="*/ 559874 h 4969856"/>
                <a:gd name="connsiteX6" fmla="*/ 638937 w 1225296"/>
                <a:gd name="connsiteY6" fmla="*/ 763616 h 4969856"/>
                <a:gd name="connsiteX7" fmla="*/ 1225296 w 1225296"/>
                <a:gd name="connsiteY7" fmla="*/ 763616 h 4969856"/>
                <a:gd name="connsiteX8" fmla="*/ 1225296 w 1225296"/>
                <a:gd name="connsiteY8" fmla="*/ 763616 h 4969856"/>
                <a:gd name="connsiteX9" fmla="*/ 1225296 w 1225296"/>
                <a:gd name="connsiteY9" fmla="*/ 979896 h 4969856"/>
                <a:gd name="connsiteX10" fmla="*/ 1225296 w 1225296"/>
                <a:gd name="connsiteY10" fmla="*/ 979896 h 4969856"/>
                <a:gd name="connsiteX11" fmla="*/ 638937 w 1225296"/>
                <a:gd name="connsiteY11" fmla="*/ 979896 h 4969856"/>
                <a:gd name="connsiteX12" fmla="*/ 399160 w 1225296"/>
                <a:gd name="connsiteY12" fmla="*/ 1219673 h 4969856"/>
                <a:gd name="connsiteX13" fmla="*/ 454024 w 1225296"/>
                <a:gd name="connsiteY13" fmla="*/ 4969856 h 4969856"/>
                <a:gd name="connsiteX14" fmla="*/ 374904 w 1225296"/>
                <a:gd name="connsiteY14" fmla="*/ 4924135 h 4969856"/>
                <a:gd name="connsiteX15" fmla="*/ 310896 w 1225296"/>
                <a:gd name="connsiteY15" fmla="*/ 3863432 h 4969856"/>
                <a:gd name="connsiteX16" fmla="*/ 265176 w 1225296"/>
                <a:gd name="connsiteY16" fmla="*/ 2848449 h 4969856"/>
                <a:gd name="connsiteX17" fmla="*/ 182880 w 1225296"/>
                <a:gd name="connsiteY17" fmla="*/ 2757008 h 4969856"/>
                <a:gd name="connsiteX0" fmla="*/ 188494 w 1230910"/>
                <a:gd name="connsiteY0" fmla="*/ 2757008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88494 w 1230910"/>
                <a:gd name="connsiteY17" fmla="*/ 2757008 h 4969856"/>
                <a:gd name="connsiteX0" fmla="*/ 188494 w 1230910"/>
                <a:gd name="connsiteY0" fmla="*/ 2757008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88494 w 1230910"/>
                <a:gd name="connsiteY17" fmla="*/ 2757008 h 4969856"/>
                <a:gd name="connsiteX0" fmla="*/ 234391 w 1230910"/>
                <a:gd name="connsiteY0" fmla="*/ 2636971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234391 w 1230910"/>
                <a:gd name="connsiteY17" fmla="*/ 2636971 h 4969856"/>
                <a:gd name="connsiteX0" fmla="*/ 170842 w 1230910"/>
                <a:gd name="connsiteY0" fmla="*/ 2545178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306095 w 1230910"/>
                <a:gd name="connsiteY16" fmla="*/ 2834327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7851 w 1230910"/>
                <a:gd name="connsiteY16" fmla="*/ 2728411 h 4969856"/>
                <a:gd name="connsiteX17" fmla="*/ 170842 w 1230910"/>
                <a:gd name="connsiteY17" fmla="*/ 2545178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447139 w 1230910"/>
                <a:gd name="connsiteY15" fmla="*/ 3701028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88266 w 1230910"/>
                <a:gd name="connsiteY15" fmla="*/ 3665723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88266 w 1230910"/>
                <a:gd name="connsiteY15" fmla="*/ 3665723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88266 w 1230910"/>
                <a:gd name="connsiteY15" fmla="*/ 3665723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74144 w 1230910"/>
                <a:gd name="connsiteY15" fmla="*/ 3658662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74144 w 1230910"/>
                <a:gd name="connsiteY15" fmla="*/ 3658662 h 4969856"/>
                <a:gd name="connsiteX16" fmla="*/ 270790 w 1230910"/>
                <a:gd name="connsiteY16" fmla="*/ 2742533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74144 w 1230910"/>
                <a:gd name="connsiteY15" fmla="*/ 3658662 h 4969856"/>
                <a:gd name="connsiteX16" fmla="*/ 270790 w 1230910"/>
                <a:gd name="connsiteY16" fmla="*/ 2742533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0712"/>
                <a:gd name="connsiteX1" fmla="*/ 169571 w 1230910"/>
                <a:gd name="connsiteY1" fmla="*/ 1873572 h 4960712"/>
                <a:gd name="connsiteX2" fmla="*/ 0 w 1230910"/>
                <a:gd name="connsiteY2" fmla="*/ 1640630 h 4960712"/>
                <a:gd name="connsiteX3" fmla="*/ 5614 w 1230910"/>
                <a:gd name="connsiteY3" fmla="*/ 1438 h 4960712"/>
                <a:gd name="connsiteX4" fmla="*/ 477023 w 1230910"/>
                <a:gd name="connsiteY4" fmla="*/ 0 h 4960712"/>
                <a:gd name="connsiteX5" fmla="*/ 471456 w 1230910"/>
                <a:gd name="connsiteY5" fmla="*/ 559874 h 4960712"/>
                <a:gd name="connsiteX6" fmla="*/ 644551 w 1230910"/>
                <a:gd name="connsiteY6" fmla="*/ 763616 h 4960712"/>
                <a:gd name="connsiteX7" fmla="*/ 1230910 w 1230910"/>
                <a:gd name="connsiteY7" fmla="*/ 763616 h 4960712"/>
                <a:gd name="connsiteX8" fmla="*/ 1230910 w 1230910"/>
                <a:gd name="connsiteY8" fmla="*/ 763616 h 4960712"/>
                <a:gd name="connsiteX9" fmla="*/ 1230910 w 1230910"/>
                <a:gd name="connsiteY9" fmla="*/ 979896 h 4960712"/>
                <a:gd name="connsiteX10" fmla="*/ 1230910 w 1230910"/>
                <a:gd name="connsiteY10" fmla="*/ 979896 h 4960712"/>
                <a:gd name="connsiteX11" fmla="*/ 644551 w 1230910"/>
                <a:gd name="connsiteY11" fmla="*/ 979896 h 4960712"/>
                <a:gd name="connsiteX12" fmla="*/ 404774 w 1230910"/>
                <a:gd name="connsiteY12" fmla="*/ 1219673 h 4960712"/>
                <a:gd name="connsiteX13" fmla="*/ 368198 w 1230910"/>
                <a:gd name="connsiteY13" fmla="*/ 4960712 h 4960712"/>
                <a:gd name="connsiteX14" fmla="*/ 380518 w 1230910"/>
                <a:gd name="connsiteY14" fmla="*/ 4924135 h 4960712"/>
                <a:gd name="connsiteX15" fmla="*/ 274144 w 1230910"/>
                <a:gd name="connsiteY15" fmla="*/ 3658662 h 4960712"/>
                <a:gd name="connsiteX16" fmla="*/ 270790 w 1230910"/>
                <a:gd name="connsiteY16" fmla="*/ 2742533 h 4960712"/>
                <a:gd name="connsiteX17" fmla="*/ 170842 w 1230910"/>
                <a:gd name="connsiteY17" fmla="*/ 2580483 h 4960712"/>
                <a:gd name="connsiteX0" fmla="*/ 170842 w 1230910"/>
                <a:gd name="connsiteY0" fmla="*/ 2580483 h 4924136"/>
                <a:gd name="connsiteX1" fmla="*/ 169571 w 1230910"/>
                <a:gd name="connsiteY1" fmla="*/ 1873572 h 4924136"/>
                <a:gd name="connsiteX2" fmla="*/ 0 w 1230910"/>
                <a:gd name="connsiteY2" fmla="*/ 1640630 h 4924136"/>
                <a:gd name="connsiteX3" fmla="*/ 5614 w 1230910"/>
                <a:gd name="connsiteY3" fmla="*/ 1438 h 4924136"/>
                <a:gd name="connsiteX4" fmla="*/ 477023 w 1230910"/>
                <a:gd name="connsiteY4" fmla="*/ 0 h 4924136"/>
                <a:gd name="connsiteX5" fmla="*/ 471456 w 1230910"/>
                <a:gd name="connsiteY5" fmla="*/ 559874 h 4924136"/>
                <a:gd name="connsiteX6" fmla="*/ 644551 w 1230910"/>
                <a:gd name="connsiteY6" fmla="*/ 763616 h 4924136"/>
                <a:gd name="connsiteX7" fmla="*/ 1230910 w 1230910"/>
                <a:gd name="connsiteY7" fmla="*/ 763616 h 4924136"/>
                <a:gd name="connsiteX8" fmla="*/ 1230910 w 1230910"/>
                <a:gd name="connsiteY8" fmla="*/ 763616 h 4924136"/>
                <a:gd name="connsiteX9" fmla="*/ 1230910 w 1230910"/>
                <a:gd name="connsiteY9" fmla="*/ 979896 h 4924136"/>
                <a:gd name="connsiteX10" fmla="*/ 1230910 w 1230910"/>
                <a:gd name="connsiteY10" fmla="*/ 979896 h 4924136"/>
                <a:gd name="connsiteX11" fmla="*/ 644551 w 1230910"/>
                <a:gd name="connsiteY11" fmla="*/ 979896 h 4924136"/>
                <a:gd name="connsiteX12" fmla="*/ 404774 w 1230910"/>
                <a:gd name="connsiteY12" fmla="*/ 1219673 h 4924136"/>
                <a:gd name="connsiteX13" fmla="*/ 267614 w 1230910"/>
                <a:gd name="connsiteY13" fmla="*/ 4924136 h 4924136"/>
                <a:gd name="connsiteX14" fmla="*/ 380518 w 1230910"/>
                <a:gd name="connsiteY14" fmla="*/ 4924135 h 4924136"/>
                <a:gd name="connsiteX15" fmla="*/ 274144 w 1230910"/>
                <a:gd name="connsiteY15" fmla="*/ 3658662 h 4924136"/>
                <a:gd name="connsiteX16" fmla="*/ 270790 w 1230910"/>
                <a:gd name="connsiteY16" fmla="*/ 2742533 h 4924136"/>
                <a:gd name="connsiteX17" fmla="*/ 170842 w 1230910"/>
                <a:gd name="connsiteY17" fmla="*/ 2580483 h 4924136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468782 w 1230910"/>
                <a:gd name="connsiteY13" fmla="*/ 4860128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377342 w 1230910"/>
                <a:gd name="connsiteY13" fmla="*/ 3643976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349910 w 1230910"/>
                <a:gd name="connsiteY13" fmla="*/ 3643976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368198 w 1230910"/>
                <a:gd name="connsiteY13" fmla="*/ 3643976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3868108"/>
                <a:gd name="connsiteX1" fmla="*/ 169571 w 1230910"/>
                <a:gd name="connsiteY1" fmla="*/ 1873572 h 3868108"/>
                <a:gd name="connsiteX2" fmla="*/ 0 w 1230910"/>
                <a:gd name="connsiteY2" fmla="*/ 1640630 h 3868108"/>
                <a:gd name="connsiteX3" fmla="*/ 5614 w 1230910"/>
                <a:gd name="connsiteY3" fmla="*/ 1438 h 3868108"/>
                <a:gd name="connsiteX4" fmla="*/ 477023 w 1230910"/>
                <a:gd name="connsiteY4" fmla="*/ 0 h 3868108"/>
                <a:gd name="connsiteX5" fmla="*/ 471456 w 1230910"/>
                <a:gd name="connsiteY5" fmla="*/ 559874 h 3868108"/>
                <a:gd name="connsiteX6" fmla="*/ 644551 w 1230910"/>
                <a:gd name="connsiteY6" fmla="*/ 763616 h 3868108"/>
                <a:gd name="connsiteX7" fmla="*/ 1230910 w 1230910"/>
                <a:gd name="connsiteY7" fmla="*/ 763616 h 3868108"/>
                <a:gd name="connsiteX8" fmla="*/ 1230910 w 1230910"/>
                <a:gd name="connsiteY8" fmla="*/ 763616 h 3868108"/>
                <a:gd name="connsiteX9" fmla="*/ 1230910 w 1230910"/>
                <a:gd name="connsiteY9" fmla="*/ 979896 h 3868108"/>
                <a:gd name="connsiteX10" fmla="*/ 1230910 w 1230910"/>
                <a:gd name="connsiteY10" fmla="*/ 979896 h 3868108"/>
                <a:gd name="connsiteX11" fmla="*/ 644551 w 1230910"/>
                <a:gd name="connsiteY11" fmla="*/ 979896 h 3868108"/>
                <a:gd name="connsiteX12" fmla="*/ 404774 w 1230910"/>
                <a:gd name="connsiteY12" fmla="*/ 1219673 h 3868108"/>
                <a:gd name="connsiteX13" fmla="*/ 368198 w 1230910"/>
                <a:gd name="connsiteY13" fmla="*/ 3643976 h 3868108"/>
                <a:gd name="connsiteX14" fmla="*/ 274144 w 1230910"/>
                <a:gd name="connsiteY14" fmla="*/ 3658662 h 3868108"/>
                <a:gd name="connsiteX15" fmla="*/ 270790 w 1230910"/>
                <a:gd name="connsiteY15" fmla="*/ 2742533 h 3868108"/>
                <a:gd name="connsiteX16" fmla="*/ 170842 w 1230910"/>
                <a:gd name="connsiteY16" fmla="*/ 2580483 h 3868108"/>
                <a:gd name="connsiteX0" fmla="*/ 170842 w 1230910"/>
                <a:gd name="connsiteY0" fmla="*/ 2580483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368198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70842 w 1230910"/>
                <a:gd name="connsiteY16" fmla="*/ 2580483 h 3658662"/>
                <a:gd name="connsiteX0" fmla="*/ 170842 w 1230910"/>
                <a:gd name="connsiteY0" fmla="*/ 2580483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13918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70842 w 1230910"/>
                <a:gd name="connsiteY16" fmla="*/ 2580483 h 3658662"/>
                <a:gd name="connsiteX0" fmla="*/ 170842 w 1230910"/>
                <a:gd name="connsiteY0" fmla="*/ 2580483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4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70842 w 1230910"/>
                <a:gd name="connsiteY16" fmla="*/ 2580483 h 3658662"/>
                <a:gd name="connsiteX0" fmla="*/ 161698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4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61698 w 1230910"/>
                <a:gd name="connsiteY16" fmla="*/ 2562195 h 3658662"/>
                <a:gd name="connsiteX0" fmla="*/ 161698 w 1230910"/>
                <a:gd name="connsiteY0" fmla="*/ 2562195 h 3674121"/>
                <a:gd name="connsiteX1" fmla="*/ 169571 w 1230910"/>
                <a:gd name="connsiteY1" fmla="*/ 1873572 h 3674121"/>
                <a:gd name="connsiteX2" fmla="*/ 0 w 1230910"/>
                <a:gd name="connsiteY2" fmla="*/ 1640630 h 3674121"/>
                <a:gd name="connsiteX3" fmla="*/ 5614 w 1230910"/>
                <a:gd name="connsiteY3" fmla="*/ 1438 h 3674121"/>
                <a:gd name="connsiteX4" fmla="*/ 477023 w 1230910"/>
                <a:gd name="connsiteY4" fmla="*/ 0 h 3674121"/>
                <a:gd name="connsiteX5" fmla="*/ 471456 w 1230910"/>
                <a:gd name="connsiteY5" fmla="*/ 559874 h 3674121"/>
                <a:gd name="connsiteX6" fmla="*/ 644551 w 1230910"/>
                <a:gd name="connsiteY6" fmla="*/ 763616 h 3674121"/>
                <a:gd name="connsiteX7" fmla="*/ 1230910 w 1230910"/>
                <a:gd name="connsiteY7" fmla="*/ 763616 h 3674121"/>
                <a:gd name="connsiteX8" fmla="*/ 1230910 w 1230910"/>
                <a:gd name="connsiteY8" fmla="*/ 763616 h 3674121"/>
                <a:gd name="connsiteX9" fmla="*/ 1230910 w 1230910"/>
                <a:gd name="connsiteY9" fmla="*/ 979896 h 3674121"/>
                <a:gd name="connsiteX10" fmla="*/ 1230910 w 1230910"/>
                <a:gd name="connsiteY10" fmla="*/ 979896 h 3674121"/>
                <a:gd name="connsiteX11" fmla="*/ 644551 w 1230910"/>
                <a:gd name="connsiteY11" fmla="*/ 979896 h 3674121"/>
                <a:gd name="connsiteX12" fmla="*/ 404774 w 1230910"/>
                <a:gd name="connsiteY12" fmla="*/ 1219673 h 3674121"/>
                <a:gd name="connsiteX13" fmla="*/ 409798 w 1230910"/>
                <a:gd name="connsiteY13" fmla="*/ 3674121 h 3674121"/>
                <a:gd name="connsiteX14" fmla="*/ 274144 w 1230910"/>
                <a:gd name="connsiteY14" fmla="*/ 3658662 h 3674121"/>
                <a:gd name="connsiteX15" fmla="*/ 270790 w 1230910"/>
                <a:gd name="connsiteY15" fmla="*/ 2742533 h 3674121"/>
                <a:gd name="connsiteX16" fmla="*/ 161698 w 1230910"/>
                <a:gd name="connsiteY16" fmla="*/ 2562195 h 3674121"/>
                <a:gd name="connsiteX0" fmla="*/ 161698 w 1230910"/>
                <a:gd name="connsiteY0" fmla="*/ 2562195 h 3669097"/>
                <a:gd name="connsiteX1" fmla="*/ 169571 w 1230910"/>
                <a:gd name="connsiteY1" fmla="*/ 1873572 h 3669097"/>
                <a:gd name="connsiteX2" fmla="*/ 0 w 1230910"/>
                <a:gd name="connsiteY2" fmla="*/ 1640630 h 3669097"/>
                <a:gd name="connsiteX3" fmla="*/ 5614 w 1230910"/>
                <a:gd name="connsiteY3" fmla="*/ 1438 h 3669097"/>
                <a:gd name="connsiteX4" fmla="*/ 477023 w 1230910"/>
                <a:gd name="connsiteY4" fmla="*/ 0 h 3669097"/>
                <a:gd name="connsiteX5" fmla="*/ 471456 w 1230910"/>
                <a:gd name="connsiteY5" fmla="*/ 559874 h 3669097"/>
                <a:gd name="connsiteX6" fmla="*/ 644551 w 1230910"/>
                <a:gd name="connsiteY6" fmla="*/ 763616 h 3669097"/>
                <a:gd name="connsiteX7" fmla="*/ 1230910 w 1230910"/>
                <a:gd name="connsiteY7" fmla="*/ 763616 h 3669097"/>
                <a:gd name="connsiteX8" fmla="*/ 1230910 w 1230910"/>
                <a:gd name="connsiteY8" fmla="*/ 763616 h 3669097"/>
                <a:gd name="connsiteX9" fmla="*/ 1230910 w 1230910"/>
                <a:gd name="connsiteY9" fmla="*/ 979896 h 3669097"/>
                <a:gd name="connsiteX10" fmla="*/ 1230910 w 1230910"/>
                <a:gd name="connsiteY10" fmla="*/ 979896 h 3669097"/>
                <a:gd name="connsiteX11" fmla="*/ 644551 w 1230910"/>
                <a:gd name="connsiteY11" fmla="*/ 979896 h 3669097"/>
                <a:gd name="connsiteX12" fmla="*/ 404774 w 1230910"/>
                <a:gd name="connsiteY12" fmla="*/ 1219673 h 3669097"/>
                <a:gd name="connsiteX13" fmla="*/ 409798 w 1230910"/>
                <a:gd name="connsiteY13" fmla="*/ 3669097 h 3669097"/>
                <a:gd name="connsiteX14" fmla="*/ 274144 w 1230910"/>
                <a:gd name="connsiteY14" fmla="*/ 3658662 h 3669097"/>
                <a:gd name="connsiteX15" fmla="*/ 270790 w 1230910"/>
                <a:gd name="connsiteY15" fmla="*/ 2742533 h 3669097"/>
                <a:gd name="connsiteX16" fmla="*/ 161698 w 1230910"/>
                <a:gd name="connsiteY16" fmla="*/ 2562195 h 3669097"/>
                <a:gd name="connsiteX0" fmla="*/ 161698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61698 w 1230910"/>
                <a:gd name="connsiteY16" fmla="*/ 2562195 h 3658662"/>
                <a:gd name="connsiteX0" fmla="*/ 161698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1698 w 1230910"/>
                <a:gd name="connsiteY17" fmla="*/ 2562195 h 3658662"/>
                <a:gd name="connsiteX0" fmla="*/ 156674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56674 w 1230910"/>
                <a:gd name="connsiteY17" fmla="*/ 2562195 h 3658662"/>
                <a:gd name="connsiteX0" fmla="*/ 176770 w 1230910"/>
                <a:gd name="connsiteY0" fmla="*/ 2557171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76770 w 1230910"/>
                <a:gd name="connsiteY17" fmla="*/ 2557171 h 3658662"/>
                <a:gd name="connsiteX0" fmla="*/ 166722 w 1230910"/>
                <a:gd name="connsiteY0" fmla="*/ 2567220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6722 w 1230910"/>
                <a:gd name="connsiteY17" fmla="*/ 2567220 h 3658662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77023 w 1230910"/>
                <a:gd name="connsiteY4" fmla="*/ 18659 h 3657224"/>
                <a:gd name="connsiteX5" fmla="*/ 471456 w 1230910"/>
                <a:gd name="connsiteY5" fmla="*/ 5584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61950 w 1230910"/>
                <a:gd name="connsiteY4" fmla="*/ 8610 h 3657224"/>
                <a:gd name="connsiteX5" fmla="*/ 471456 w 1230910"/>
                <a:gd name="connsiteY5" fmla="*/ 5584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7220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61950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6722 w 1230910"/>
                <a:gd name="connsiteY17" fmla="*/ 2567220 h 3658662"/>
                <a:gd name="connsiteX0" fmla="*/ 166722 w 1230910"/>
                <a:gd name="connsiteY0" fmla="*/ 2567220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61950 w 1230910"/>
                <a:gd name="connsiteY4" fmla="*/ 0 h 3658662"/>
                <a:gd name="connsiteX5" fmla="*/ 471456 w 1230910"/>
                <a:gd name="connsiteY5" fmla="*/ 5979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6722 w 1230910"/>
                <a:gd name="connsiteY17" fmla="*/ 2567220 h 3658662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69570 w 1230910"/>
                <a:gd name="connsiteY4" fmla="*/ 2372 h 3657224"/>
                <a:gd name="connsiteX5" fmla="*/ 471456 w 1230910"/>
                <a:gd name="connsiteY5" fmla="*/ 5965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73380 w 1230910"/>
                <a:gd name="connsiteY4" fmla="*/ 6182 h 3657224"/>
                <a:gd name="connsiteX5" fmla="*/ 471456 w 1230910"/>
                <a:gd name="connsiteY5" fmla="*/ 5965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196114 w 1230910"/>
                <a:gd name="connsiteY4" fmla="*/ 31420 h 3657224"/>
                <a:gd name="connsiteX5" fmla="*/ 473380 w 1230910"/>
                <a:gd name="connsiteY5" fmla="*/ 6182 h 3657224"/>
                <a:gd name="connsiteX6" fmla="*/ 471456 w 1230910"/>
                <a:gd name="connsiteY6" fmla="*/ 596536 h 3657224"/>
                <a:gd name="connsiteX7" fmla="*/ 644551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762178 h 3657224"/>
                <a:gd name="connsiteX10" fmla="*/ 1230910 w 1230910"/>
                <a:gd name="connsiteY10" fmla="*/ 978458 h 3657224"/>
                <a:gd name="connsiteX11" fmla="*/ 1230910 w 1230910"/>
                <a:gd name="connsiteY11" fmla="*/ 978458 h 3657224"/>
                <a:gd name="connsiteX12" fmla="*/ 644551 w 1230910"/>
                <a:gd name="connsiteY12" fmla="*/ 978458 h 3657224"/>
                <a:gd name="connsiteX13" fmla="*/ 404774 w 1230910"/>
                <a:gd name="connsiteY13" fmla="*/ 1218235 h 3657224"/>
                <a:gd name="connsiteX14" fmla="*/ 404773 w 1230910"/>
                <a:gd name="connsiteY14" fmla="*/ 3647563 h 3657224"/>
                <a:gd name="connsiteX15" fmla="*/ 342736 w 1230910"/>
                <a:gd name="connsiteY15" fmla="*/ 3610182 h 3657224"/>
                <a:gd name="connsiteX16" fmla="*/ 274144 w 1230910"/>
                <a:gd name="connsiteY16" fmla="*/ 3657224 h 3657224"/>
                <a:gd name="connsiteX17" fmla="*/ 270790 w 1230910"/>
                <a:gd name="connsiteY17" fmla="*/ 2741095 h 3657224"/>
                <a:gd name="connsiteX18" fmla="*/ 166722 w 1230910"/>
                <a:gd name="connsiteY18" fmla="*/ 2565782 h 3657224"/>
                <a:gd name="connsiteX0" fmla="*/ 166722 w 1230910"/>
                <a:gd name="connsiteY0" fmla="*/ 2572462 h 3663904"/>
                <a:gd name="connsiteX1" fmla="*/ 169571 w 1230910"/>
                <a:gd name="connsiteY1" fmla="*/ 1878814 h 3663904"/>
                <a:gd name="connsiteX2" fmla="*/ 0 w 1230910"/>
                <a:gd name="connsiteY2" fmla="*/ 1645872 h 3663904"/>
                <a:gd name="connsiteX3" fmla="*/ 5614 w 1230910"/>
                <a:gd name="connsiteY3" fmla="*/ 6680 h 3663904"/>
                <a:gd name="connsiteX4" fmla="*/ 196114 w 1230910"/>
                <a:gd name="connsiteY4" fmla="*/ 38100 h 3663904"/>
                <a:gd name="connsiteX5" fmla="*/ 310414 w 1230910"/>
                <a:gd name="connsiteY5" fmla="*/ 0 h 3663904"/>
                <a:gd name="connsiteX6" fmla="*/ 473380 w 1230910"/>
                <a:gd name="connsiteY6" fmla="*/ 12862 h 3663904"/>
                <a:gd name="connsiteX7" fmla="*/ 471456 w 1230910"/>
                <a:gd name="connsiteY7" fmla="*/ 603216 h 3663904"/>
                <a:gd name="connsiteX8" fmla="*/ 644551 w 1230910"/>
                <a:gd name="connsiteY8" fmla="*/ 768858 h 3663904"/>
                <a:gd name="connsiteX9" fmla="*/ 1230910 w 1230910"/>
                <a:gd name="connsiteY9" fmla="*/ 768858 h 3663904"/>
                <a:gd name="connsiteX10" fmla="*/ 1230910 w 1230910"/>
                <a:gd name="connsiteY10" fmla="*/ 768858 h 3663904"/>
                <a:gd name="connsiteX11" fmla="*/ 1230910 w 1230910"/>
                <a:gd name="connsiteY11" fmla="*/ 985138 h 3663904"/>
                <a:gd name="connsiteX12" fmla="*/ 1230910 w 1230910"/>
                <a:gd name="connsiteY12" fmla="*/ 985138 h 3663904"/>
                <a:gd name="connsiteX13" fmla="*/ 644551 w 1230910"/>
                <a:gd name="connsiteY13" fmla="*/ 985138 h 3663904"/>
                <a:gd name="connsiteX14" fmla="*/ 404774 w 1230910"/>
                <a:gd name="connsiteY14" fmla="*/ 1224915 h 3663904"/>
                <a:gd name="connsiteX15" fmla="*/ 404773 w 1230910"/>
                <a:gd name="connsiteY15" fmla="*/ 3654243 h 3663904"/>
                <a:gd name="connsiteX16" fmla="*/ 342736 w 1230910"/>
                <a:gd name="connsiteY16" fmla="*/ 3616862 h 3663904"/>
                <a:gd name="connsiteX17" fmla="*/ 274144 w 1230910"/>
                <a:gd name="connsiteY17" fmla="*/ 3663904 h 3663904"/>
                <a:gd name="connsiteX18" fmla="*/ 270790 w 1230910"/>
                <a:gd name="connsiteY18" fmla="*/ 2747775 h 3663904"/>
                <a:gd name="connsiteX19" fmla="*/ 166722 w 1230910"/>
                <a:gd name="connsiteY19" fmla="*/ 2572462 h 3663904"/>
                <a:gd name="connsiteX0" fmla="*/ 166722 w 1486407"/>
                <a:gd name="connsiteY0" fmla="*/ 2572462 h 3663904"/>
                <a:gd name="connsiteX1" fmla="*/ 169571 w 1486407"/>
                <a:gd name="connsiteY1" fmla="*/ 1878814 h 3663904"/>
                <a:gd name="connsiteX2" fmla="*/ 0 w 1486407"/>
                <a:gd name="connsiteY2" fmla="*/ 1645872 h 3663904"/>
                <a:gd name="connsiteX3" fmla="*/ 5614 w 1486407"/>
                <a:gd name="connsiteY3" fmla="*/ 6680 h 3663904"/>
                <a:gd name="connsiteX4" fmla="*/ 196114 w 1486407"/>
                <a:gd name="connsiteY4" fmla="*/ 38100 h 3663904"/>
                <a:gd name="connsiteX5" fmla="*/ 310414 w 1486407"/>
                <a:gd name="connsiteY5" fmla="*/ 0 h 3663904"/>
                <a:gd name="connsiteX6" fmla="*/ 473380 w 1486407"/>
                <a:gd name="connsiteY6" fmla="*/ 12862 h 3663904"/>
                <a:gd name="connsiteX7" fmla="*/ 471456 w 1486407"/>
                <a:gd name="connsiteY7" fmla="*/ 603216 h 3663904"/>
                <a:gd name="connsiteX8" fmla="*/ 644551 w 1486407"/>
                <a:gd name="connsiteY8" fmla="*/ 768858 h 3663904"/>
                <a:gd name="connsiteX9" fmla="*/ 1230910 w 1486407"/>
                <a:gd name="connsiteY9" fmla="*/ 768858 h 3663904"/>
                <a:gd name="connsiteX10" fmla="*/ 1230910 w 1486407"/>
                <a:gd name="connsiteY10" fmla="*/ 768858 h 3663904"/>
                <a:gd name="connsiteX11" fmla="*/ 1230910 w 1486407"/>
                <a:gd name="connsiteY11" fmla="*/ 985138 h 3663904"/>
                <a:gd name="connsiteX12" fmla="*/ 1486407 w 1486407"/>
                <a:gd name="connsiteY12" fmla="*/ 990816 h 3663904"/>
                <a:gd name="connsiteX13" fmla="*/ 644551 w 1486407"/>
                <a:gd name="connsiteY13" fmla="*/ 985138 h 3663904"/>
                <a:gd name="connsiteX14" fmla="*/ 404774 w 1486407"/>
                <a:gd name="connsiteY14" fmla="*/ 1224915 h 3663904"/>
                <a:gd name="connsiteX15" fmla="*/ 404773 w 1486407"/>
                <a:gd name="connsiteY15" fmla="*/ 3654243 h 3663904"/>
                <a:gd name="connsiteX16" fmla="*/ 342736 w 1486407"/>
                <a:gd name="connsiteY16" fmla="*/ 3616862 h 3663904"/>
                <a:gd name="connsiteX17" fmla="*/ 274144 w 1486407"/>
                <a:gd name="connsiteY17" fmla="*/ 3663904 h 3663904"/>
                <a:gd name="connsiteX18" fmla="*/ 270790 w 1486407"/>
                <a:gd name="connsiteY18" fmla="*/ 2747775 h 3663904"/>
                <a:gd name="connsiteX19" fmla="*/ 166722 w 1486407"/>
                <a:gd name="connsiteY19" fmla="*/ 2572462 h 3663904"/>
                <a:gd name="connsiteX0" fmla="*/ 166722 w 1486407"/>
                <a:gd name="connsiteY0" fmla="*/ 2572462 h 3663904"/>
                <a:gd name="connsiteX1" fmla="*/ 169571 w 1486407"/>
                <a:gd name="connsiteY1" fmla="*/ 1878814 h 3663904"/>
                <a:gd name="connsiteX2" fmla="*/ 0 w 1486407"/>
                <a:gd name="connsiteY2" fmla="*/ 1645872 h 3663904"/>
                <a:gd name="connsiteX3" fmla="*/ 5614 w 1486407"/>
                <a:gd name="connsiteY3" fmla="*/ 6680 h 3663904"/>
                <a:gd name="connsiteX4" fmla="*/ 196114 w 1486407"/>
                <a:gd name="connsiteY4" fmla="*/ 38100 h 3663904"/>
                <a:gd name="connsiteX5" fmla="*/ 310414 w 1486407"/>
                <a:gd name="connsiteY5" fmla="*/ 0 h 3663904"/>
                <a:gd name="connsiteX6" fmla="*/ 473380 w 1486407"/>
                <a:gd name="connsiteY6" fmla="*/ 12862 h 3663904"/>
                <a:gd name="connsiteX7" fmla="*/ 471456 w 1486407"/>
                <a:gd name="connsiteY7" fmla="*/ 603216 h 3663904"/>
                <a:gd name="connsiteX8" fmla="*/ 644551 w 1486407"/>
                <a:gd name="connsiteY8" fmla="*/ 768858 h 3663904"/>
                <a:gd name="connsiteX9" fmla="*/ 1230910 w 1486407"/>
                <a:gd name="connsiteY9" fmla="*/ 768858 h 3663904"/>
                <a:gd name="connsiteX10" fmla="*/ 1230910 w 1486407"/>
                <a:gd name="connsiteY10" fmla="*/ 768858 h 3663904"/>
                <a:gd name="connsiteX11" fmla="*/ 1486407 w 1486407"/>
                <a:gd name="connsiteY11" fmla="*/ 990816 h 3663904"/>
                <a:gd name="connsiteX12" fmla="*/ 644551 w 1486407"/>
                <a:gd name="connsiteY12" fmla="*/ 985138 h 3663904"/>
                <a:gd name="connsiteX13" fmla="*/ 404774 w 1486407"/>
                <a:gd name="connsiteY13" fmla="*/ 1224915 h 3663904"/>
                <a:gd name="connsiteX14" fmla="*/ 404773 w 1486407"/>
                <a:gd name="connsiteY14" fmla="*/ 3654243 h 3663904"/>
                <a:gd name="connsiteX15" fmla="*/ 342736 w 1486407"/>
                <a:gd name="connsiteY15" fmla="*/ 3616862 h 3663904"/>
                <a:gd name="connsiteX16" fmla="*/ 274144 w 1486407"/>
                <a:gd name="connsiteY16" fmla="*/ 3663904 h 3663904"/>
                <a:gd name="connsiteX17" fmla="*/ 270790 w 1486407"/>
                <a:gd name="connsiteY17" fmla="*/ 2747775 h 3663904"/>
                <a:gd name="connsiteX18" fmla="*/ 166722 w 1486407"/>
                <a:gd name="connsiteY18" fmla="*/ 2572462 h 3663904"/>
                <a:gd name="connsiteX0" fmla="*/ 166722 w 1543184"/>
                <a:gd name="connsiteY0" fmla="*/ 2572462 h 3663904"/>
                <a:gd name="connsiteX1" fmla="*/ 169571 w 1543184"/>
                <a:gd name="connsiteY1" fmla="*/ 1878814 h 3663904"/>
                <a:gd name="connsiteX2" fmla="*/ 0 w 1543184"/>
                <a:gd name="connsiteY2" fmla="*/ 1645872 h 3663904"/>
                <a:gd name="connsiteX3" fmla="*/ 5614 w 1543184"/>
                <a:gd name="connsiteY3" fmla="*/ 6680 h 3663904"/>
                <a:gd name="connsiteX4" fmla="*/ 196114 w 1543184"/>
                <a:gd name="connsiteY4" fmla="*/ 38100 h 3663904"/>
                <a:gd name="connsiteX5" fmla="*/ 310414 w 1543184"/>
                <a:gd name="connsiteY5" fmla="*/ 0 h 3663904"/>
                <a:gd name="connsiteX6" fmla="*/ 473380 w 1543184"/>
                <a:gd name="connsiteY6" fmla="*/ 12862 h 3663904"/>
                <a:gd name="connsiteX7" fmla="*/ 471456 w 1543184"/>
                <a:gd name="connsiteY7" fmla="*/ 603216 h 3663904"/>
                <a:gd name="connsiteX8" fmla="*/ 644551 w 1543184"/>
                <a:gd name="connsiteY8" fmla="*/ 768858 h 3663904"/>
                <a:gd name="connsiteX9" fmla="*/ 1230910 w 1543184"/>
                <a:gd name="connsiteY9" fmla="*/ 768858 h 3663904"/>
                <a:gd name="connsiteX10" fmla="*/ 1543184 w 1543184"/>
                <a:gd name="connsiteY10" fmla="*/ 780213 h 3663904"/>
                <a:gd name="connsiteX11" fmla="*/ 1486407 w 1543184"/>
                <a:gd name="connsiteY11" fmla="*/ 990816 h 3663904"/>
                <a:gd name="connsiteX12" fmla="*/ 644551 w 1543184"/>
                <a:gd name="connsiteY12" fmla="*/ 985138 h 3663904"/>
                <a:gd name="connsiteX13" fmla="*/ 404774 w 1543184"/>
                <a:gd name="connsiteY13" fmla="*/ 1224915 h 3663904"/>
                <a:gd name="connsiteX14" fmla="*/ 404773 w 1543184"/>
                <a:gd name="connsiteY14" fmla="*/ 3654243 h 3663904"/>
                <a:gd name="connsiteX15" fmla="*/ 342736 w 1543184"/>
                <a:gd name="connsiteY15" fmla="*/ 3616862 h 3663904"/>
                <a:gd name="connsiteX16" fmla="*/ 274144 w 1543184"/>
                <a:gd name="connsiteY16" fmla="*/ 3663904 h 3663904"/>
                <a:gd name="connsiteX17" fmla="*/ 270790 w 1543184"/>
                <a:gd name="connsiteY17" fmla="*/ 2747775 h 3663904"/>
                <a:gd name="connsiteX18" fmla="*/ 166722 w 1543184"/>
                <a:gd name="connsiteY18" fmla="*/ 2572462 h 3663904"/>
                <a:gd name="connsiteX0" fmla="*/ 166722 w 1543184"/>
                <a:gd name="connsiteY0" fmla="*/ 2572462 h 3663904"/>
                <a:gd name="connsiteX1" fmla="*/ 169571 w 1543184"/>
                <a:gd name="connsiteY1" fmla="*/ 1878814 h 3663904"/>
                <a:gd name="connsiteX2" fmla="*/ 0 w 1543184"/>
                <a:gd name="connsiteY2" fmla="*/ 1645872 h 3663904"/>
                <a:gd name="connsiteX3" fmla="*/ 5614 w 1543184"/>
                <a:gd name="connsiteY3" fmla="*/ 6680 h 3663904"/>
                <a:gd name="connsiteX4" fmla="*/ 196114 w 1543184"/>
                <a:gd name="connsiteY4" fmla="*/ 38100 h 3663904"/>
                <a:gd name="connsiteX5" fmla="*/ 310414 w 1543184"/>
                <a:gd name="connsiteY5" fmla="*/ 0 h 3663904"/>
                <a:gd name="connsiteX6" fmla="*/ 473380 w 1543184"/>
                <a:gd name="connsiteY6" fmla="*/ 12862 h 3663904"/>
                <a:gd name="connsiteX7" fmla="*/ 471456 w 1543184"/>
                <a:gd name="connsiteY7" fmla="*/ 603216 h 3663904"/>
                <a:gd name="connsiteX8" fmla="*/ 644551 w 1543184"/>
                <a:gd name="connsiteY8" fmla="*/ 768858 h 3663904"/>
                <a:gd name="connsiteX9" fmla="*/ 1230910 w 1543184"/>
                <a:gd name="connsiteY9" fmla="*/ 768858 h 3663904"/>
                <a:gd name="connsiteX10" fmla="*/ 1543184 w 1543184"/>
                <a:gd name="connsiteY10" fmla="*/ 780213 h 3663904"/>
                <a:gd name="connsiteX11" fmla="*/ 1537506 w 1543184"/>
                <a:gd name="connsiteY11" fmla="*/ 985138 h 3663904"/>
                <a:gd name="connsiteX12" fmla="*/ 644551 w 1543184"/>
                <a:gd name="connsiteY12" fmla="*/ 985138 h 3663904"/>
                <a:gd name="connsiteX13" fmla="*/ 404774 w 1543184"/>
                <a:gd name="connsiteY13" fmla="*/ 1224915 h 3663904"/>
                <a:gd name="connsiteX14" fmla="*/ 404773 w 1543184"/>
                <a:gd name="connsiteY14" fmla="*/ 3654243 h 3663904"/>
                <a:gd name="connsiteX15" fmla="*/ 342736 w 1543184"/>
                <a:gd name="connsiteY15" fmla="*/ 3616862 h 3663904"/>
                <a:gd name="connsiteX16" fmla="*/ 274144 w 1543184"/>
                <a:gd name="connsiteY16" fmla="*/ 3663904 h 3663904"/>
                <a:gd name="connsiteX17" fmla="*/ 270790 w 1543184"/>
                <a:gd name="connsiteY17" fmla="*/ 2747775 h 3663904"/>
                <a:gd name="connsiteX18" fmla="*/ 166722 w 1543184"/>
                <a:gd name="connsiteY18" fmla="*/ 2572462 h 3663904"/>
                <a:gd name="connsiteX0" fmla="*/ 166722 w 1543184"/>
                <a:gd name="connsiteY0" fmla="*/ 2572462 h 3663904"/>
                <a:gd name="connsiteX1" fmla="*/ 169571 w 1543184"/>
                <a:gd name="connsiteY1" fmla="*/ 1878814 h 3663904"/>
                <a:gd name="connsiteX2" fmla="*/ 0 w 1543184"/>
                <a:gd name="connsiteY2" fmla="*/ 1645872 h 3663904"/>
                <a:gd name="connsiteX3" fmla="*/ 5614 w 1543184"/>
                <a:gd name="connsiteY3" fmla="*/ 6680 h 3663904"/>
                <a:gd name="connsiteX4" fmla="*/ 196114 w 1543184"/>
                <a:gd name="connsiteY4" fmla="*/ 38100 h 3663904"/>
                <a:gd name="connsiteX5" fmla="*/ 310414 w 1543184"/>
                <a:gd name="connsiteY5" fmla="*/ 0 h 3663904"/>
                <a:gd name="connsiteX6" fmla="*/ 473380 w 1543184"/>
                <a:gd name="connsiteY6" fmla="*/ 12862 h 3663904"/>
                <a:gd name="connsiteX7" fmla="*/ 471456 w 1543184"/>
                <a:gd name="connsiteY7" fmla="*/ 603216 h 3663904"/>
                <a:gd name="connsiteX8" fmla="*/ 644551 w 1543184"/>
                <a:gd name="connsiteY8" fmla="*/ 768858 h 3663904"/>
                <a:gd name="connsiteX9" fmla="*/ 1543184 w 1543184"/>
                <a:gd name="connsiteY9" fmla="*/ 780213 h 3663904"/>
                <a:gd name="connsiteX10" fmla="*/ 1537506 w 1543184"/>
                <a:gd name="connsiteY10" fmla="*/ 985138 h 3663904"/>
                <a:gd name="connsiteX11" fmla="*/ 644551 w 1543184"/>
                <a:gd name="connsiteY11" fmla="*/ 985138 h 3663904"/>
                <a:gd name="connsiteX12" fmla="*/ 404774 w 1543184"/>
                <a:gd name="connsiteY12" fmla="*/ 1224915 h 3663904"/>
                <a:gd name="connsiteX13" fmla="*/ 404773 w 1543184"/>
                <a:gd name="connsiteY13" fmla="*/ 3654243 h 3663904"/>
                <a:gd name="connsiteX14" fmla="*/ 342736 w 1543184"/>
                <a:gd name="connsiteY14" fmla="*/ 3616862 h 3663904"/>
                <a:gd name="connsiteX15" fmla="*/ 274144 w 1543184"/>
                <a:gd name="connsiteY15" fmla="*/ 3663904 h 3663904"/>
                <a:gd name="connsiteX16" fmla="*/ 270790 w 1543184"/>
                <a:gd name="connsiteY16" fmla="*/ 2747775 h 3663904"/>
                <a:gd name="connsiteX17" fmla="*/ 166722 w 1543184"/>
                <a:gd name="connsiteY17" fmla="*/ 2572462 h 3663904"/>
                <a:gd name="connsiteX0" fmla="*/ 166722 w 1537506"/>
                <a:gd name="connsiteY0" fmla="*/ 2572462 h 3663904"/>
                <a:gd name="connsiteX1" fmla="*/ 169571 w 1537506"/>
                <a:gd name="connsiteY1" fmla="*/ 1878814 h 3663904"/>
                <a:gd name="connsiteX2" fmla="*/ 0 w 1537506"/>
                <a:gd name="connsiteY2" fmla="*/ 1645872 h 3663904"/>
                <a:gd name="connsiteX3" fmla="*/ 5614 w 1537506"/>
                <a:gd name="connsiteY3" fmla="*/ 6680 h 3663904"/>
                <a:gd name="connsiteX4" fmla="*/ 196114 w 1537506"/>
                <a:gd name="connsiteY4" fmla="*/ 38100 h 3663904"/>
                <a:gd name="connsiteX5" fmla="*/ 310414 w 1537506"/>
                <a:gd name="connsiteY5" fmla="*/ 0 h 3663904"/>
                <a:gd name="connsiteX6" fmla="*/ 473380 w 1537506"/>
                <a:gd name="connsiteY6" fmla="*/ 12862 h 3663904"/>
                <a:gd name="connsiteX7" fmla="*/ 471456 w 1537506"/>
                <a:gd name="connsiteY7" fmla="*/ 603216 h 3663904"/>
                <a:gd name="connsiteX8" fmla="*/ 644551 w 1537506"/>
                <a:gd name="connsiteY8" fmla="*/ 768858 h 3663904"/>
                <a:gd name="connsiteX9" fmla="*/ 1537506 w 1537506"/>
                <a:gd name="connsiteY9" fmla="*/ 768858 h 3663904"/>
                <a:gd name="connsiteX10" fmla="*/ 1537506 w 1537506"/>
                <a:gd name="connsiteY10" fmla="*/ 985138 h 3663904"/>
                <a:gd name="connsiteX11" fmla="*/ 644551 w 1537506"/>
                <a:gd name="connsiteY11" fmla="*/ 985138 h 3663904"/>
                <a:gd name="connsiteX12" fmla="*/ 404774 w 1537506"/>
                <a:gd name="connsiteY12" fmla="*/ 1224915 h 3663904"/>
                <a:gd name="connsiteX13" fmla="*/ 404773 w 1537506"/>
                <a:gd name="connsiteY13" fmla="*/ 3654243 h 3663904"/>
                <a:gd name="connsiteX14" fmla="*/ 342736 w 1537506"/>
                <a:gd name="connsiteY14" fmla="*/ 3616862 h 3663904"/>
                <a:gd name="connsiteX15" fmla="*/ 274144 w 1537506"/>
                <a:gd name="connsiteY15" fmla="*/ 3663904 h 3663904"/>
                <a:gd name="connsiteX16" fmla="*/ 270790 w 1537506"/>
                <a:gd name="connsiteY16" fmla="*/ 2747775 h 3663904"/>
                <a:gd name="connsiteX17" fmla="*/ 166722 w 1537506"/>
                <a:gd name="connsiteY17" fmla="*/ 2572462 h 3663904"/>
                <a:gd name="connsiteX0" fmla="*/ 166722 w 1537506"/>
                <a:gd name="connsiteY0" fmla="*/ 2572462 h 3663904"/>
                <a:gd name="connsiteX1" fmla="*/ 169571 w 1537506"/>
                <a:gd name="connsiteY1" fmla="*/ 1759582 h 3663904"/>
                <a:gd name="connsiteX2" fmla="*/ 0 w 1537506"/>
                <a:gd name="connsiteY2" fmla="*/ 1645872 h 3663904"/>
                <a:gd name="connsiteX3" fmla="*/ 5614 w 1537506"/>
                <a:gd name="connsiteY3" fmla="*/ 6680 h 3663904"/>
                <a:gd name="connsiteX4" fmla="*/ 196114 w 1537506"/>
                <a:gd name="connsiteY4" fmla="*/ 38100 h 3663904"/>
                <a:gd name="connsiteX5" fmla="*/ 310414 w 1537506"/>
                <a:gd name="connsiteY5" fmla="*/ 0 h 3663904"/>
                <a:gd name="connsiteX6" fmla="*/ 473380 w 1537506"/>
                <a:gd name="connsiteY6" fmla="*/ 12862 h 3663904"/>
                <a:gd name="connsiteX7" fmla="*/ 471456 w 1537506"/>
                <a:gd name="connsiteY7" fmla="*/ 603216 h 3663904"/>
                <a:gd name="connsiteX8" fmla="*/ 644551 w 1537506"/>
                <a:gd name="connsiteY8" fmla="*/ 768858 h 3663904"/>
                <a:gd name="connsiteX9" fmla="*/ 1537506 w 1537506"/>
                <a:gd name="connsiteY9" fmla="*/ 768858 h 3663904"/>
                <a:gd name="connsiteX10" fmla="*/ 1537506 w 1537506"/>
                <a:gd name="connsiteY10" fmla="*/ 985138 h 3663904"/>
                <a:gd name="connsiteX11" fmla="*/ 644551 w 1537506"/>
                <a:gd name="connsiteY11" fmla="*/ 985138 h 3663904"/>
                <a:gd name="connsiteX12" fmla="*/ 404774 w 1537506"/>
                <a:gd name="connsiteY12" fmla="*/ 1224915 h 3663904"/>
                <a:gd name="connsiteX13" fmla="*/ 404773 w 1537506"/>
                <a:gd name="connsiteY13" fmla="*/ 3654243 h 3663904"/>
                <a:gd name="connsiteX14" fmla="*/ 342736 w 1537506"/>
                <a:gd name="connsiteY14" fmla="*/ 3616862 h 3663904"/>
                <a:gd name="connsiteX15" fmla="*/ 274144 w 1537506"/>
                <a:gd name="connsiteY15" fmla="*/ 3663904 h 3663904"/>
                <a:gd name="connsiteX16" fmla="*/ 270790 w 1537506"/>
                <a:gd name="connsiteY16" fmla="*/ 2747775 h 3663904"/>
                <a:gd name="connsiteX17" fmla="*/ 166722 w 1537506"/>
                <a:gd name="connsiteY17" fmla="*/ 2572462 h 3663904"/>
                <a:gd name="connsiteX0" fmla="*/ 166722 w 1537506"/>
                <a:gd name="connsiteY0" fmla="*/ 2572462 h 3663904"/>
                <a:gd name="connsiteX1" fmla="*/ 169571 w 1537506"/>
                <a:gd name="connsiteY1" fmla="*/ 1759582 h 3663904"/>
                <a:gd name="connsiteX2" fmla="*/ 0 w 1537506"/>
                <a:gd name="connsiteY2" fmla="*/ 1464186 h 3663904"/>
                <a:gd name="connsiteX3" fmla="*/ 5614 w 1537506"/>
                <a:gd name="connsiteY3" fmla="*/ 6680 h 3663904"/>
                <a:gd name="connsiteX4" fmla="*/ 196114 w 1537506"/>
                <a:gd name="connsiteY4" fmla="*/ 38100 h 3663904"/>
                <a:gd name="connsiteX5" fmla="*/ 310414 w 1537506"/>
                <a:gd name="connsiteY5" fmla="*/ 0 h 3663904"/>
                <a:gd name="connsiteX6" fmla="*/ 473380 w 1537506"/>
                <a:gd name="connsiteY6" fmla="*/ 12862 h 3663904"/>
                <a:gd name="connsiteX7" fmla="*/ 471456 w 1537506"/>
                <a:gd name="connsiteY7" fmla="*/ 603216 h 3663904"/>
                <a:gd name="connsiteX8" fmla="*/ 644551 w 1537506"/>
                <a:gd name="connsiteY8" fmla="*/ 768858 h 3663904"/>
                <a:gd name="connsiteX9" fmla="*/ 1537506 w 1537506"/>
                <a:gd name="connsiteY9" fmla="*/ 768858 h 3663904"/>
                <a:gd name="connsiteX10" fmla="*/ 1537506 w 1537506"/>
                <a:gd name="connsiteY10" fmla="*/ 985138 h 3663904"/>
                <a:gd name="connsiteX11" fmla="*/ 644551 w 1537506"/>
                <a:gd name="connsiteY11" fmla="*/ 985138 h 3663904"/>
                <a:gd name="connsiteX12" fmla="*/ 404774 w 1537506"/>
                <a:gd name="connsiteY12" fmla="*/ 1224915 h 3663904"/>
                <a:gd name="connsiteX13" fmla="*/ 404773 w 1537506"/>
                <a:gd name="connsiteY13" fmla="*/ 3654243 h 3663904"/>
                <a:gd name="connsiteX14" fmla="*/ 342736 w 1537506"/>
                <a:gd name="connsiteY14" fmla="*/ 3616862 h 3663904"/>
                <a:gd name="connsiteX15" fmla="*/ 274144 w 1537506"/>
                <a:gd name="connsiteY15" fmla="*/ 3663904 h 3663904"/>
                <a:gd name="connsiteX16" fmla="*/ 270790 w 1537506"/>
                <a:gd name="connsiteY16" fmla="*/ 2747775 h 3663904"/>
                <a:gd name="connsiteX17" fmla="*/ 166722 w 1537506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44551 w 1605638"/>
                <a:gd name="connsiteY8" fmla="*/ 768858 h 3663904"/>
                <a:gd name="connsiteX9" fmla="*/ 1537506 w 1605638"/>
                <a:gd name="connsiteY9" fmla="*/ 768858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44551 w 1605638"/>
                <a:gd name="connsiteY8" fmla="*/ 768858 h 3663904"/>
                <a:gd name="connsiteX9" fmla="*/ 1594283 w 1605638"/>
                <a:gd name="connsiteY9" fmla="*/ 785891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50229 w 1605638"/>
                <a:gd name="connsiteY8" fmla="*/ 797246 h 3663904"/>
                <a:gd name="connsiteX9" fmla="*/ 1594283 w 1605638"/>
                <a:gd name="connsiteY9" fmla="*/ 785891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16994"/>
                <a:gd name="connsiteY0" fmla="*/ 2572462 h 3663904"/>
                <a:gd name="connsiteX1" fmla="*/ 169571 w 1616994"/>
                <a:gd name="connsiteY1" fmla="*/ 1759582 h 3663904"/>
                <a:gd name="connsiteX2" fmla="*/ 0 w 1616994"/>
                <a:gd name="connsiteY2" fmla="*/ 1464186 h 3663904"/>
                <a:gd name="connsiteX3" fmla="*/ 5614 w 1616994"/>
                <a:gd name="connsiteY3" fmla="*/ 6680 h 3663904"/>
                <a:gd name="connsiteX4" fmla="*/ 196114 w 1616994"/>
                <a:gd name="connsiteY4" fmla="*/ 38100 h 3663904"/>
                <a:gd name="connsiteX5" fmla="*/ 310414 w 1616994"/>
                <a:gd name="connsiteY5" fmla="*/ 0 h 3663904"/>
                <a:gd name="connsiteX6" fmla="*/ 473380 w 1616994"/>
                <a:gd name="connsiteY6" fmla="*/ 12862 h 3663904"/>
                <a:gd name="connsiteX7" fmla="*/ 471456 w 1616994"/>
                <a:gd name="connsiteY7" fmla="*/ 603216 h 3663904"/>
                <a:gd name="connsiteX8" fmla="*/ 650229 w 1616994"/>
                <a:gd name="connsiteY8" fmla="*/ 797246 h 3663904"/>
                <a:gd name="connsiteX9" fmla="*/ 1616994 w 1616994"/>
                <a:gd name="connsiteY9" fmla="*/ 808602 h 3663904"/>
                <a:gd name="connsiteX10" fmla="*/ 1605638 w 1616994"/>
                <a:gd name="connsiteY10" fmla="*/ 985138 h 3663904"/>
                <a:gd name="connsiteX11" fmla="*/ 644551 w 1616994"/>
                <a:gd name="connsiteY11" fmla="*/ 985138 h 3663904"/>
                <a:gd name="connsiteX12" fmla="*/ 404774 w 1616994"/>
                <a:gd name="connsiteY12" fmla="*/ 1224915 h 3663904"/>
                <a:gd name="connsiteX13" fmla="*/ 404773 w 1616994"/>
                <a:gd name="connsiteY13" fmla="*/ 3654243 h 3663904"/>
                <a:gd name="connsiteX14" fmla="*/ 342736 w 1616994"/>
                <a:gd name="connsiteY14" fmla="*/ 3616862 h 3663904"/>
                <a:gd name="connsiteX15" fmla="*/ 274144 w 1616994"/>
                <a:gd name="connsiteY15" fmla="*/ 3663904 h 3663904"/>
                <a:gd name="connsiteX16" fmla="*/ 270790 w 1616994"/>
                <a:gd name="connsiteY16" fmla="*/ 2747775 h 3663904"/>
                <a:gd name="connsiteX17" fmla="*/ 166722 w 1616994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50229 w 1605638"/>
                <a:gd name="connsiteY8" fmla="*/ 797246 h 3663904"/>
                <a:gd name="connsiteX9" fmla="*/ 1599961 w 1605638"/>
                <a:gd name="connsiteY9" fmla="*/ 814279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09320"/>
                <a:gd name="connsiteY0" fmla="*/ 2572462 h 3663904"/>
                <a:gd name="connsiteX1" fmla="*/ 169571 w 1609320"/>
                <a:gd name="connsiteY1" fmla="*/ 1759582 h 3663904"/>
                <a:gd name="connsiteX2" fmla="*/ 0 w 1609320"/>
                <a:gd name="connsiteY2" fmla="*/ 1464186 h 3663904"/>
                <a:gd name="connsiteX3" fmla="*/ 5614 w 1609320"/>
                <a:gd name="connsiteY3" fmla="*/ 6680 h 3663904"/>
                <a:gd name="connsiteX4" fmla="*/ 196114 w 1609320"/>
                <a:gd name="connsiteY4" fmla="*/ 38100 h 3663904"/>
                <a:gd name="connsiteX5" fmla="*/ 310414 w 1609320"/>
                <a:gd name="connsiteY5" fmla="*/ 0 h 3663904"/>
                <a:gd name="connsiteX6" fmla="*/ 473380 w 1609320"/>
                <a:gd name="connsiteY6" fmla="*/ 12862 h 3663904"/>
                <a:gd name="connsiteX7" fmla="*/ 471456 w 1609320"/>
                <a:gd name="connsiteY7" fmla="*/ 603216 h 3663904"/>
                <a:gd name="connsiteX8" fmla="*/ 650229 w 1609320"/>
                <a:gd name="connsiteY8" fmla="*/ 797246 h 3663904"/>
                <a:gd name="connsiteX9" fmla="*/ 1609320 w 1609320"/>
                <a:gd name="connsiteY9" fmla="*/ 808040 h 3663904"/>
                <a:gd name="connsiteX10" fmla="*/ 1605638 w 1609320"/>
                <a:gd name="connsiteY10" fmla="*/ 985138 h 3663904"/>
                <a:gd name="connsiteX11" fmla="*/ 644551 w 1609320"/>
                <a:gd name="connsiteY11" fmla="*/ 985138 h 3663904"/>
                <a:gd name="connsiteX12" fmla="*/ 404774 w 1609320"/>
                <a:gd name="connsiteY12" fmla="*/ 1224915 h 3663904"/>
                <a:gd name="connsiteX13" fmla="*/ 404773 w 1609320"/>
                <a:gd name="connsiteY13" fmla="*/ 3654243 h 3663904"/>
                <a:gd name="connsiteX14" fmla="*/ 342736 w 1609320"/>
                <a:gd name="connsiteY14" fmla="*/ 3616862 h 3663904"/>
                <a:gd name="connsiteX15" fmla="*/ 274144 w 1609320"/>
                <a:gd name="connsiteY15" fmla="*/ 3663904 h 3663904"/>
                <a:gd name="connsiteX16" fmla="*/ 270790 w 1609320"/>
                <a:gd name="connsiteY16" fmla="*/ 2747775 h 3663904"/>
                <a:gd name="connsiteX17" fmla="*/ 166722 w 1609320"/>
                <a:gd name="connsiteY17" fmla="*/ 2572462 h 3663904"/>
                <a:gd name="connsiteX0" fmla="*/ 166722 w 1606200"/>
                <a:gd name="connsiteY0" fmla="*/ 2572462 h 3663904"/>
                <a:gd name="connsiteX1" fmla="*/ 169571 w 1606200"/>
                <a:gd name="connsiteY1" fmla="*/ 1759582 h 3663904"/>
                <a:gd name="connsiteX2" fmla="*/ 0 w 1606200"/>
                <a:gd name="connsiteY2" fmla="*/ 1464186 h 3663904"/>
                <a:gd name="connsiteX3" fmla="*/ 5614 w 1606200"/>
                <a:gd name="connsiteY3" fmla="*/ 6680 h 3663904"/>
                <a:gd name="connsiteX4" fmla="*/ 196114 w 1606200"/>
                <a:gd name="connsiteY4" fmla="*/ 38100 h 3663904"/>
                <a:gd name="connsiteX5" fmla="*/ 310414 w 1606200"/>
                <a:gd name="connsiteY5" fmla="*/ 0 h 3663904"/>
                <a:gd name="connsiteX6" fmla="*/ 473380 w 1606200"/>
                <a:gd name="connsiteY6" fmla="*/ 12862 h 3663904"/>
                <a:gd name="connsiteX7" fmla="*/ 471456 w 1606200"/>
                <a:gd name="connsiteY7" fmla="*/ 603216 h 3663904"/>
                <a:gd name="connsiteX8" fmla="*/ 650229 w 1606200"/>
                <a:gd name="connsiteY8" fmla="*/ 797246 h 3663904"/>
                <a:gd name="connsiteX9" fmla="*/ 1606200 w 1606200"/>
                <a:gd name="connsiteY9" fmla="*/ 808040 h 3663904"/>
                <a:gd name="connsiteX10" fmla="*/ 1605638 w 1606200"/>
                <a:gd name="connsiteY10" fmla="*/ 985138 h 3663904"/>
                <a:gd name="connsiteX11" fmla="*/ 644551 w 1606200"/>
                <a:gd name="connsiteY11" fmla="*/ 985138 h 3663904"/>
                <a:gd name="connsiteX12" fmla="*/ 404774 w 1606200"/>
                <a:gd name="connsiteY12" fmla="*/ 1224915 h 3663904"/>
                <a:gd name="connsiteX13" fmla="*/ 404773 w 1606200"/>
                <a:gd name="connsiteY13" fmla="*/ 3654243 h 3663904"/>
                <a:gd name="connsiteX14" fmla="*/ 342736 w 1606200"/>
                <a:gd name="connsiteY14" fmla="*/ 3616862 h 3663904"/>
                <a:gd name="connsiteX15" fmla="*/ 274144 w 1606200"/>
                <a:gd name="connsiteY15" fmla="*/ 3663904 h 3663904"/>
                <a:gd name="connsiteX16" fmla="*/ 270790 w 1606200"/>
                <a:gd name="connsiteY16" fmla="*/ 2747775 h 3663904"/>
                <a:gd name="connsiteX17" fmla="*/ 166722 w 1606200"/>
                <a:gd name="connsiteY17" fmla="*/ 2572462 h 366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06200" h="3663904">
                  <a:moveTo>
                    <a:pt x="166722" y="2572462"/>
                  </a:moveTo>
                  <a:cubicBezTo>
                    <a:pt x="166298" y="2348593"/>
                    <a:pt x="169995" y="1983451"/>
                    <a:pt x="169571" y="1759582"/>
                  </a:cubicBezTo>
                  <a:cubicBezTo>
                    <a:pt x="169342" y="1613531"/>
                    <a:pt x="82320" y="1505253"/>
                    <a:pt x="0" y="1464186"/>
                  </a:cubicBezTo>
                  <a:cubicBezTo>
                    <a:pt x="1871" y="917789"/>
                    <a:pt x="3743" y="553077"/>
                    <a:pt x="5614" y="6680"/>
                  </a:cubicBezTo>
                  <a:cubicBezTo>
                    <a:pt x="69114" y="8263"/>
                    <a:pt x="132614" y="36517"/>
                    <a:pt x="196114" y="38100"/>
                  </a:cubicBezTo>
                  <a:cubicBezTo>
                    <a:pt x="239294" y="35560"/>
                    <a:pt x="267234" y="2540"/>
                    <a:pt x="310414" y="0"/>
                  </a:cubicBezTo>
                  <a:lnTo>
                    <a:pt x="473380" y="12862"/>
                  </a:lnTo>
                  <a:cubicBezTo>
                    <a:pt x="471524" y="199487"/>
                    <a:pt x="473312" y="416591"/>
                    <a:pt x="471456" y="603216"/>
                  </a:cubicBezTo>
                  <a:cubicBezTo>
                    <a:pt x="474953" y="697558"/>
                    <a:pt x="543499" y="794533"/>
                    <a:pt x="650229" y="797246"/>
                  </a:cubicBezTo>
                  <a:lnTo>
                    <a:pt x="1606200" y="808040"/>
                  </a:lnTo>
                  <a:cubicBezTo>
                    <a:pt x="1604973" y="867073"/>
                    <a:pt x="1606865" y="926105"/>
                    <a:pt x="1605638" y="985138"/>
                  </a:cubicBezTo>
                  <a:lnTo>
                    <a:pt x="644551" y="985138"/>
                  </a:lnTo>
                  <a:cubicBezTo>
                    <a:pt x="512126" y="985138"/>
                    <a:pt x="404774" y="1092490"/>
                    <a:pt x="404774" y="1224915"/>
                  </a:cubicBezTo>
                  <a:cubicBezTo>
                    <a:pt x="406449" y="2043064"/>
                    <a:pt x="403098" y="2836094"/>
                    <a:pt x="404773" y="3654243"/>
                  </a:cubicBezTo>
                  <a:cubicBezTo>
                    <a:pt x="379070" y="3655181"/>
                    <a:pt x="368439" y="3615924"/>
                    <a:pt x="342736" y="3616862"/>
                  </a:cubicBezTo>
                  <a:lnTo>
                    <a:pt x="274144" y="3663904"/>
                  </a:lnTo>
                  <a:cubicBezTo>
                    <a:pt x="275380" y="3353820"/>
                    <a:pt x="269554" y="3057859"/>
                    <a:pt x="270790" y="2747775"/>
                  </a:cubicBezTo>
                  <a:cubicBezTo>
                    <a:pt x="269249" y="2650215"/>
                    <a:pt x="238874" y="2602942"/>
                    <a:pt x="166722" y="2572462"/>
                  </a:cubicBezTo>
                  <a:close/>
                </a:path>
              </a:pathLst>
            </a:custGeom>
            <a:pattFill prst="dkDnDiag">
              <a:fgClr>
                <a:schemeClr val="tx2">
                  <a:lumMod val="60000"/>
                  <a:lumOff val="40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sp>
          <p:nvSpPr>
            <p:cNvPr id="109" name="Rettangolo 6"/>
            <p:cNvSpPr/>
            <p:nvPr/>
          </p:nvSpPr>
          <p:spPr>
            <a:xfrm>
              <a:off x="-5836133" y="-2819881"/>
              <a:ext cx="242889" cy="3221316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3751" h="3895880">
                  <a:moveTo>
                    <a:pt x="0" y="155"/>
                  </a:moveTo>
                  <a:cubicBezTo>
                    <a:pt x="42672" y="-2893"/>
                    <a:pt x="112776" y="39779"/>
                    <a:pt x="155448" y="36731"/>
                  </a:cubicBezTo>
                  <a:lnTo>
                    <a:pt x="265176" y="155"/>
                  </a:lnTo>
                  <a:cubicBezTo>
                    <a:pt x="284519" y="34413"/>
                    <a:pt x="272833" y="-24291"/>
                    <a:pt x="276269" y="242282"/>
                  </a:cubicBezTo>
                  <a:cubicBezTo>
                    <a:pt x="278912" y="437418"/>
                    <a:pt x="265156" y="954275"/>
                    <a:pt x="271506" y="1180494"/>
                  </a:cubicBezTo>
                  <a:cubicBezTo>
                    <a:pt x="277856" y="1406713"/>
                    <a:pt x="290556" y="1456719"/>
                    <a:pt x="285794" y="1599594"/>
                  </a:cubicBezTo>
                  <a:cubicBezTo>
                    <a:pt x="281032" y="1742469"/>
                    <a:pt x="255633" y="1921063"/>
                    <a:pt x="252458" y="2028219"/>
                  </a:cubicBezTo>
                  <a:cubicBezTo>
                    <a:pt x="250338" y="2401948"/>
                    <a:pt x="252457" y="2104420"/>
                    <a:pt x="257219" y="2252057"/>
                  </a:cubicBezTo>
                  <a:cubicBezTo>
                    <a:pt x="261981" y="2399694"/>
                    <a:pt x="281033" y="2755294"/>
                    <a:pt x="281033" y="2914044"/>
                  </a:cubicBezTo>
                  <a:cubicBezTo>
                    <a:pt x="286589" y="3122800"/>
                    <a:pt x="266744" y="3105338"/>
                    <a:pt x="266744" y="3195032"/>
                  </a:cubicBezTo>
                  <a:cubicBezTo>
                    <a:pt x="266744" y="3284726"/>
                    <a:pt x="268333" y="3369657"/>
                    <a:pt x="261983" y="3433157"/>
                  </a:cubicBezTo>
                  <a:cubicBezTo>
                    <a:pt x="255633" y="3496657"/>
                    <a:pt x="263832" y="3594162"/>
                    <a:pt x="266745" y="3661757"/>
                  </a:cubicBezTo>
                  <a:lnTo>
                    <a:pt x="293751" y="3895880"/>
                  </a:lnTo>
                  <a:lnTo>
                    <a:pt x="0" y="3886355"/>
                  </a:lnTo>
                  <a:lnTo>
                    <a:pt x="0" y="155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grpSp>
          <p:nvGrpSpPr>
            <p:cNvPr id="110" name="Gruppo 109"/>
            <p:cNvGrpSpPr/>
            <p:nvPr/>
          </p:nvGrpSpPr>
          <p:grpSpPr>
            <a:xfrm>
              <a:off x="-4877433" y="30145"/>
              <a:ext cx="399255" cy="1013103"/>
              <a:chOff x="5302597" y="4114197"/>
              <a:chExt cx="482861" cy="1225253"/>
            </a:xfrm>
          </p:grpSpPr>
          <p:grpSp>
            <p:nvGrpSpPr>
              <p:cNvPr id="146" name="Gruppo 145"/>
              <p:cNvGrpSpPr/>
              <p:nvPr/>
            </p:nvGrpSpPr>
            <p:grpSpPr>
              <a:xfrm>
                <a:off x="5304879" y="4206754"/>
                <a:ext cx="480579" cy="1083192"/>
                <a:chOff x="5286591" y="4178418"/>
                <a:chExt cx="480579" cy="1083192"/>
              </a:xfrm>
            </p:grpSpPr>
            <p:sp>
              <p:nvSpPr>
                <p:cNvPr id="152" name="Rectangle 325"/>
                <p:cNvSpPr>
                  <a:spLocks noChangeArrowheads="1"/>
                </p:cNvSpPr>
                <p:nvPr/>
              </p:nvSpPr>
              <p:spPr bwMode="auto">
                <a:xfrm rot="5400000">
                  <a:off x="5006367" y="4573813"/>
                  <a:ext cx="1039711" cy="248921"/>
                </a:xfrm>
                <a:prstGeom prst="rect">
                  <a:avLst/>
                </a:prstGeom>
                <a:gradFill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53" name="Ritaglia angolo stesso lato rettangolo 152"/>
                <p:cNvSpPr/>
                <p:nvPr/>
              </p:nvSpPr>
              <p:spPr>
                <a:xfrm rot="10800000">
                  <a:off x="5286591" y="5183030"/>
                  <a:ext cx="480579" cy="78580"/>
                </a:xfrm>
                <a:prstGeom prst="snip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0" scaled="1"/>
                  <a:tileRect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158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147" name="Group 327"/>
              <p:cNvGrpSpPr>
                <a:grpSpLocks/>
              </p:cNvGrpSpPr>
              <p:nvPr/>
            </p:nvGrpSpPr>
            <p:grpSpPr bwMode="auto">
              <a:xfrm rot="5400000" flipV="1">
                <a:off x="5395906" y="4212213"/>
                <a:ext cx="286334" cy="472951"/>
                <a:chOff x="963" y="1985"/>
                <a:chExt cx="250" cy="318"/>
              </a:xfrm>
            </p:grpSpPr>
            <p:sp>
              <p:nvSpPr>
                <p:cNvPr id="149" name="AutoShape 328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974" y="2117"/>
                  <a:ext cx="314" cy="53"/>
                </a:xfrm>
                <a:custGeom>
                  <a:avLst/>
                  <a:gdLst>
                    <a:gd name="T0" fmla="*/ 4 w 21600"/>
                    <a:gd name="T1" fmla="*/ 0 h 21600"/>
                    <a:gd name="T2" fmla="*/ 2 w 21600"/>
                    <a:gd name="T3" fmla="*/ 0 h 21600"/>
                    <a:gd name="T4" fmla="*/ 0 w 21600"/>
                    <a:gd name="T5" fmla="*/ 0 h 21600"/>
                    <a:gd name="T6" fmla="*/ 2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820 w 21600"/>
                    <a:gd name="T13" fmla="*/ 2853 h 21600"/>
                    <a:gd name="T14" fmla="*/ 18780 w 21600"/>
                    <a:gd name="T15" fmla="*/ 1874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076" y="21600"/>
                      </a:lnTo>
                      <a:lnTo>
                        <a:pt x="19524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50" name="Rectangle 329"/>
                <p:cNvSpPr>
                  <a:spLocks noChangeArrowheads="1"/>
                </p:cNvSpPr>
                <p:nvPr/>
              </p:nvSpPr>
              <p:spPr bwMode="auto">
                <a:xfrm flipH="1">
                  <a:off x="963" y="2017"/>
                  <a:ext cx="141" cy="256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51" name="Rectangle 330"/>
                <p:cNvSpPr>
                  <a:spLocks noChangeArrowheads="1"/>
                </p:cNvSpPr>
                <p:nvPr/>
              </p:nvSpPr>
              <p:spPr bwMode="auto">
                <a:xfrm flipH="1">
                  <a:off x="1158" y="1985"/>
                  <a:ext cx="55" cy="318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</p:grpSp>
          <p:cxnSp>
            <p:nvCxnSpPr>
              <p:cNvPr id="148" name="Connettore 1 147"/>
              <p:cNvCxnSpPr/>
              <p:nvPr/>
            </p:nvCxnSpPr>
            <p:spPr>
              <a:xfrm flipH="1" flipV="1">
                <a:off x="5537965" y="4114197"/>
                <a:ext cx="5436" cy="1225253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lg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11" name="Gruppo 110"/>
            <p:cNvGrpSpPr/>
            <p:nvPr/>
          </p:nvGrpSpPr>
          <p:grpSpPr>
            <a:xfrm rot="5400000">
              <a:off x="-5879438" y="-2683502"/>
              <a:ext cx="437105" cy="984679"/>
              <a:chOff x="5328295" y="4458326"/>
              <a:chExt cx="397173" cy="894724"/>
            </a:xfrm>
          </p:grpSpPr>
          <p:sp>
            <p:nvSpPr>
              <p:cNvPr id="144" name="Rectangle 325"/>
              <p:cNvSpPr>
                <a:spLocks noChangeArrowheads="1"/>
              </p:cNvSpPr>
              <p:nvPr/>
            </p:nvSpPr>
            <p:spPr bwMode="auto">
              <a:xfrm rot="5400000">
                <a:off x="5115906" y="4744182"/>
                <a:ext cx="820634" cy="248921"/>
              </a:xfrm>
              <a:prstGeom prst="rect">
                <a:avLst/>
              </a:prstGeom>
              <a:gradFill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45" name="Ritaglia angolo stesso lato rettangolo 144"/>
              <p:cNvSpPr/>
              <p:nvPr/>
            </p:nvSpPr>
            <p:spPr>
              <a:xfrm rot="10800000">
                <a:off x="5328295" y="5274470"/>
                <a:ext cx="397173" cy="78580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0" scaled="1"/>
                <a:tileRect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27" name="Group 327"/>
            <p:cNvGrpSpPr>
              <a:grpSpLocks/>
            </p:cNvGrpSpPr>
            <p:nvPr/>
          </p:nvGrpSpPr>
          <p:grpSpPr bwMode="auto">
            <a:xfrm rot="10800000" flipV="1">
              <a:off x="-5607666" y="-2425660"/>
              <a:ext cx="315122" cy="473183"/>
              <a:chOff x="963" y="1985"/>
              <a:chExt cx="250" cy="318"/>
            </a:xfrm>
          </p:grpSpPr>
          <p:sp>
            <p:nvSpPr>
              <p:cNvPr id="141" name="AutoShape 328"/>
              <p:cNvSpPr>
                <a:spLocks noChangeArrowheads="1"/>
              </p:cNvSpPr>
              <p:nvPr/>
            </p:nvSpPr>
            <p:spPr bwMode="auto">
              <a:xfrm rot="5400000" flipH="1">
                <a:off x="974" y="2117"/>
                <a:ext cx="314" cy="53"/>
              </a:xfrm>
              <a:custGeom>
                <a:avLst/>
                <a:gdLst>
                  <a:gd name="T0" fmla="*/ 4 w 21600"/>
                  <a:gd name="T1" fmla="*/ 0 h 21600"/>
                  <a:gd name="T2" fmla="*/ 2 w 21600"/>
                  <a:gd name="T3" fmla="*/ 0 h 21600"/>
                  <a:gd name="T4" fmla="*/ 0 w 21600"/>
                  <a:gd name="T5" fmla="*/ 0 h 21600"/>
                  <a:gd name="T6" fmla="*/ 2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20 w 21600"/>
                  <a:gd name="T13" fmla="*/ 2853 h 21600"/>
                  <a:gd name="T14" fmla="*/ 18780 w 21600"/>
                  <a:gd name="T15" fmla="*/ 1874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2076" y="21600"/>
                    </a:lnTo>
                    <a:lnTo>
                      <a:pt x="19524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42" name="Rectangle 329"/>
              <p:cNvSpPr>
                <a:spLocks noChangeArrowheads="1"/>
              </p:cNvSpPr>
              <p:nvPr/>
            </p:nvSpPr>
            <p:spPr bwMode="auto">
              <a:xfrm flipH="1">
                <a:off x="963" y="2017"/>
                <a:ext cx="141" cy="256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43" name="Rectangle 330"/>
              <p:cNvSpPr>
                <a:spLocks noChangeArrowheads="1"/>
              </p:cNvSpPr>
              <p:nvPr/>
            </p:nvSpPr>
            <p:spPr bwMode="auto">
              <a:xfrm flipH="1">
                <a:off x="1158" y="1985"/>
                <a:ext cx="55" cy="318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28" name="Gruppo 127"/>
            <p:cNvGrpSpPr/>
            <p:nvPr/>
          </p:nvGrpSpPr>
          <p:grpSpPr>
            <a:xfrm>
              <a:off x="-6754387" y="-943757"/>
              <a:ext cx="1681263" cy="482461"/>
              <a:chOff x="3056412" y="2936354"/>
              <a:chExt cx="2033330" cy="583491"/>
            </a:xfrm>
          </p:grpSpPr>
          <p:grpSp>
            <p:nvGrpSpPr>
              <p:cNvPr id="132" name="Gruppo 131"/>
              <p:cNvGrpSpPr/>
              <p:nvPr/>
            </p:nvGrpSpPr>
            <p:grpSpPr>
              <a:xfrm rot="16200000">
                <a:off x="3790890" y="2380312"/>
                <a:ext cx="581501" cy="1697566"/>
                <a:chOff x="5308435" y="4079383"/>
                <a:chExt cx="436890" cy="1275407"/>
              </a:xfrm>
            </p:grpSpPr>
            <p:sp>
              <p:nvSpPr>
                <p:cNvPr id="139" name="Rectangle 325"/>
                <p:cNvSpPr>
                  <a:spLocks noChangeArrowheads="1"/>
                </p:cNvSpPr>
                <p:nvPr/>
              </p:nvSpPr>
              <p:spPr bwMode="auto">
                <a:xfrm rot="5400000">
                  <a:off x="4894953" y="4586191"/>
                  <a:ext cx="1262538" cy="248921"/>
                </a:xfrm>
                <a:prstGeom prst="rect">
                  <a:avLst/>
                </a:prstGeom>
                <a:gradFill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40" name="Ritaglia angolo stesso lato rettangolo 139"/>
                <p:cNvSpPr/>
                <p:nvPr/>
              </p:nvSpPr>
              <p:spPr>
                <a:xfrm rot="10800000">
                  <a:off x="5308435" y="5276210"/>
                  <a:ext cx="436890" cy="78580"/>
                </a:xfrm>
                <a:prstGeom prst="snip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0" scaled="1"/>
                  <a:tileRect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158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133" name="Group 327"/>
              <p:cNvGrpSpPr>
                <a:grpSpLocks/>
              </p:cNvGrpSpPr>
              <p:nvPr/>
            </p:nvGrpSpPr>
            <p:grpSpPr bwMode="auto">
              <a:xfrm flipV="1">
                <a:off x="3336834" y="2936354"/>
                <a:ext cx="390256" cy="572271"/>
                <a:chOff x="957" y="1985"/>
                <a:chExt cx="256" cy="318"/>
              </a:xfrm>
            </p:grpSpPr>
            <p:sp>
              <p:nvSpPr>
                <p:cNvPr id="136" name="AutoShape 328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974" y="2117"/>
                  <a:ext cx="314" cy="53"/>
                </a:xfrm>
                <a:custGeom>
                  <a:avLst/>
                  <a:gdLst>
                    <a:gd name="T0" fmla="*/ 4 w 21600"/>
                    <a:gd name="T1" fmla="*/ 0 h 21600"/>
                    <a:gd name="T2" fmla="*/ 2 w 21600"/>
                    <a:gd name="T3" fmla="*/ 0 h 21600"/>
                    <a:gd name="T4" fmla="*/ 0 w 21600"/>
                    <a:gd name="T5" fmla="*/ 0 h 21600"/>
                    <a:gd name="T6" fmla="*/ 2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820 w 21600"/>
                    <a:gd name="T13" fmla="*/ 2853 h 21600"/>
                    <a:gd name="T14" fmla="*/ 18780 w 21600"/>
                    <a:gd name="T15" fmla="*/ 1874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076" y="21600"/>
                      </a:lnTo>
                      <a:lnTo>
                        <a:pt x="19524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37" name="Rectangle 329"/>
                <p:cNvSpPr>
                  <a:spLocks noChangeArrowheads="1"/>
                </p:cNvSpPr>
                <p:nvPr/>
              </p:nvSpPr>
              <p:spPr bwMode="auto">
                <a:xfrm flipH="1">
                  <a:off x="957" y="2017"/>
                  <a:ext cx="153" cy="256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38" name="Rectangle 330"/>
                <p:cNvSpPr>
                  <a:spLocks noChangeArrowheads="1"/>
                </p:cNvSpPr>
                <p:nvPr/>
              </p:nvSpPr>
              <p:spPr bwMode="auto">
                <a:xfrm flipH="1">
                  <a:off x="1158" y="1985"/>
                  <a:ext cx="55" cy="318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</p:grpSp>
          <p:cxnSp>
            <p:nvCxnSpPr>
              <p:cNvPr id="135" name="Connettore 1 134"/>
              <p:cNvCxnSpPr>
                <a:stCxn id="139" idx="1"/>
                <a:endCxn id="139" idx="3"/>
              </p:cNvCxnSpPr>
              <p:nvPr/>
            </p:nvCxnSpPr>
            <p:spPr>
              <a:xfrm>
                <a:off x="3056412" y="3229966"/>
                <a:ext cx="203333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lg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129" name="Connettore 1 128"/>
            <p:cNvCxnSpPr/>
            <p:nvPr/>
          </p:nvCxnSpPr>
          <p:spPr>
            <a:xfrm flipH="1">
              <a:off x="-6292039" y="-2192212"/>
              <a:ext cx="121872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lg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55" name="AutoShape 310"/>
            <p:cNvSpPr>
              <a:spLocks/>
            </p:cNvSpPr>
            <p:nvPr/>
          </p:nvSpPr>
          <p:spPr bwMode="auto">
            <a:xfrm>
              <a:off x="-4778934" y="-1725641"/>
              <a:ext cx="607734" cy="255198"/>
            </a:xfrm>
            <a:prstGeom prst="callout2">
              <a:avLst>
                <a:gd name="adj1" fmla="val 41170"/>
                <a:gd name="adj2" fmla="val -2461"/>
                <a:gd name="adj3" fmla="val 41170"/>
                <a:gd name="adj4" fmla="val -9871"/>
                <a:gd name="adj5" fmla="val 262853"/>
                <a:gd name="adj6" fmla="val -110488"/>
              </a:avLst>
            </a:prstGeom>
            <a:noFill/>
            <a:ln w="6350">
              <a:solidFill>
                <a:schemeClr val="tx1"/>
              </a:solidFill>
              <a:miter lim="800000"/>
              <a:headEnd type="none" w="lg" len="lg"/>
              <a:tailEnd type="triangle" w="sm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rIns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323" b="1" dirty="0">
                  <a:latin typeface="Arial Narrow" pitchFamily="34" charset="0"/>
                  <a:ea typeface="ＭＳ Ｐゴシック" charset="-128"/>
                  <a:sym typeface="Symbol"/>
                </a:rPr>
                <a:t>DELAM</a:t>
              </a:r>
              <a:endParaRPr lang="en-US" sz="1323" b="1" dirty="0">
                <a:latin typeface="Arial Narrow" pitchFamily="34" charset="0"/>
                <a:ea typeface="ＭＳ Ｐゴシック" charset="-128"/>
              </a:endParaRPr>
            </a:p>
          </p:txBody>
        </p:sp>
        <p:sp>
          <p:nvSpPr>
            <p:cNvPr id="158" name="AutoShape 310"/>
            <p:cNvSpPr>
              <a:spLocks/>
            </p:cNvSpPr>
            <p:nvPr/>
          </p:nvSpPr>
          <p:spPr bwMode="auto">
            <a:xfrm flipH="1">
              <a:off x="-7147576" y="-1611370"/>
              <a:ext cx="625058" cy="255198"/>
            </a:xfrm>
            <a:prstGeom prst="callout2">
              <a:avLst>
                <a:gd name="adj1" fmla="val 41170"/>
                <a:gd name="adj2" fmla="val -2461"/>
                <a:gd name="adj3" fmla="val 41170"/>
                <a:gd name="adj4" fmla="val -9871"/>
                <a:gd name="adj5" fmla="val 241003"/>
                <a:gd name="adj6" fmla="val -127687"/>
              </a:avLst>
            </a:prstGeom>
            <a:noFill/>
            <a:ln w="6350">
              <a:solidFill>
                <a:schemeClr val="tx1"/>
              </a:solidFill>
              <a:miter lim="800000"/>
              <a:headEnd type="none" w="lg" len="lg"/>
              <a:tailEnd type="triangle" w="sm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rIns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it-IT" sz="1323" b="1" dirty="0">
                  <a:latin typeface="Arial Narrow" pitchFamily="34" charset="0"/>
                  <a:ea typeface="ＭＳ Ｐゴシック" charset="-128"/>
                  <a:sym typeface="Symbol"/>
                </a:rPr>
                <a:t>DELAM</a:t>
              </a:r>
              <a:endParaRPr lang="en-US" sz="1323" b="1" dirty="0">
                <a:latin typeface="Arial Narrow" pitchFamily="34" charset="0"/>
                <a:ea typeface="ＭＳ Ｐゴシック" charset="-128"/>
              </a:endParaRPr>
            </a:p>
          </p:txBody>
        </p:sp>
        <p:sp>
          <p:nvSpPr>
            <p:cNvPr id="82" name="Rettangolo 81"/>
            <p:cNvSpPr/>
            <p:nvPr/>
          </p:nvSpPr>
          <p:spPr>
            <a:xfrm rot="10800000" flipV="1">
              <a:off x="-9607131" y="-2793246"/>
              <a:ext cx="116403" cy="3208408"/>
            </a:xfrm>
            <a:prstGeom prst="rect">
              <a:avLst/>
            </a:prstGeom>
            <a:pattFill prst="pct70">
              <a:fgClr>
                <a:srgbClr val="EE7713"/>
              </a:fgClr>
              <a:bgClr>
                <a:srgbClr val="FFFF00"/>
              </a:bgClr>
            </a:patt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88" dirty="0"/>
            </a:p>
          </p:txBody>
        </p:sp>
        <p:sp>
          <p:nvSpPr>
            <p:cNvPr id="84" name="Rettangolo 83"/>
            <p:cNvSpPr/>
            <p:nvPr/>
          </p:nvSpPr>
          <p:spPr>
            <a:xfrm rot="10800000" flipV="1">
              <a:off x="-8770778" y="614313"/>
              <a:ext cx="806441" cy="162853"/>
            </a:xfrm>
            <a:prstGeom prst="rect">
              <a:avLst/>
            </a:prstGeom>
            <a:pattFill prst="pct70">
              <a:fgClr>
                <a:srgbClr val="EE7713"/>
              </a:fgClr>
              <a:bgClr>
                <a:srgbClr val="FFFF00"/>
              </a:bgClr>
            </a:patt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 sz="1488" dirty="0"/>
            </a:p>
          </p:txBody>
        </p:sp>
        <p:sp>
          <p:nvSpPr>
            <p:cNvPr id="85" name="Freccia curva 2"/>
            <p:cNvSpPr/>
            <p:nvPr/>
          </p:nvSpPr>
          <p:spPr>
            <a:xfrm flipV="1">
              <a:off x="-9196870" y="-1303783"/>
              <a:ext cx="2235887" cy="1975558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4096" h="2389253">
                  <a:moveTo>
                    <a:pt x="45354" y="2389253"/>
                  </a:moveTo>
                  <a:cubicBezTo>
                    <a:pt x="44867" y="2292923"/>
                    <a:pt x="72955" y="2191831"/>
                    <a:pt x="72468" y="2095501"/>
                  </a:cubicBezTo>
                  <a:cubicBezTo>
                    <a:pt x="72468" y="2058988"/>
                    <a:pt x="34368" y="1936751"/>
                    <a:pt x="34368" y="1900238"/>
                  </a:cubicBezTo>
                  <a:cubicBezTo>
                    <a:pt x="37543" y="1711326"/>
                    <a:pt x="74056" y="1508125"/>
                    <a:pt x="77231" y="1319213"/>
                  </a:cubicBezTo>
                  <a:cubicBezTo>
                    <a:pt x="74056" y="1201738"/>
                    <a:pt x="28018" y="1069976"/>
                    <a:pt x="24843" y="952501"/>
                  </a:cubicBezTo>
                  <a:cubicBezTo>
                    <a:pt x="65017" y="807397"/>
                    <a:pt x="5179" y="705157"/>
                    <a:pt x="12016" y="583866"/>
                  </a:cubicBezTo>
                  <a:cubicBezTo>
                    <a:pt x="13604" y="499729"/>
                    <a:pt x="-38588" y="542858"/>
                    <a:pt x="62944" y="447676"/>
                  </a:cubicBezTo>
                  <a:cubicBezTo>
                    <a:pt x="96832" y="391640"/>
                    <a:pt x="143113" y="306388"/>
                    <a:pt x="191532" y="252413"/>
                  </a:cubicBezTo>
                  <a:cubicBezTo>
                    <a:pt x="239951" y="198438"/>
                    <a:pt x="285813" y="162972"/>
                    <a:pt x="353457" y="123826"/>
                  </a:cubicBezTo>
                  <a:cubicBezTo>
                    <a:pt x="421101" y="84680"/>
                    <a:pt x="455316" y="30235"/>
                    <a:pt x="621210" y="12772"/>
                  </a:cubicBezTo>
                  <a:cubicBezTo>
                    <a:pt x="863746" y="14865"/>
                    <a:pt x="1096758" y="31245"/>
                    <a:pt x="1339294" y="33338"/>
                  </a:cubicBezTo>
                  <a:lnTo>
                    <a:pt x="1601232" y="14288"/>
                  </a:lnTo>
                  <a:cubicBezTo>
                    <a:pt x="1691719" y="14288"/>
                    <a:pt x="1777445" y="0"/>
                    <a:pt x="1867932" y="0"/>
                  </a:cubicBezTo>
                  <a:cubicBezTo>
                    <a:pt x="1974295" y="3175"/>
                    <a:pt x="2104469" y="39689"/>
                    <a:pt x="2210832" y="42864"/>
                  </a:cubicBezTo>
                  <a:lnTo>
                    <a:pt x="2612656" y="12772"/>
                  </a:lnTo>
                  <a:cubicBezTo>
                    <a:pt x="2613906" y="55124"/>
                    <a:pt x="2606011" y="124908"/>
                    <a:pt x="2607261" y="167260"/>
                  </a:cubicBezTo>
                  <a:lnTo>
                    <a:pt x="2704096" y="262069"/>
                  </a:lnTo>
                  <a:lnTo>
                    <a:pt x="621210" y="271213"/>
                  </a:lnTo>
                  <a:cubicBezTo>
                    <a:pt x="445906" y="271213"/>
                    <a:pt x="303794" y="413325"/>
                    <a:pt x="303794" y="588629"/>
                  </a:cubicBezTo>
                  <a:cubicBezTo>
                    <a:pt x="303794" y="1188837"/>
                    <a:pt x="303795" y="1789045"/>
                    <a:pt x="303795" y="2389253"/>
                  </a:cubicBezTo>
                  <a:lnTo>
                    <a:pt x="45354" y="2389253"/>
                  </a:lnTo>
                  <a:close/>
                </a:path>
              </a:pathLst>
            </a:custGeom>
            <a:pattFill prst="dkDnDiag">
              <a:fgClr>
                <a:schemeClr val="accent4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sp>
          <p:nvSpPr>
            <p:cNvPr id="88" name="Freccia curva 4"/>
            <p:cNvSpPr/>
            <p:nvPr/>
          </p:nvSpPr>
          <p:spPr>
            <a:xfrm flipV="1">
              <a:off x="-10107472" y="-2853116"/>
              <a:ext cx="2138902" cy="4879049"/>
            </a:xfrm>
            <a:custGeom>
              <a:avLst/>
              <a:gdLst>
                <a:gd name="connsiteX0" fmla="*/ 0 w 1042416"/>
                <a:gd name="connsiteY0" fmla="*/ 1993392 h 1993392"/>
                <a:gd name="connsiteX1" fmla="*/ 0 w 1042416"/>
                <a:gd name="connsiteY1" fmla="*/ 456057 h 1993392"/>
                <a:gd name="connsiteX2" fmla="*/ 456057 w 1042416"/>
                <a:gd name="connsiteY2" fmla="*/ 0 h 1993392"/>
                <a:gd name="connsiteX3" fmla="*/ 1042416 w 1042416"/>
                <a:gd name="connsiteY3" fmla="*/ 0 h 1993392"/>
                <a:gd name="connsiteX4" fmla="*/ 1042416 w 1042416"/>
                <a:gd name="connsiteY4" fmla="*/ 0 h 1993392"/>
                <a:gd name="connsiteX5" fmla="*/ 1042416 w 1042416"/>
                <a:gd name="connsiteY5" fmla="*/ 108140 h 1993392"/>
                <a:gd name="connsiteX6" fmla="*/ 1042416 w 1042416"/>
                <a:gd name="connsiteY6" fmla="*/ 216280 h 1993392"/>
                <a:gd name="connsiteX7" fmla="*/ 1042416 w 1042416"/>
                <a:gd name="connsiteY7" fmla="*/ 216280 h 1993392"/>
                <a:gd name="connsiteX8" fmla="*/ 456057 w 1042416"/>
                <a:gd name="connsiteY8" fmla="*/ 216280 h 1993392"/>
                <a:gd name="connsiteX9" fmla="*/ 216280 w 1042416"/>
                <a:gd name="connsiteY9" fmla="*/ 456057 h 1993392"/>
                <a:gd name="connsiteX10" fmla="*/ 216280 w 1042416"/>
                <a:gd name="connsiteY10" fmla="*/ 1993392 h 1993392"/>
                <a:gd name="connsiteX11" fmla="*/ 0 w 1042416"/>
                <a:gd name="connsiteY11" fmla="*/ 1993392 h 1993392"/>
                <a:gd name="connsiteX0" fmla="*/ 0 w 1042416"/>
                <a:gd name="connsiteY0" fmla="*/ 1993392 h 1993392"/>
                <a:gd name="connsiteX1" fmla="*/ 0 w 1042416"/>
                <a:gd name="connsiteY1" fmla="*/ 456057 h 1993392"/>
                <a:gd name="connsiteX2" fmla="*/ 456057 w 1042416"/>
                <a:gd name="connsiteY2" fmla="*/ 0 h 1993392"/>
                <a:gd name="connsiteX3" fmla="*/ 1042416 w 1042416"/>
                <a:gd name="connsiteY3" fmla="*/ 0 h 1993392"/>
                <a:gd name="connsiteX4" fmla="*/ 1042416 w 1042416"/>
                <a:gd name="connsiteY4" fmla="*/ 0 h 1993392"/>
                <a:gd name="connsiteX5" fmla="*/ 1042416 w 1042416"/>
                <a:gd name="connsiteY5" fmla="*/ 216280 h 1993392"/>
                <a:gd name="connsiteX6" fmla="*/ 1042416 w 1042416"/>
                <a:gd name="connsiteY6" fmla="*/ 216280 h 1993392"/>
                <a:gd name="connsiteX7" fmla="*/ 456057 w 1042416"/>
                <a:gd name="connsiteY7" fmla="*/ 216280 h 1993392"/>
                <a:gd name="connsiteX8" fmla="*/ 216280 w 1042416"/>
                <a:gd name="connsiteY8" fmla="*/ 456057 h 1993392"/>
                <a:gd name="connsiteX9" fmla="*/ 216280 w 1042416"/>
                <a:gd name="connsiteY9" fmla="*/ 1993392 h 1993392"/>
                <a:gd name="connsiteX10" fmla="*/ 0 w 1042416"/>
                <a:gd name="connsiteY10" fmla="*/ 1993392 h 1993392"/>
                <a:gd name="connsiteX0" fmla="*/ 0 w 1042416"/>
                <a:gd name="connsiteY0" fmla="*/ 2154155 h 2154155"/>
                <a:gd name="connsiteX1" fmla="*/ 0 w 1042416"/>
                <a:gd name="connsiteY1" fmla="*/ 616820 h 2154155"/>
                <a:gd name="connsiteX2" fmla="*/ 237744 w 1042416"/>
                <a:gd name="connsiteY2" fmla="*/ 14459 h 2154155"/>
                <a:gd name="connsiteX3" fmla="*/ 456057 w 1042416"/>
                <a:gd name="connsiteY3" fmla="*/ 160763 h 2154155"/>
                <a:gd name="connsiteX4" fmla="*/ 1042416 w 1042416"/>
                <a:gd name="connsiteY4" fmla="*/ 160763 h 2154155"/>
                <a:gd name="connsiteX5" fmla="*/ 1042416 w 1042416"/>
                <a:gd name="connsiteY5" fmla="*/ 160763 h 2154155"/>
                <a:gd name="connsiteX6" fmla="*/ 1042416 w 1042416"/>
                <a:gd name="connsiteY6" fmla="*/ 377043 h 2154155"/>
                <a:gd name="connsiteX7" fmla="*/ 1042416 w 1042416"/>
                <a:gd name="connsiteY7" fmla="*/ 377043 h 2154155"/>
                <a:gd name="connsiteX8" fmla="*/ 456057 w 1042416"/>
                <a:gd name="connsiteY8" fmla="*/ 377043 h 2154155"/>
                <a:gd name="connsiteX9" fmla="*/ 216280 w 1042416"/>
                <a:gd name="connsiteY9" fmla="*/ 616820 h 2154155"/>
                <a:gd name="connsiteX10" fmla="*/ 216280 w 1042416"/>
                <a:gd name="connsiteY10" fmla="*/ 2154155 h 2154155"/>
                <a:gd name="connsiteX11" fmla="*/ 0 w 1042416"/>
                <a:gd name="connsiteY11" fmla="*/ 2154155 h 2154155"/>
                <a:gd name="connsiteX0" fmla="*/ 0 w 1042416"/>
                <a:gd name="connsiteY0" fmla="*/ 2707689 h 2707689"/>
                <a:gd name="connsiteX1" fmla="*/ 0 w 1042416"/>
                <a:gd name="connsiteY1" fmla="*/ 1170354 h 2707689"/>
                <a:gd name="connsiteX2" fmla="*/ 265176 w 1042416"/>
                <a:gd name="connsiteY2" fmla="*/ 10209 h 2707689"/>
                <a:gd name="connsiteX3" fmla="*/ 237744 w 1042416"/>
                <a:gd name="connsiteY3" fmla="*/ 567993 h 2707689"/>
                <a:gd name="connsiteX4" fmla="*/ 456057 w 1042416"/>
                <a:gd name="connsiteY4" fmla="*/ 714297 h 2707689"/>
                <a:gd name="connsiteX5" fmla="*/ 1042416 w 1042416"/>
                <a:gd name="connsiteY5" fmla="*/ 714297 h 2707689"/>
                <a:gd name="connsiteX6" fmla="*/ 1042416 w 1042416"/>
                <a:gd name="connsiteY6" fmla="*/ 714297 h 2707689"/>
                <a:gd name="connsiteX7" fmla="*/ 1042416 w 1042416"/>
                <a:gd name="connsiteY7" fmla="*/ 930577 h 2707689"/>
                <a:gd name="connsiteX8" fmla="*/ 1042416 w 1042416"/>
                <a:gd name="connsiteY8" fmla="*/ 930577 h 2707689"/>
                <a:gd name="connsiteX9" fmla="*/ 456057 w 1042416"/>
                <a:gd name="connsiteY9" fmla="*/ 930577 h 2707689"/>
                <a:gd name="connsiteX10" fmla="*/ 216280 w 1042416"/>
                <a:gd name="connsiteY10" fmla="*/ 1170354 h 2707689"/>
                <a:gd name="connsiteX11" fmla="*/ 216280 w 1042416"/>
                <a:gd name="connsiteY11" fmla="*/ 2707689 h 2707689"/>
                <a:gd name="connsiteX12" fmla="*/ 0 w 1042416"/>
                <a:gd name="connsiteY12" fmla="*/ 2707689 h 2707689"/>
                <a:gd name="connsiteX0" fmla="*/ 192024 w 1234440"/>
                <a:gd name="connsiteY0" fmla="*/ 2776488 h 2776488"/>
                <a:gd name="connsiteX1" fmla="*/ 0 w 1234440"/>
                <a:gd name="connsiteY1" fmla="*/ 132729 h 2776488"/>
                <a:gd name="connsiteX2" fmla="*/ 457200 w 1234440"/>
                <a:gd name="connsiteY2" fmla="*/ 79008 h 2776488"/>
                <a:gd name="connsiteX3" fmla="*/ 429768 w 1234440"/>
                <a:gd name="connsiteY3" fmla="*/ 636792 h 2776488"/>
                <a:gd name="connsiteX4" fmla="*/ 648081 w 1234440"/>
                <a:gd name="connsiteY4" fmla="*/ 783096 h 2776488"/>
                <a:gd name="connsiteX5" fmla="*/ 1234440 w 1234440"/>
                <a:gd name="connsiteY5" fmla="*/ 783096 h 2776488"/>
                <a:gd name="connsiteX6" fmla="*/ 1234440 w 1234440"/>
                <a:gd name="connsiteY6" fmla="*/ 783096 h 2776488"/>
                <a:gd name="connsiteX7" fmla="*/ 1234440 w 1234440"/>
                <a:gd name="connsiteY7" fmla="*/ 999376 h 2776488"/>
                <a:gd name="connsiteX8" fmla="*/ 1234440 w 1234440"/>
                <a:gd name="connsiteY8" fmla="*/ 999376 h 2776488"/>
                <a:gd name="connsiteX9" fmla="*/ 648081 w 1234440"/>
                <a:gd name="connsiteY9" fmla="*/ 999376 h 2776488"/>
                <a:gd name="connsiteX10" fmla="*/ 408304 w 1234440"/>
                <a:gd name="connsiteY10" fmla="*/ 1239153 h 2776488"/>
                <a:gd name="connsiteX11" fmla="*/ 408304 w 1234440"/>
                <a:gd name="connsiteY11" fmla="*/ 2776488 h 2776488"/>
                <a:gd name="connsiteX12" fmla="*/ 192024 w 1234440"/>
                <a:gd name="connsiteY12" fmla="*/ 2776488 h 2776488"/>
                <a:gd name="connsiteX0" fmla="*/ 192024 w 1234440"/>
                <a:gd name="connsiteY0" fmla="*/ 2776488 h 2776488"/>
                <a:gd name="connsiteX1" fmla="*/ 0 w 1234440"/>
                <a:gd name="connsiteY1" fmla="*/ 1688353 h 2776488"/>
                <a:gd name="connsiteX2" fmla="*/ 0 w 1234440"/>
                <a:gd name="connsiteY2" fmla="*/ 132729 h 2776488"/>
                <a:gd name="connsiteX3" fmla="*/ 457200 w 1234440"/>
                <a:gd name="connsiteY3" fmla="*/ 79008 h 2776488"/>
                <a:gd name="connsiteX4" fmla="*/ 429768 w 1234440"/>
                <a:gd name="connsiteY4" fmla="*/ 636792 h 2776488"/>
                <a:gd name="connsiteX5" fmla="*/ 648081 w 1234440"/>
                <a:gd name="connsiteY5" fmla="*/ 783096 h 2776488"/>
                <a:gd name="connsiteX6" fmla="*/ 1234440 w 1234440"/>
                <a:gd name="connsiteY6" fmla="*/ 783096 h 2776488"/>
                <a:gd name="connsiteX7" fmla="*/ 1234440 w 1234440"/>
                <a:gd name="connsiteY7" fmla="*/ 783096 h 2776488"/>
                <a:gd name="connsiteX8" fmla="*/ 1234440 w 1234440"/>
                <a:gd name="connsiteY8" fmla="*/ 999376 h 2776488"/>
                <a:gd name="connsiteX9" fmla="*/ 1234440 w 1234440"/>
                <a:gd name="connsiteY9" fmla="*/ 999376 h 2776488"/>
                <a:gd name="connsiteX10" fmla="*/ 648081 w 1234440"/>
                <a:gd name="connsiteY10" fmla="*/ 999376 h 2776488"/>
                <a:gd name="connsiteX11" fmla="*/ 408304 w 1234440"/>
                <a:gd name="connsiteY11" fmla="*/ 1239153 h 2776488"/>
                <a:gd name="connsiteX12" fmla="*/ 408304 w 1234440"/>
                <a:gd name="connsiteY12" fmla="*/ 2776488 h 2776488"/>
                <a:gd name="connsiteX13" fmla="*/ 192024 w 1234440"/>
                <a:gd name="connsiteY13" fmla="*/ 2776488 h 2776488"/>
                <a:gd name="connsiteX0" fmla="*/ 192024 w 1234440"/>
                <a:gd name="connsiteY0" fmla="*/ 2776488 h 2776488"/>
                <a:gd name="connsiteX1" fmla="*/ 155448 w 1234440"/>
                <a:gd name="connsiteY1" fmla="*/ 1889521 h 2776488"/>
                <a:gd name="connsiteX2" fmla="*/ 0 w 1234440"/>
                <a:gd name="connsiteY2" fmla="*/ 1688353 h 2776488"/>
                <a:gd name="connsiteX3" fmla="*/ 0 w 1234440"/>
                <a:gd name="connsiteY3" fmla="*/ 132729 h 2776488"/>
                <a:gd name="connsiteX4" fmla="*/ 457200 w 1234440"/>
                <a:gd name="connsiteY4" fmla="*/ 79008 h 2776488"/>
                <a:gd name="connsiteX5" fmla="*/ 429768 w 1234440"/>
                <a:gd name="connsiteY5" fmla="*/ 636792 h 2776488"/>
                <a:gd name="connsiteX6" fmla="*/ 648081 w 1234440"/>
                <a:gd name="connsiteY6" fmla="*/ 783096 h 2776488"/>
                <a:gd name="connsiteX7" fmla="*/ 1234440 w 1234440"/>
                <a:gd name="connsiteY7" fmla="*/ 783096 h 2776488"/>
                <a:gd name="connsiteX8" fmla="*/ 1234440 w 1234440"/>
                <a:gd name="connsiteY8" fmla="*/ 783096 h 2776488"/>
                <a:gd name="connsiteX9" fmla="*/ 1234440 w 1234440"/>
                <a:gd name="connsiteY9" fmla="*/ 999376 h 2776488"/>
                <a:gd name="connsiteX10" fmla="*/ 1234440 w 1234440"/>
                <a:gd name="connsiteY10" fmla="*/ 999376 h 2776488"/>
                <a:gd name="connsiteX11" fmla="*/ 648081 w 1234440"/>
                <a:gd name="connsiteY11" fmla="*/ 999376 h 2776488"/>
                <a:gd name="connsiteX12" fmla="*/ 408304 w 1234440"/>
                <a:gd name="connsiteY12" fmla="*/ 1239153 h 2776488"/>
                <a:gd name="connsiteX13" fmla="*/ 408304 w 1234440"/>
                <a:gd name="connsiteY13" fmla="*/ 2776488 h 2776488"/>
                <a:gd name="connsiteX14" fmla="*/ 192024 w 1234440"/>
                <a:gd name="connsiteY14" fmla="*/ 2776488 h 2776488"/>
                <a:gd name="connsiteX0" fmla="*/ 192024 w 1234440"/>
                <a:gd name="connsiteY0" fmla="*/ 2776488 h 2867929"/>
                <a:gd name="connsiteX1" fmla="*/ 155448 w 1234440"/>
                <a:gd name="connsiteY1" fmla="*/ 1889521 h 2867929"/>
                <a:gd name="connsiteX2" fmla="*/ 0 w 1234440"/>
                <a:gd name="connsiteY2" fmla="*/ 1688353 h 2867929"/>
                <a:gd name="connsiteX3" fmla="*/ 0 w 1234440"/>
                <a:gd name="connsiteY3" fmla="*/ 132729 h 2867929"/>
                <a:gd name="connsiteX4" fmla="*/ 457200 w 1234440"/>
                <a:gd name="connsiteY4" fmla="*/ 79008 h 2867929"/>
                <a:gd name="connsiteX5" fmla="*/ 429768 w 1234440"/>
                <a:gd name="connsiteY5" fmla="*/ 636792 h 2867929"/>
                <a:gd name="connsiteX6" fmla="*/ 648081 w 1234440"/>
                <a:gd name="connsiteY6" fmla="*/ 783096 h 2867929"/>
                <a:gd name="connsiteX7" fmla="*/ 1234440 w 1234440"/>
                <a:gd name="connsiteY7" fmla="*/ 783096 h 2867929"/>
                <a:gd name="connsiteX8" fmla="*/ 1234440 w 1234440"/>
                <a:gd name="connsiteY8" fmla="*/ 783096 h 2867929"/>
                <a:gd name="connsiteX9" fmla="*/ 1234440 w 1234440"/>
                <a:gd name="connsiteY9" fmla="*/ 999376 h 2867929"/>
                <a:gd name="connsiteX10" fmla="*/ 1234440 w 1234440"/>
                <a:gd name="connsiteY10" fmla="*/ 999376 h 2867929"/>
                <a:gd name="connsiteX11" fmla="*/ 648081 w 1234440"/>
                <a:gd name="connsiteY11" fmla="*/ 999376 h 2867929"/>
                <a:gd name="connsiteX12" fmla="*/ 408304 w 1234440"/>
                <a:gd name="connsiteY12" fmla="*/ 1239153 h 2867929"/>
                <a:gd name="connsiteX13" fmla="*/ 408304 w 1234440"/>
                <a:gd name="connsiteY13" fmla="*/ 2776488 h 2867929"/>
                <a:gd name="connsiteX14" fmla="*/ 274320 w 1234440"/>
                <a:gd name="connsiteY14" fmla="*/ 2867929 h 2867929"/>
                <a:gd name="connsiteX15" fmla="*/ 192024 w 1234440"/>
                <a:gd name="connsiteY15" fmla="*/ 2776488 h 2867929"/>
                <a:gd name="connsiteX0" fmla="*/ 192024 w 1234440"/>
                <a:gd name="connsiteY0" fmla="*/ 2776488 h 4989336"/>
                <a:gd name="connsiteX1" fmla="*/ 155448 w 1234440"/>
                <a:gd name="connsiteY1" fmla="*/ 1889521 h 4989336"/>
                <a:gd name="connsiteX2" fmla="*/ 0 w 1234440"/>
                <a:gd name="connsiteY2" fmla="*/ 1688353 h 4989336"/>
                <a:gd name="connsiteX3" fmla="*/ 0 w 1234440"/>
                <a:gd name="connsiteY3" fmla="*/ 132729 h 4989336"/>
                <a:gd name="connsiteX4" fmla="*/ 457200 w 1234440"/>
                <a:gd name="connsiteY4" fmla="*/ 79008 h 4989336"/>
                <a:gd name="connsiteX5" fmla="*/ 429768 w 1234440"/>
                <a:gd name="connsiteY5" fmla="*/ 636792 h 4989336"/>
                <a:gd name="connsiteX6" fmla="*/ 648081 w 1234440"/>
                <a:gd name="connsiteY6" fmla="*/ 783096 h 4989336"/>
                <a:gd name="connsiteX7" fmla="*/ 1234440 w 1234440"/>
                <a:gd name="connsiteY7" fmla="*/ 783096 h 4989336"/>
                <a:gd name="connsiteX8" fmla="*/ 1234440 w 1234440"/>
                <a:gd name="connsiteY8" fmla="*/ 783096 h 4989336"/>
                <a:gd name="connsiteX9" fmla="*/ 1234440 w 1234440"/>
                <a:gd name="connsiteY9" fmla="*/ 999376 h 4989336"/>
                <a:gd name="connsiteX10" fmla="*/ 1234440 w 1234440"/>
                <a:gd name="connsiteY10" fmla="*/ 999376 h 4989336"/>
                <a:gd name="connsiteX11" fmla="*/ 648081 w 1234440"/>
                <a:gd name="connsiteY11" fmla="*/ 999376 h 4989336"/>
                <a:gd name="connsiteX12" fmla="*/ 408304 w 1234440"/>
                <a:gd name="connsiteY12" fmla="*/ 1239153 h 4989336"/>
                <a:gd name="connsiteX13" fmla="*/ 463168 w 1234440"/>
                <a:gd name="connsiteY13" fmla="*/ 4989336 h 4989336"/>
                <a:gd name="connsiteX14" fmla="*/ 274320 w 1234440"/>
                <a:gd name="connsiteY14" fmla="*/ 2867929 h 4989336"/>
                <a:gd name="connsiteX15" fmla="*/ 192024 w 1234440"/>
                <a:gd name="connsiteY15" fmla="*/ 2776488 h 4989336"/>
                <a:gd name="connsiteX0" fmla="*/ 192024 w 1234440"/>
                <a:gd name="connsiteY0" fmla="*/ 2776488 h 5100439"/>
                <a:gd name="connsiteX1" fmla="*/ 155448 w 1234440"/>
                <a:gd name="connsiteY1" fmla="*/ 1889521 h 5100439"/>
                <a:gd name="connsiteX2" fmla="*/ 0 w 1234440"/>
                <a:gd name="connsiteY2" fmla="*/ 1688353 h 5100439"/>
                <a:gd name="connsiteX3" fmla="*/ 0 w 1234440"/>
                <a:gd name="connsiteY3" fmla="*/ 132729 h 5100439"/>
                <a:gd name="connsiteX4" fmla="*/ 457200 w 1234440"/>
                <a:gd name="connsiteY4" fmla="*/ 79008 h 5100439"/>
                <a:gd name="connsiteX5" fmla="*/ 429768 w 1234440"/>
                <a:gd name="connsiteY5" fmla="*/ 636792 h 5100439"/>
                <a:gd name="connsiteX6" fmla="*/ 648081 w 1234440"/>
                <a:gd name="connsiteY6" fmla="*/ 783096 h 5100439"/>
                <a:gd name="connsiteX7" fmla="*/ 1234440 w 1234440"/>
                <a:gd name="connsiteY7" fmla="*/ 783096 h 5100439"/>
                <a:gd name="connsiteX8" fmla="*/ 1234440 w 1234440"/>
                <a:gd name="connsiteY8" fmla="*/ 783096 h 5100439"/>
                <a:gd name="connsiteX9" fmla="*/ 1234440 w 1234440"/>
                <a:gd name="connsiteY9" fmla="*/ 999376 h 5100439"/>
                <a:gd name="connsiteX10" fmla="*/ 1234440 w 1234440"/>
                <a:gd name="connsiteY10" fmla="*/ 999376 h 5100439"/>
                <a:gd name="connsiteX11" fmla="*/ 648081 w 1234440"/>
                <a:gd name="connsiteY11" fmla="*/ 999376 h 5100439"/>
                <a:gd name="connsiteX12" fmla="*/ 408304 w 1234440"/>
                <a:gd name="connsiteY12" fmla="*/ 1239153 h 5100439"/>
                <a:gd name="connsiteX13" fmla="*/ 463168 w 1234440"/>
                <a:gd name="connsiteY13" fmla="*/ 4989336 h 5100439"/>
                <a:gd name="connsiteX14" fmla="*/ 320040 w 1234440"/>
                <a:gd name="connsiteY14" fmla="*/ 3882912 h 5100439"/>
                <a:gd name="connsiteX15" fmla="*/ 274320 w 1234440"/>
                <a:gd name="connsiteY15" fmla="*/ 2867929 h 5100439"/>
                <a:gd name="connsiteX16" fmla="*/ 192024 w 1234440"/>
                <a:gd name="connsiteY16" fmla="*/ 2776488 h 5100439"/>
                <a:gd name="connsiteX0" fmla="*/ 192024 w 1234440"/>
                <a:gd name="connsiteY0" fmla="*/ 2776488 h 5272752"/>
                <a:gd name="connsiteX1" fmla="*/ 155448 w 1234440"/>
                <a:gd name="connsiteY1" fmla="*/ 1889521 h 5272752"/>
                <a:gd name="connsiteX2" fmla="*/ 0 w 1234440"/>
                <a:gd name="connsiteY2" fmla="*/ 1688353 h 5272752"/>
                <a:gd name="connsiteX3" fmla="*/ 0 w 1234440"/>
                <a:gd name="connsiteY3" fmla="*/ 132729 h 5272752"/>
                <a:gd name="connsiteX4" fmla="*/ 457200 w 1234440"/>
                <a:gd name="connsiteY4" fmla="*/ 79008 h 5272752"/>
                <a:gd name="connsiteX5" fmla="*/ 429768 w 1234440"/>
                <a:gd name="connsiteY5" fmla="*/ 636792 h 5272752"/>
                <a:gd name="connsiteX6" fmla="*/ 648081 w 1234440"/>
                <a:gd name="connsiteY6" fmla="*/ 783096 h 5272752"/>
                <a:gd name="connsiteX7" fmla="*/ 1234440 w 1234440"/>
                <a:gd name="connsiteY7" fmla="*/ 783096 h 5272752"/>
                <a:gd name="connsiteX8" fmla="*/ 1234440 w 1234440"/>
                <a:gd name="connsiteY8" fmla="*/ 783096 h 5272752"/>
                <a:gd name="connsiteX9" fmla="*/ 1234440 w 1234440"/>
                <a:gd name="connsiteY9" fmla="*/ 999376 h 5272752"/>
                <a:gd name="connsiteX10" fmla="*/ 1234440 w 1234440"/>
                <a:gd name="connsiteY10" fmla="*/ 999376 h 5272752"/>
                <a:gd name="connsiteX11" fmla="*/ 648081 w 1234440"/>
                <a:gd name="connsiteY11" fmla="*/ 999376 h 5272752"/>
                <a:gd name="connsiteX12" fmla="*/ 408304 w 1234440"/>
                <a:gd name="connsiteY12" fmla="*/ 1239153 h 5272752"/>
                <a:gd name="connsiteX13" fmla="*/ 463168 w 1234440"/>
                <a:gd name="connsiteY13" fmla="*/ 4989336 h 5272752"/>
                <a:gd name="connsiteX14" fmla="*/ 384048 w 1234440"/>
                <a:gd name="connsiteY14" fmla="*/ 4943615 h 5272752"/>
                <a:gd name="connsiteX15" fmla="*/ 320040 w 1234440"/>
                <a:gd name="connsiteY15" fmla="*/ 3882912 h 5272752"/>
                <a:gd name="connsiteX16" fmla="*/ 274320 w 1234440"/>
                <a:gd name="connsiteY16" fmla="*/ 2867929 h 5272752"/>
                <a:gd name="connsiteX17" fmla="*/ 192024 w 1234440"/>
                <a:gd name="connsiteY17" fmla="*/ 2776488 h 5272752"/>
                <a:gd name="connsiteX0" fmla="*/ 192024 w 1234440"/>
                <a:gd name="connsiteY0" fmla="*/ 2776488 h 5272752"/>
                <a:gd name="connsiteX1" fmla="*/ 155448 w 1234440"/>
                <a:gd name="connsiteY1" fmla="*/ 1889521 h 5272752"/>
                <a:gd name="connsiteX2" fmla="*/ 0 w 1234440"/>
                <a:gd name="connsiteY2" fmla="*/ 1688353 h 5272752"/>
                <a:gd name="connsiteX3" fmla="*/ 0 w 1234440"/>
                <a:gd name="connsiteY3" fmla="*/ 132729 h 5272752"/>
                <a:gd name="connsiteX4" fmla="*/ 457200 w 1234440"/>
                <a:gd name="connsiteY4" fmla="*/ 79008 h 5272752"/>
                <a:gd name="connsiteX5" fmla="*/ 429768 w 1234440"/>
                <a:gd name="connsiteY5" fmla="*/ 636792 h 5272752"/>
                <a:gd name="connsiteX6" fmla="*/ 648081 w 1234440"/>
                <a:gd name="connsiteY6" fmla="*/ 783096 h 5272752"/>
                <a:gd name="connsiteX7" fmla="*/ 1234440 w 1234440"/>
                <a:gd name="connsiteY7" fmla="*/ 783096 h 5272752"/>
                <a:gd name="connsiteX8" fmla="*/ 1234440 w 1234440"/>
                <a:gd name="connsiteY8" fmla="*/ 783096 h 5272752"/>
                <a:gd name="connsiteX9" fmla="*/ 1234440 w 1234440"/>
                <a:gd name="connsiteY9" fmla="*/ 999376 h 5272752"/>
                <a:gd name="connsiteX10" fmla="*/ 1234440 w 1234440"/>
                <a:gd name="connsiteY10" fmla="*/ 999376 h 5272752"/>
                <a:gd name="connsiteX11" fmla="*/ 648081 w 1234440"/>
                <a:gd name="connsiteY11" fmla="*/ 999376 h 5272752"/>
                <a:gd name="connsiteX12" fmla="*/ 408304 w 1234440"/>
                <a:gd name="connsiteY12" fmla="*/ 1239153 h 5272752"/>
                <a:gd name="connsiteX13" fmla="*/ 463168 w 1234440"/>
                <a:gd name="connsiteY13" fmla="*/ 4989336 h 5272752"/>
                <a:gd name="connsiteX14" fmla="*/ 384048 w 1234440"/>
                <a:gd name="connsiteY14" fmla="*/ 4943615 h 5272752"/>
                <a:gd name="connsiteX15" fmla="*/ 320040 w 1234440"/>
                <a:gd name="connsiteY15" fmla="*/ 3882912 h 5272752"/>
                <a:gd name="connsiteX16" fmla="*/ 274320 w 1234440"/>
                <a:gd name="connsiteY16" fmla="*/ 2867929 h 5272752"/>
                <a:gd name="connsiteX17" fmla="*/ 192024 w 1234440"/>
                <a:gd name="connsiteY17" fmla="*/ 2776488 h 5272752"/>
                <a:gd name="connsiteX0" fmla="*/ 192024 w 1234440"/>
                <a:gd name="connsiteY0" fmla="*/ 2707690 h 5203954"/>
                <a:gd name="connsiteX1" fmla="*/ 155448 w 1234440"/>
                <a:gd name="connsiteY1" fmla="*/ 1820723 h 5203954"/>
                <a:gd name="connsiteX2" fmla="*/ 0 w 1234440"/>
                <a:gd name="connsiteY2" fmla="*/ 1619555 h 5203954"/>
                <a:gd name="connsiteX3" fmla="*/ 0 w 1234440"/>
                <a:gd name="connsiteY3" fmla="*/ 63931 h 5203954"/>
                <a:gd name="connsiteX4" fmla="*/ 457200 w 1234440"/>
                <a:gd name="connsiteY4" fmla="*/ 10210 h 5203954"/>
                <a:gd name="connsiteX5" fmla="*/ 429768 w 1234440"/>
                <a:gd name="connsiteY5" fmla="*/ 567994 h 5203954"/>
                <a:gd name="connsiteX6" fmla="*/ 648081 w 1234440"/>
                <a:gd name="connsiteY6" fmla="*/ 714298 h 5203954"/>
                <a:gd name="connsiteX7" fmla="*/ 1234440 w 1234440"/>
                <a:gd name="connsiteY7" fmla="*/ 714298 h 5203954"/>
                <a:gd name="connsiteX8" fmla="*/ 1234440 w 1234440"/>
                <a:gd name="connsiteY8" fmla="*/ 714298 h 5203954"/>
                <a:gd name="connsiteX9" fmla="*/ 1234440 w 1234440"/>
                <a:gd name="connsiteY9" fmla="*/ 930578 h 5203954"/>
                <a:gd name="connsiteX10" fmla="*/ 1234440 w 1234440"/>
                <a:gd name="connsiteY10" fmla="*/ 930578 h 5203954"/>
                <a:gd name="connsiteX11" fmla="*/ 648081 w 1234440"/>
                <a:gd name="connsiteY11" fmla="*/ 930578 h 5203954"/>
                <a:gd name="connsiteX12" fmla="*/ 408304 w 1234440"/>
                <a:gd name="connsiteY12" fmla="*/ 1170355 h 5203954"/>
                <a:gd name="connsiteX13" fmla="*/ 463168 w 1234440"/>
                <a:gd name="connsiteY13" fmla="*/ 4920538 h 5203954"/>
                <a:gd name="connsiteX14" fmla="*/ 384048 w 1234440"/>
                <a:gd name="connsiteY14" fmla="*/ 4874817 h 5203954"/>
                <a:gd name="connsiteX15" fmla="*/ 320040 w 1234440"/>
                <a:gd name="connsiteY15" fmla="*/ 3814114 h 5203954"/>
                <a:gd name="connsiteX16" fmla="*/ 274320 w 1234440"/>
                <a:gd name="connsiteY16" fmla="*/ 2799131 h 5203954"/>
                <a:gd name="connsiteX17" fmla="*/ 192024 w 1234440"/>
                <a:gd name="connsiteY17" fmla="*/ 2707690 h 5203954"/>
                <a:gd name="connsiteX0" fmla="*/ 192024 w 1234440"/>
                <a:gd name="connsiteY0" fmla="*/ 2697480 h 5193744"/>
                <a:gd name="connsiteX1" fmla="*/ 155448 w 1234440"/>
                <a:gd name="connsiteY1" fmla="*/ 1810513 h 5193744"/>
                <a:gd name="connsiteX2" fmla="*/ 0 w 1234440"/>
                <a:gd name="connsiteY2" fmla="*/ 1609345 h 5193744"/>
                <a:gd name="connsiteX3" fmla="*/ 0 w 1234440"/>
                <a:gd name="connsiteY3" fmla="*/ 53721 h 5193744"/>
                <a:gd name="connsiteX4" fmla="*/ 457200 w 1234440"/>
                <a:gd name="connsiteY4" fmla="*/ 0 h 5193744"/>
                <a:gd name="connsiteX5" fmla="*/ 429768 w 1234440"/>
                <a:gd name="connsiteY5" fmla="*/ 557784 h 5193744"/>
                <a:gd name="connsiteX6" fmla="*/ 648081 w 1234440"/>
                <a:gd name="connsiteY6" fmla="*/ 704088 h 5193744"/>
                <a:gd name="connsiteX7" fmla="*/ 1234440 w 1234440"/>
                <a:gd name="connsiteY7" fmla="*/ 704088 h 5193744"/>
                <a:gd name="connsiteX8" fmla="*/ 1234440 w 1234440"/>
                <a:gd name="connsiteY8" fmla="*/ 704088 h 5193744"/>
                <a:gd name="connsiteX9" fmla="*/ 1234440 w 1234440"/>
                <a:gd name="connsiteY9" fmla="*/ 920368 h 5193744"/>
                <a:gd name="connsiteX10" fmla="*/ 1234440 w 1234440"/>
                <a:gd name="connsiteY10" fmla="*/ 920368 h 5193744"/>
                <a:gd name="connsiteX11" fmla="*/ 648081 w 1234440"/>
                <a:gd name="connsiteY11" fmla="*/ 920368 h 5193744"/>
                <a:gd name="connsiteX12" fmla="*/ 408304 w 1234440"/>
                <a:gd name="connsiteY12" fmla="*/ 1160145 h 5193744"/>
                <a:gd name="connsiteX13" fmla="*/ 463168 w 1234440"/>
                <a:gd name="connsiteY13" fmla="*/ 4910328 h 5193744"/>
                <a:gd name="connsiteX14" fmla="*/ 384048 w 1234440"/>
                <a:gd name="connsiteY14" fmla="*/ 4864607 h 5193744"/>
                <a:gd name="connsiteX15" fmla="*/ 320040 w 1234440"/>
                <a:gd name="connsiteY15" fmla="*/ 3803904 h 5193744"/>
                <a:gd name="connsiteX16" fmla="*/ 274320 w 1234440"/>
                <a:gd name="connsiteY16" fmla="*/ 2788921 h 5193744"/>
                <a:gd name="connsiteX17" fmla="*/ 192024 w 1234440"/>
                <a:gd name="connsiteY17" fmla="*/ 2697480 h 5193744"/>
                <a:gd name="connsiteX0" fmla="*/ 192024 w 1234440"/>
                <a:gd name="connsiteY0" fmla="*/ 2697480 h 5193744"/>
                <a:gd name="connsiteX1" fmla="*/ 155448 w 1234440"/>
                <a:gd name="connsiteY1" fmla="*/ 1810513 h 5193744"/>
                <a:gd name="connsiteX2" fmla="*/ 0 w 1234440"/>
                <a:gd name="connsiteY2" fmla="*/ 1609345 h 5193744"/>
                <a:gd name="connsiteX3" fmla="*/ 0 w 1234440"/>
                <a:gd name="connsiteY3" fmla="*/ 53721 h 5193744"/>
                <a:gd name="connsiteX4" fmla="*/ 457200 w 1234440"/>
                <a:gd name="connsiteY4" fmla="*/ 0 h 5193744"/>
                <a:gd name="connsiteX5" fmla="*/ 429768 w 1234440"/>
                <a:gd name="connsiteY5" fmla="*/ 557784 h 5193744"/>
                <a:gd name="connsiteX6" fmla="*/ 648081 w 1234440"/>
                <a:gd name="connsiteY6" fmla="*/ 704088 h 5193744"/>
                <a:gd name="connsiteX7" fmla="*/ 1234440 w 1234440"/>
                <a:gd name="connsiteY7" fmla="*/ 704088 h 5193744"/>
                <a:gd name="connsiteX8" fmla="*/ 1234440 w 1234440"/>
                <a:gd name="connsiteY8" fmla="*/ 704088 h 5193744"/>
                <a:gd name="connsiteX9" fmla="*/ 1234440 w 1234440"/>
                <a:gd name="connsiteY9" fmla="*/ 920368 h 5193744"/>
                <a:gd name="connsiteX10" fmla="*/ 1234440 w 1234440"/>
                <a:gd name="connsiteY10" fmla="*/ 920368 h 5193744"/>
                <a:gd name="connsiteX11" fmla="*/ 648081 w 1234440"/>
                <a:gd name="connsiteY11" fmla="*/ 920368 h 5193744"/>
                <a:gd name="connsiteX12" fmla="*/ 408304 w 1234440"/>
                <a:gd name="connsiteY12" fmla="*/ 1160145 h 5193744"/>
                <a:gd name="connsiteX13" fmla="*/ 463168 w 1234440"/>
                <a:gd name="connsiteY13" fmla="*/ 4910328 h 5193744"/>
                <a:gd name="connsiteX14" fmla="*/ 384048 w 1234440"/>
                <a:gd name="connsiteY14" fmla="*/ 4864607 h 5193744"/>
                <a:gd name="connsiteX15" fmla="*/ 320040 w 1234440"/>
                <a:gd name="connsiteY15" fmla="*/ 3803904 h 5193744"/>
                <a:gd name="connsiteX16" fmla="*/ 274320 w 1234440"/>
                <a:gd name="connsiteY16" fmla="*/ 2788921 h 5193744"/>
                <a:gd name="connsiteX17" fmla="*/ 192024 w 1234440"/>
                <a:gd name="connsiteY17" fmla="*/ 2697480 h 5193744"/>
                <a:gd name="connsiteX0" fmla="*/ 192024 w 1234440"/>
                <a:gd name="connsiteY0" fmla="*/ 2697480 h 4910328"/>
                <a:gd name="connsiteX1" fmla="*/ 155448 w 1234440"/>
                <a:gd name="connsiteY1" fmla="*/ 1810513 h 4910328"/>
                <a:gd name="connsiteX2" fmla="*/ 0 w 1234440"/>
                <a:gd name="connsiteY2" fmla="*/ 1609345 h 4910328"/>
                <a:gd name="connsiteX3" fmla="*/ 0 w 1234440"/>
                <a:gd name="connsiteY3" fmla="*/ 53721 h 4910328"/>
                <a:gd name="connsiteX4" fmla="*/ 457200 w 1234440"/>
                <a:gd name="connsiteY4" fmla="*/ 0 h 4910328"/>
                <a:gd name="connsiteX5" fmla="*/ 429768 w 1234440"/>
                <a:gd name="connsiteY5" fmla="*/ 557784 h 4910328"/>
                <a:gd name="connsiteX6" fmla="*/ 648081 w 1234440"/>
                <a:gd name="connsiteY6" fmla="*/ 704088 h 4910328"/>
                <a:gd name="connsiteX7" fmla="*/ 1234440 w 1234440"/>
                <a:gd name="connsiteY7" fmla="*/ 704088 h 4910328"/>
                <a:gd name="connsiteX8" fmla="*/ 1234440 w 1234440"/>
                <a:gd name="connsiteY8" fmla="*/ 704088 h 4910328"/>
                <a:gd name="connsiteX9" fmla="*/ 1234440 w 1234440"/>
                <a:gd name="connsiteY9" fmla="*/ 920368 h 4910328"/>
                <a:gd name="connsiteX10" fmla="*/ 1234440 w 1234440"/>
                <a:gd name="connsiteY10" fmla="*/ 920368 h 4910328"/>
                <a:gd name="connsiteX11" fmla="*/ 648081 w 1234440"/>
                <a:gd name="connsiteY11" fmla="*/ 920368 h 4910328"/>
                <a:gd name="connsiteX12" fmla="*/ 408304 w 1234440"/>
                <a:gd name="connsiteY12" fmla="*/ 1160145 h 4910328"/>
                <a:gd name="connsiteX13" fmla="*/ 463168 w 1234440"/>
                <a:gd name="connsiteY13" fmla="*/ 4910328 h 4910328"/>
                <a:gd name="connsiteX14" fmla="*/ 384048 w 1234440"/>
                <a:gd name="connsiteY14" fmla="*/ 4864607 h 4910328"/>
                <a:gd name="connsiteX15" fmla="*/ 320040 w 1234440"/>
                <a:gd name="connsiteY15" fmla="*/ 3803904 h 4910328"/>
                <a:gd name="connsiteX16" fmla="*/ 274320 w 1234440"/>
                <a:gd name="connsiteY16" fmla="*/ 2788921 h 4910328"/>
                <a:gd name="connsiteX17" fmla="*/ 192024 w 1234440"/>
                <a:gd name="connsiteY17" fmla="*/ 2697480 h 4910328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57200 w 1234440"/>
                <a:gd name="connsiteY4" fmla="*/ 65151 h 4975479"/>
                <a:gd name="connsiteX5" fmla="*/ 429768 w 1234440"/>
                <a:gd name="connsiteY5" fmla="*/ 622935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70632 h 4983480"/>
                <a:gd name="connsiteX1" fmla="*/ 155448 w 1234440"/>
                <a:gd name="connsiteY1" fmla="*/ 1883665 h 4983480"/>
                <a:gd name="connsiteX2" fmla="*/ 0 w 1234440"/>
                <a:gd name="connsiteY2" fmla="*/ 1682497 h 4983480"/>
                <a:gd name="connsiteX3" fmla="*/ 9144 w 1234440"/>
                <a:gd name="connsiteY3" fmla="*/ 8001 h 4983480"/>
                <a:gd name="connsiteX4" fmla="*/ 484632 w 1234440"/>
                <a:gd name="connsiteY4" fmla="*/ 0 h 4983480"/>
                <a:gd name="connsiteX5" fmla="*/ 429768 w 1234440"/>
                <a:gd name="connsiteY5" fmla="*/ 630936 h 4983480"/>
                <a:gd name="connsiteX6" fmla="*/ 648081 w 1234440"/>
                <a:gd name="connsiteY6" fmla="*/ 777240 h 4983480"/>
                <a:gd name="connsiteX7" fmla="*/ 1234440 w 1234440"/>
                <a:gd name="connsiteY7" fmla="*/ 777240 h 4983480"/>
                <a:gd name="connsiteX8" fmla="*/ 1234440 w 1234440"/>
                <a:gd name="connsiteY8" fmla="*/ 777240 h 4983480"/>
                <a:gd name="connsiteX9" fmla="*/ 1234440 w 1234440"/>
                <a:gd name="connsiteY9" fmla="*/ 993520 h 4983480"/>
                <a:gd name="connsiteX10" fmla="*/ 1234440 w 1234440"/>
                <a:gd name="connsiteY10" fmla="*/ 993520 h 4983480"/>
                <a:gd name="connsiteX11" fmla="*/ 648081 w 1234440"/>
                <a:gd name="connsiteY11" fmla="*/ 993520 h 4983480"/>
                <a:gd name="connsiteX12" fmla="*/ 408304 w 1234440"/>
                <a:gd name="connsiteY12" fmla="*/ 1233297 h 4983480"/>
                <a:gd name="connsiteX13" fmla="*/ 463168 w 1234440"/>
                <a:gd name="connsiteY13" fmla="*/ 4983480 h 4983480"/>
                <a:gd name="connsiteX14" fmla="*/ 384048 w 1234440"/>
                <a:gd name="connsiteY14" fmla="*/ 4937759 h 4983480"/>
                <a:gd name="connsiteX15" fmla="*/ 320040 w 1234440"/>
                <a:gd name="connsiteY15" fmla="*/ 3877056 h 4983480"/>
                <a:gd name="connsiteX16" fmla="*/ 274320 w 1234440"/>
                <a:gd name="connsiteY16" fmla="*/ 2862073 h 4983480"/>
                <a:gd name="connsiteX17" fmla="*/ 192024 w 1234440"/>
                <a:gd name="connsiteY17" fmla="*/ 2770632 h 4983480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29768 w 1234440"/>
                <a:gd name="connsiteY4" fmla="*/ 1143 h 4975479"/>
                <a:gd name="connsiteX5" fmla="*/ 429768 w 1234440"/>
                <a:gd name="connsiteY5" fmla="*/ 622935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29768 w 1234440"/>
                <a:gd name="connsiteY4" fmla="*/ 1143 h 4975479"/>
                <a:gd name="connsiteX5" fmla="*/ 469962 w 1234440"/>
                <a:gd name="connsiteY5" fmla="*/ 632984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69962 w 1234440"/>
                <a:gd name="connsiteY5" fmla="*/ 632984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607863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583149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583149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69961 w 1234440"/>
                <a:gd name="connsiteY4" fmla="*/ 16215 h 4975479"/>
                <a:gd name="connsiteX5" fmla="*/ 474986 w 1234440"/>
                <a:gd name="connsiteY5" fmla="*/ 565497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62631 h 4975479"/>
                <a:gd name="connsiteX1" fmla="*/ 155448 w 1234440"/>
                <a:gd name="connsiteY1" fmla="*/ 1875664 h 4975479"/>
                <a:gd name="connsiteX2" fmla="*/ 0 w 1234440"/>
                <a:gd name="connsiteY2" fmla="*/ 1674496 h 4975479"/>
                <a:gd name="connsiteX3" fmla="*/ 9144 w 1234440"/>
                <a:gd name="connsiteY3" fmla="*/ 0 h 4975479"/>
                <a:gd name="connsiteX4" fmla="*/ 480553 w 1234440"/>
                <a:gd name="connsiteY4" fmla="*/ 5623 h 4975479"/>
                <a:gd name="connsiteX5" fmla="*/ 474986 w 1234440"/>
                <a:gd name="connsiteY5" fmla="*/ 565497 h 4975479"/>
                <a:gd name="connsiteX6" fmla="*/ 648081 w 1234440"/>
                <a:gd name="connsiteY6" fmla="*/ 769239 h 4975479"/>
                <a:gd name="connsiteX7" fmla="*/ 1234440 w 1234440"/>
                <a:gd name="connsiteY7" fmla="*/ 769239 h 4975479"/>
                <a:gd name="connsiteX8" fmla="*/ 1234440 w 1234440"/>
                <a:gd name="connsiteY8" fmla="*/ 769239 h 4975479"/>
                <a:gd name="connsiteX9" fmla="*/ 1234440 w 1234440"/>
                <a:gd name="connsiteY9" fmla="*/ 985519 h 4975479"/>
                <a:gd name="connsiteX10" fmla="*/ 1234440 w 1234440"/>
                <a:gd name="connsiteY10" fmla="*/ 985519 h 4975479"/>
                <a:gd name="connsiteX11" fmla="*/ 648081 w 1234440"/>
                <a:gd name="connsiteY11" fmla="*/ 985519 h 4975479"/>
                <a:gd name="connsiteX12" fmla="*/ 408304 w 1234440"/>
                <a:gd name="connsiteY12" fmla="*/ 1225296 h 4975479"/>
                <a:gd name="connsiteX13" fmla="*/ 463168 w 1234440"/>
                <a:gd name="connsiteY13" fmla="*/ 4975479 h 4975479"/>
                <a:gd name="connsiteX14" fmla="*/ 384048 w 1234440"/>
                <a:gd name="connsiteY14" fmla="*/ 4929758 h 4975479"/>
                <a:gd name="connsiteX15" fmla="*/ 320040 w 1234440"/>
                <a:gd name="connsiteY15" fmla="*/ 3869055 h 4975479"/>
                <a:gd name="connsiteX16" fmla="*/ 274320 w 1234440"/>
                <a:gd name="connsiteY16" fmla="*/ 2854072 h 4975479"/>
                <a:gd name="connsiteX17" fmla="*/ 192024 w 1234440"/>
                <a:gd name="connsiteY17" fmla="*/ 2762631 h 4975479"/>
                <a:gd name="connsiteX0" fmla="*/ 192024 w 1234440"/>
                <a:gd name="connsiteY0" fmla="*/ 2757008 h 4969856"/>
                <a:gd name="connsiteX1" fmla="*/ 155448 w 1234440"/>
                <a:gd name="connsiteY1" fmla="*/ 1870041 h 4969856"/>
                <a:gd name="connsiteX2" fmla="*/ 0 w 1234440"/>
                <a:gd name="connsiteY2" fmla="*/ 1668873 h 4969856"/>
                <a:gd name="connsiteX3" fmla="*/ 9144 w 1234440"/>
                <a:gd name="connsiteY3" fmla="*/ 1438 h 4969856"/>
                <a:gd name="connsiteX4" fmla="*/ 480553 w 1234440"/>
                <a:gd name="connsiteY4" fmla="*/ 0 h 4969856"/>
                <a:gd name="connsiteX5" fmla="*/ 474986 w 1234440"/>
                <a:gd name="connsiteY5" fmla="*/ 559874 h 4969856"/>
                <a:gd name="connsiteX6" fmla="*/ 648081 w 1234440"/>
                <a:gd name="connsiteY6" fmla="*/ 763616 h 4969856"/>
                <a:gd name="connsiteX7" fmla="*/ 1234440 w 1234440"/>
                <a:gd name="connsiteY7" fmla="*/ 763616 h 4969856"/>
                <a:gd name="connsiteX8" fmla="*/ 1234440 w 1234440"/>
                <a:gd name="connsiteY8" fmla="*/ 763616 h 4969856"/>
                <a:gd name="connsiteX9" fmla="*/ 1234440 w 1234440"/>
                <a:gd name="connsiteY9" fmla="*/ 979896 h 4969856"/>
                <a:gd name="connsiteX10" fmla="*/ 1234440 w 1234440"/>
                <a:gd name="connsiteY10" fmla="*/ 979896 h 4969856"/>
                <a:gd name="connsiteX11" fmla="*/ 648081 w 1234440"/>
                <a:gd name="connsiteY11" fmla="*/ 979896 h 4969856"/>
                <a:gd name="connsiteX12" fmla="*/ 408304 w 1234440"/>
                <a:gd name="connsiteY12" fmla="*/ 1219673 h 4969856"/>
                <a:gd name="connsiteX13" fmla="*/ 463168 w 1234440"/>
                <a:gd name="connsiteY13" fmla="*/ 4969856 h 4969856"/>
                <a:gd name="connsiteX14" fmla="*/ 384048 w 1234440"/>
                <a:gd name="connsiteY14" fmla="*/ 4924135 h 4969856"/>
                <a:gd name="connsiteX15" fmla="*/ 320040 w 1234440"/>
                <a:gd name="connsiteY15" fmla="*/ 3863432 h 4969856"/>
                <a:gd name="connsiteX16" fmla="*/ 274320 w 1234440"/>
                <a:gd name="connsiteY16" fmla="*/ 2848449 h 4969856"/>
                <a:gd name="connsiteX17" fmla="*/ 192024 w 1234440"/>
                <a:gd name="connsiteY17" fmla="*/ 2757008 h 4969856"/>
                <a:gd name="connsiteX0" fmla="*/ 182880 w 1225296"/>
                <a:gd name="connsiteY0" fmla="*/ 2757008 h 4969856"/>
                <a:gd name="connsiteX1" fmla="*/ 146304 w 1225296"/>
                <a:gd name="connsiteY1" fmla="*/ 1870041 h 4969856"/>
                <a:gd name="connsiteX2" fmla="*/ 132076 w 1225296"/>
                <a:gd name="connsiteY2" fmla="*/ 1637099 h 4969856"/>
                <a:gd name="connsiteX3" fmla="*/ 0 w 1225296"/>
                <a:gd name="connsiteY3" fmla="*/ 1438 h 4969856"/>
                <a:gd name="connsiteX4" fmla="*/ 471409 w 1225296"/>
                <a:gd name="connsiteY4" fmla="*/ 0 h 4969856"/>
                <a:gd name="connsiteX5" fmla="*/ 465842 w 1225296"/>
                <a:gd name="connsiteY5" fmla="*/ 559874 h 4969856"/>
                <a:gd name="connsiteX6" fmla="*/ 638937 w 1225296"/>
                <a:gd name="connsiteY6" fmla="*/ 763616 h 4969856"/>
                <a:gd name="connsiteX7" fmla="*/ 1225296 w 1225296"/>
                <a:gd name="connsiteY7" fmla="*/ 763616 h 4969856"/>
                <a:gd name="connsiteX8" fmla="*/ 1225296 w 1225296"/>
                <a:gd name="connsiteY8" fmla="*/ 763616 h 4969856"/>
                <a:gd name="connsiteX9" fmla="*/ 1225296 w 1225296"/>
                <a:gd name="connsiteY9" fmla="*/ 979896 h 4969856"/>
                <a:gd name="connsiteX10" fmla="*/ 1225296 w 1225296"/>
                <a:gd name="connsiteY10" fmla="*/ 979896 h 4969856"/>
                <a:gd name="connsiteX11" fmla="*/ 638937 w 1225296"/>
                <a:gd name="connsiteY11" fmla="*/ 979896 h 4969856"/>
                <a:gd name="connsiteX12" fmla="*/ 399160 w 1225296"/>
                <a:gd name="connsiteY12" fmla="*/ 1219673 h 4969856"/>
                <a:gd name="connsiteX13" fmla="*/ 454024 w 1225296"/>
                <a:gd name="connsiteY13" fmla="*/ 4969856 h 4969856"/>
                <a:gd name="connsiteX14" fmla="*/ 374904 w 1225296"/>
                <a:gd name="connsiteY14" fmla="*/ 4924135 h 4969856"/>
                <a:gd name="connsiteX15" fmla="*/ 310896 w 1225296"/>
                <a:gd name="connsiteY15" fmla="*/ 3863432 h 4969856"/>
                <a:gd name="connsiteX16" fmla="*/ 265176 w 1225296"/>
                <a:gd name="connsiteY16" fmla="*/ 2848449 h 4969856"/>
                <a:gd name="connsiteX17" fmla="*/ 182880 w 1225296"/>
                <a:gd name="connsiteY17" fmla="*/ 2757008 h 4969856"/>
                <a:gd name="connsiteX0" fmla="*/ 188494 w 1230910"/>
                <a:gd name="connsiteY0" fmla="*/ 2757008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88494 w 1230910"/>
                <a:gd name="connsiteY17" fmla="*/ 2757008 h 4969856"/>
                <a:gd name="connsiteX0" fmla="*/ 188494 w 1230910"/>
                <a:gd name="connsiteY0" fmla="*/ 2757008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88494 w 1230910"/>
                <a:gd name="connsiteY17" fmla="*/ 2757008 h 4969856"/>
                <a:gd name="connsiteX0" fmla="*/ 234391 w 1230910"/>
                <a:gd name="connsiteY0" fmla="*/ 2636971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234391 w 1230910"/>
                <a:gd name="connsiteY17" fmla="*/ 2636971 h 4969856"/>
                <a:gd name="connsiteX0" fmla="*/ 170842 w 1230910"/>
                <a:gd name="connsiteY0" fmla="*/ 2545178 h 4969856"/>
                <a:gd name="connsiteX1" fmla="*/ 151918 w 1230910"/>
                <a:gd name="connsiteY1" fmla="*/ 1870041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0790 w 1230910"/>
                <a:gd name="connsiteY16" fmla="*/ 2848449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306095 w 1230910"/>
                <a:gd name="connsiteY16" fmla="*/ 2834327 h 4969856"/>
                <a:gd name="connsiteX17" fmla="*/ 170842 w 1230910"/>
                <a:gd name="connsiteY17" fmla="*/ 2545178 h 4969856"/>
                <a:gd name="connsiteX0" fmla="*/ 170842 w 1230910"/>
                <a:gd name="connsiteY0" fmla="*/ 2545178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7851 w 1230910"/>
                <a:gd name="connsiteY16" fmla="*/ 2728411 h 4969856"/>
                <a:gd name="connsiteX17" fmla="*/ 170842 w 1230910"/>
                <a:gd name="connsiteY17" fmla="*/ 2545178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316510 w 1230910"/>
                <a:gd name="connsiteY15" fmla="*/ 3863432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447139 w 1230910"/>
                <a:gd name="connsiteY15" fmla="*/ 3701028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88266 w 1230910"/>
                <a:gd name="connsiteY15" fmla="*/ 3665723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88266 w 1230910"/>
                <a:gd name="connsiteY15" fmla="*/ 3665723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88266 w 1230910"/>
                <a:gd name="connsiteY15" fmla="*/ 3665723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74144 w 1230910"/>
                <a:gd name="connsiteY15" fmla="*/ 3658662 h 4969856"/>
                <a:gd name="connsiteX16" fmla="*/ 277851 w 1230910"/>
                <a:gd name="connsiteY16" fmla="*/ 2728411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74144 w 1230910"/>
                <a:gd name="connsiteY15" fmla="*/ 3658662 h 4969856"/>
                <a:gd name="connsiteX16" fmla="*/ 270790 w 1230910"/>
                <a:gd name="connsiteY16" fmla="*/ 2742533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9856"/>
                <a:gd name="connsiteX1" fmla="*/ 169571 w 1230910"/>
                <a:gd name="connsiteY1" fmla="*/ 1873572 h 4969856"/>
                <a:gd name="connsiteX2" fmla="*/ 0 w 1230910"/>
                <a:gd name="connsiteY2" fmla="*/ 1640630 h 4969856"/>
                <a:gd name="connsiteX3" fmla="*/ 5614 w 1230910"/>
                <a:gd name="connsiteY3" fmla="*/ 1438 h 4969856"/>
                <a:gd name="connsiteX4" fmla="*/ 477023 w 1230910"/>
                <a:gd name="connsiteY4" fmla="*/ 0 h 4969856"/>
                <a:gd name="connsiteX5" fmla="*/ 471456 w 1230910"/>
                <a:gd name="connsiteY5" fmla="*/ 559874 h 4969856"/>
                <a:gd name="connsiteX6" fmla="*/ 644551 w 1230910"/>
                <a:gd name="connsiteY6" fmla="*/ 763616 h 4969856"/>
                <a:gd name="connsiteX7" fmla="*/ 1230910 w 1230910"/>
                <a:gd name="connsiteY7" fmla="*/ 763616 h 4969856"/>
                <a:gd name="connsiteX8" fmla="*/ 1230910 w 1230910"/>
                <a:gd name="connsiteY8" fmla="*/ 763616 h 4969856"/>
                <a:gd name="connsiteX9" fmla="*/ 1230910 w 1230910"/>
                <a:gd name="connsiteY9" fmla="*/ 979896 h 4969856"/>
                <a:gd name="connsiteX10" fmla="*/ 1230910 w 1230910"/>
                <a:gd name="connsiteY10" fmla="*/ 979896 h 4969856"/>
                <a:gd name="connsiteX11" fmla="*/ 644551 w 1230910"/>
                <a:gd name="connsiteY11" fmla="*/ 979896 h 4969856"/>
                <a:gd name="connsiteX12" fmla="*/ 404774 w 1230910"/>
                <a:gd name="connsiteY12" fmla="*/ 1219673 h 4969856"/>
                <a:gd name="connsiteX13" fmla="*/ 459638 w 1230910"/>
                <a:gd name="connsiteY13" fmla="*/ 4969856 h 4969856"/>
                <a:gd name="connsiteX14" fmla="*/ 380518 w 1230910"/>
                <a:gd name="connsiteY14" fmla="*/ 4924135 h 4969856"/>
                <a:gd name="connsiteX15" fmla="*/ 274144 w 1230910"/>
                <a:gd name="connsiteY15" fmla="*/ 3658662 h 4969856"/>
                <a:gd name="connsiteX16" fmla="*/ 270790 w 1230910"/>
                <a:gd name="connsiteY16" fmla="*/ 2742533 h 4969856"/>
                <a:gd name="connsiteX17" fmla="*/ 170842 w 1230910"/>
                <a:gd name="connsiteY17" fmla="*/ 2580483 h 4969856"/>
                <a:gd name="connsiteX0" fmla="*/ 170842 w 1230910"/>
                <a:gd name="connsiteY0" fmla="*/ 2580483 h 4960712"/>
                <a:gd name="connsiteX1" fmla="*/ 169571 w 1230910"/>
                <a:gd name="connsiteY1" fmla="*/ 1873572 h 4960712"/>
                <a:gd name="connsiteX2" fmla="*/ 0 w 1230910"/>
                <a:gd name="connsiteY2" fmla="*/ 1640630 h 4960712"/>
                <a:gd name="connsiteX3" fmla="*/ 5614 w 1230910"/>
                <a:gd name="connsiteY3" fmla="*/ 1438 h 4960712"/>
                <a:gd name="connsiteX4" fmla="*/ 477023 w 1230910"/>
                <a:gd name="connsiteY4" fmla="*/ 0 h 4960712"/>
                <a:gd name="connsiteX5" fmla="*/ 471456 w 1230910"/>
                <a:gd name="connsiteY5" fmla="*/ 559874 h 4960712"/>
                <a:gd name="connsiteX6" fmla="*/ 644551 w 1230910"/>
                <a:gd name="connsiteY6" fmla="*/ 763616 h 4960712"/>
                <a:gd name="connsiteX7" fmla="*/ 1230910 w 1230910"/>
                <a:gd name="connsiteY7" fmla="*/ 763616 h 4960712"/>
                <a:gd name="connsiteX8" fmla="*/ 1230910 w 1230910"/>
                <a:gd name="connsiteY8" fmla="*/ 763616 h 4960712"/>
                <a:gd name="connsiteX9" fmla="*/ 1230910 w 1230910"/>
                <a:gd name="connsiteY9" fmla="*/ 979896 h 4960712"/>
                <a:gd name="connsiteX10" fmla="*/ 1230910 w 1230910"/>
                <a:gd name="connsiteY10" fmla="*/ 979896 h 4960712"/>
                <a:gd name="connsiteX11" fmla="*/ 644551 w 1230910"/>
                <a:gd name="connsiteY11" fmla="*/ 979896 h 4960712"/>
                <a:gd name="connsiteX12" fmla="*/ 404774 w 1230910"/>
                <a:gd name="connsiteY12" fmla="*/ 1219673 h 4960712"/>
                <a:gd name="connsiteX13" fmla="*/ 368198 w 1230910"/>
                <a:gd name="connsiteY13" fmla="*/ 4960712 h 4960712"/>
                <a:gd name="connsiteX14" fmla="*/ 380518 w 1230910"/>
                <a:gd name="connsiteY14" fmla="*/ 4924135 h 4960712"/>
                <a:gd name="connsiteX15" fmla="*/ 274144 w 1230910"/>
                <a:gd name="connsiteY15" fmla="*/ 3658662 h 4960712"/>
                <a:gd name="connsiteX16" fmla="*/ 270790 w 1230910"/>
                <a:gd name="connsiteY16" fmla="*/ 2742533 h 4960712"/>
                <a:gd name="connsiteX17" fmla="*/ 170842 w 1230910"/>
                <a:gd name="connsiteY17" fmla="*/ 2580483 h 4960712"/>
                <a:gd name="connsiteX0" fmla="*/ 170842 w 1230910"/>
                <a:gd name="connsiteY0" fmla="*/ 2580483 h 4924136"/>
                <a:gd name="connsiteX1" fmla="*/ 169571 w 1230910"/>
                <a:gd name="connsiteY1" fmla="*/ 1873572 h 4924136"/>
                <a:gd name="connsiteX2" fmla="*/ 0 w 1230910"/>
                <a:gd name="connsiteY2" fmla="*/ 1640630 h 4924136"/>
                <a:gd name="connsiteX3" fmla="*/ 5614 w 1230910"/>
                <a:gd name="connsiteY3" fmla="*/ 1438 h 4924136"/>
                <a:gd name="connsiteX4" fmla="*/ 477023 w 1230910"/>
                <a:gd name="connsiteY4" fmla="*/ 0 h 4924136"/>
                <a:gd name="connsiteX5" fmla="*/ 471456 w 1230910"/>
                <a:gd name="connsiteY5" fmla="*/ 559874 h 4924136"/>
                <a:gd name="connsiteX6" fmla="*/ 644551 w 1230910"/>
                <a:gd name="connsiteY6" fmla="*/ 763616 h 4924136"/>
                <a:gd name="connsiteX7" fmla="*/ 1230910 w 1230910"/>
                <a:gd name="connsiteY7" fmla="*/ 763616 h 4924136"/>
                <a:gd name="connsiteX8" fmla="*/ 1230910 w 1230910"/>
                <a:gd name="connsiteY8" fmla="*/ 763616 h 4924136"/>
                <a:gd name="connsiteX9" fmla="*/ 1230910 w 1230910"/>
                <a:gd name="connsiteY9" fmla="*/ 979896 h 4924136"/>
                <a:gd name="connsiteX10" fmla="*/ 1230910 w 1230910"/>
                <a:gd name="connsiteY10" fmla="*/ 979896 h 4924136"/>
                <a:gd name="connsiteX11" fmla="*/ 644551 w 1230910"/>
                <a:gd name="connsiteY11" fmla="*/ 979896 h 4924136"/>
                <a:gd name="connsiteX12" fmla="*/ 404774 w 1230910"/>
                <a:gd name="connsiteY12" fmla="*/ 1219673 h 4924136"/>
                <a:gd name="connsiteX13" fmla="*/ 267614 w 1230910"/>
                <a:gd name="connsiteY13" fmla="*/ 4924136 h 4924136"/>
                <a:gd name="connsiteX14" fmla="*/ 380518 w 1230910"/>
                <a:gd name="connsiteY14" fmla="*/ 4924135 h 4924136"/>
                <a:gd name="connsiteX15" fmla="*/ 274144 w 1230910"/>
                <a:gd name="connsiteY15" fmla="*/ 3658662 h 4924136"/>
                <a:gd name="connsiteX16" fmla="*/ 270790 w 1230910"/>
                <a:gd name="connsiteY16" fmla="*/ 2742533 h 4924136"/>
                <a:gd name="connsiteX17" fmla="*/ 170842 w 1230910"/>
                <a:gd name="connsiteY17" fmla="*/ 2580483 h 4924136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468782 w 1230910"/>
                <a:gd name="connsiteY13" fmla="*/ 4860128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377342 w 1230910"/>
                <a:gd name="connsiteY13" fmla="*/ 3643976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349910 w 1230910"/>
                <a:gd name="connsiteY13" fmla="*/ 3643976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4924135"/>
                <a:gd name="connsiteX1" fmla="*/ 169571 w 1230910"/>
                <a:gd name="connsiteY1" fmla="*/ 1873572 h 4924135"/>
                <a:gd name="connsiteX2" fmla="*/ 0 w 1230910"/>
                <a:gd name="connsiteY2" fmla="*/ 1640630 h 4924135"/>
                <a:gd name="connsiteX3" fmla="*/ 5614 w 1230910"/>
                <a:gd name="connsiteY3" fmla="*/ 1438 h 4924135"/>
                <a:gd name="connsiteX4" fmla="*/ 477023 w 1230910"/>
                <a:gd name="connsiteY4" fmla="*/ 0 h 4924135"/>
                <a:gd name="connsiteX5" fmla="*/ 471456 w 1230910"/>
                <a:gd name="connsiteY5" fmla="*/ 559874 h 4924135"/>
                <a:gd name="connsiteX6" fmla="*/ 644551 w 1230910"/>
                <a:gd name="connsiteY6" fmla="*/ 763616 h 4924135"/>
                <a:gd name="connsiteX7" fmla="*/ 1230910 w 1230910"/>
                <a:gd name="connsiteY7" fmla="*/ 763616 h 4924135"/>
                <a:gd name="connsiteX8" fmla="*/ 1230910 w 1230910"/>
                <a:gd name="connsiteY8" fmla="*/ 763616 h 4924135"/>
                <a:gd name="connsiteX9" fmla="*/ 1230910 w 1230910"/>
                <a:gd name="connsiteY9" fmla="*/ 979896 h 4924135"/>
                <a:gd name="connsiteX10" fmla="*/ 1230910 w 1230910"/>
                <a:gd name="connsiteY10" fmla="*/ 979896 h 4924135"/>
                <a:gd name="connsiteX11" fmla="*/ 644551 w 1230910"/>
                <a:gd name="connsiteY11" fmla="*/ 979896 h 4924135"/>
                <a:gd name="connsiteX12" fmla="*/ 404774 w 1230910"/>
                <a:gd name="connsiteY12" fmla="*/ 1219673 h 4924135"/>
                <a:gd name="connsiteX13" fmla="*/ 368198 w 1230910"/>
                <a:gd name="connsiteY13" fmla="*/ 3643976 h 4924135"/>
                <a:gd name="connsiteX14" fmla="*/ 380518 w 1230910"/>
                <a:gd name="connsiteY14" fmla="*/ 4924135 h 4924135"/>
                <a:gd name="connsiteX15" fmla="*/ 274144 w 1230910"/>
                <a:gd name="connsiteY15" fmla="*/ 3658662 h 4924135"/>
                <a:gd name="connsiteX16" fmla="*/ 270790 w 1230910"/>
                <a:gd name="connsiteY16" fmla="*/ 2742533 h 4924135"/>
                <a:gd name="connsiteX17" fmla="*/ 170842 w 1230910"/>
                <a:gd name="connsiteY17" fmla="*/ 2580483 h 4924135"/>
                <a:gd name="connsiteX0" fmla="*/ 170842 w 1230910"/>
                <a:gd name="connsiteY0" fmla="*/ 2580483 h 3868108"/>
                <a:gd name="connsiteX1" fmla="*/ 169571 w 1230910"/>
                <a:gd name="connsiteY1" fmla="*/ 1873572 h 3868108"/>
                <a:gd name="connsiteX2" fmla="*/ 0 w 1230910"/>
                <a:gd name="connsiteY2" fmla="*/ 1640630 h 3868108"/>
                <a:gd name="connsiteX3" fmla="*/ 5614 w 1230910"/>
                <a:gd name="connsiteY3" fmla="*/ 1438 h 3868108"/>
                <a:gd name="connsiteX4" fmla="*/ 477023 w 1230910"/>
                <a:gd name="connsiteY4" fmla="*/ 0 h 3868108"/>
                <a:gd name="connsiteX5" fmla="*/ 471456 w 1230910"/>
                <a:gd name="connsiteY5" fmla="*/ 559874 h 3868108"/>
                <a:gd name="connsiteX6" fmla="*/ 644551 w 1230910"/>
                <a:gd name="connsiteY6" fmla="*/ 763616 h 3868108"/>
                <a:gd name="connsiteX7" fmla="*/ 1230910 w 1230910"/>
                <a:gd name="connsiteY7" fmla="*/ 763616 h 3868108"/>
                <a:gd name="connsiteX8" fmla="*/ 1230910 w 1230910"/>
                <a:gd name="connsiteY8" fmla="*/ 763616 h 3868108"/>
                <a:gd name="connsiteX9" fmla="*/ 1230910 w 1230910"/>
                <a:gd name="connsiteY9" fmla="*/ 979896 h 3868108"/>
                <a:gd name="connsiteX10" fmla="*/ 1230910 w 1230910"/>
                <a:gd name="connsiteY10" fmla="*/ 979896 h 3868108"/>
                <a:gd name="connsiteX11" fmla="*/ 644551 w 1230910"/>
                <a:gd name="connsiteY11" fmla="*/ 979896 h 3868108"/>
                <a:gd name="connsiteX12" fmla="*/ 404774 w 1230910"/>
                <a:gd name="connsiteY12" fmla="*/ 1219673 h 3868108"/>
                <a:gd name="connsiteX13" fmla="*/ 368198 w 1230910"/>
                <a:gd name="connsiteY13" fmla="*/ 3643976 h 3868108"/>
                <a:gd name="connsiteX14" fmla="*/ 274144 w 1230910"/>
                <a:gd name="connsiteY14" fmla="*/ 3658662 h 3868108"/>
                <a:gd name="connsiteX15" fmla="*/ 270790 w 1230910"/>
                <a:gd name="connsiteY15" fmla="*/ 2742533 h 3868108"/>
                <a:gd name="connsiteX16" fmla="*/ 170842 w 1230910"/>
                <a:gd name="connsiteY16" fmla="*/ 2580483 h 3868108"/>
                <a:gd name="connsiteX0" fmla="*/ 170842 w 1230910"/>
                <a:gd name="connsiteY0" fmla="*/ 2580483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368198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70842 w 1230910"/>
                <a:gd name="connsiteY16" fmla="*/ 2580483 h 3658662"/>
                <a:gd name="connsiteX0" fmla="*/ 170842 w 1230910"/>
                <a:gd name="connsiteY0" fmla="*/ 2580483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13918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70842 w 1230910"/>
                <a:gd name="connsiteY16" fmla="*/ 2580483 h 3658662"/>
                <a:gd name="connsiteX0" fmla="*/ 170842 w 1230910"/>
                <a:gd name="connsiteY0" fmla="*/ 2580483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4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70842 w 1230910"/>
                <a:gd name="connsiteY16" fmla="*/ 2580483 h 3658662"/>
                <a:gd name="connsiteX0" fmla="*/ 161698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4 w 1230910"/>
                <a:gd name="connsiteY13" fmla="*/ 3643976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61698 w 1230910"/>
                <a:gd name="connsiteY16" fmla="*/ 2562195 h 3658662"/>
                <a:gd name="connsiteX0" fmla="*/ 161698 w 1230910"/>
                <a:gd name="connsiteY0" fmla="*/ 2562195 h 3674121"/>
                <a:gd name="connsiteX1" fmla="*/ 169571 w 1230910"/>
                <a:gd name="connsiteY1" fmla="*/ 1873572 h 3674121"/>
                <a:gd name="connsiteX2" fmla="*/ 0 w 1230910"/>
                <a:gd name="connsiteY2" fmla="*/ 1640630 h 3674121"/>
                <a:gd name="connsiteX3" fmla="*/ 5614 w 1230910"/>
                <a:gd name="connsiteY3" fmla="*/ 1438 h 3674121"/>
                <a:gd name="connsiteX4" fmla="*/ 477023 w 1230910"/>
                <a:gd name="connsiteY4" fmla="*/ 0 h 3674121"/>
                <a:gd name="connsiteX5" fmla="*/ 471456 w 1230910"/>
                <a:gd name="connsiteY5" fmla="*/ 559874 h 3674121"/>
                <a:gd name="connsiteX6" fmla="*/ 644551 w 1230910"/>
                <a:gd name="connsiteY6" fmla="*/ 763616 h 3674121"/>
                <a:gd name="connsiteX7" fmla="*/ 1230910 w 1230910"/>
                <a:gd name="connsiteY7" fmla="*/ 763616 h 3674121"/>
                <a:gd name="connsiteX8" fmla="*/ 1230910 w 1230910"/>
                <a:gd name="connsiteY8" fmla="*/ 763616 h 3674121"/>
                <a:gd name="connsiteX9" fmla="*/ 1230910 w 1230910"/>
                <a:gd name="connsiteY9" fmla="*/ 979896 h 3674121"/>
                <a:gd name="connsiteX10" fmla="*/ 1230910 w 1230910"/>
                <a:gd name="connsiteY10" fmla="*/ 979896 h 3674121"/>
                <a:gd name="connsiteX11" fmla="*/ 644551 w 1230910"/>
                <a:gd name="connsiteY11" fmla="*/ 979896 h 3674121"/>
                <a:gd name="connsiteX12" fmla="*/ 404774 w 1230910"/>
                <a:gd name="connsiteY12" fmla="*/ 1219673 h 3674121"/>
                <a:gd name="connsiteX13" fmla="*/ 409798 w 1230910"/>
                <a:gd name="connsiteY13" fmla="*/ 3674121 h 3674121"/>
                <a:gd name="connsiteX14" fmla="*/ 274144 w 1230910"/>
                <a:gd name="connsiteY14" fmla="*/ 3658662 h 3674121"/>
                <a:gd name="connsiteX15" fmla="*/ 270790 w 1230910"/>
                <a:gd name="connsiteY15" fmla="*/ 2742533 h 3674121"/>
                <a:gd name="connsiteX16" fmla="*/ 161698 w 1230910"/>
                <a:gd name="connsiteY16" fmla="*/ 2562195 h 3674121"/>
                <a:gd name="connsiteX0" fmla="*/ 161698 w 1230910"/>
                <a:gd name="connsiteY0" fmla="*/ 2562195 h 3669097"/>
                <a:gd name="connsiteX1" fmla="*/ 169571 w 1230910"/>
                <a:gd name="connsiteY1" fmla="*/ 1873572 h 3669097"/>
                <a:gd name="connsiteX2" fmla="*/ 0 w 1230910"/>
                <a:gd name="connsiteY2" fmla="*/ 1640630 h 3669097"/>
                <a:gd name="connsiteX3" fmla="*/ 5614 w 1230910"/>
                <a:gd name="connsiteY3" fmla="*/ 1438 h 3669097"/>
                <a:gd name="connsiteX4" fmla="*/ 477023 w 1230910"/>
                <a:gd name="connsiteY4" fmla="*/ 0 h 3669097"/>
                <a:gd name="connsiteX5" fmla="*/ 471456 w 1230910"/>
                <a:gd name="connsiteY5" fmla="*/ 559874 h 3669097"/>
                <a:gd name="connsiteX6" fmla="*/ 644551 w 1230910"/>
                <a:gd name="connsiteY6" fmla="*/ 763616 h 3669097"/>
                <a:gd name="connsiteX7" fmla="*/ 1230910 w 1230910"/>
                <a:gd name="connsiteY7" fmla="*/ 763616 h 3669097"/>
                <a:gd name="connsiteX8" fmla="*/ 1230910 w 1230910"/>
                <a:gd name="connsiteY8" fmla="*/ 763616 h 3669097"/>
                <a:gd name="connsiteX9" fmla="*/ 1230910 w 1230910"/>
                <a:gd name="connsiteY9" fmla="*/ 979896 h 3669097"/>
                <a:gd name="connsiteX10" fmla="*/ 1230910 w 1230910"/>
                <a:gd name="connsiteY10" fmla="*/ 979896 h 3669097"/>
                <a:gd name="connsiteX11" fmla="*/ 644551 w 1230910"/>
                <a:gd name="connsiteY11" fmla="*/ 979896 h 3669097"/>
                <a:gd name="connsiteX12" fmla="*/ 404774 w 1230910"/>
                <a:gd name="connsiteY12" fmla="*/ 1219673 h 3669097"/>
                <a:gd name="connsiteX13" fmla="*/ 409798 w 1230910"/>
                <a:gd name="connsiteY13" fmla="*/ 3669097 h 3669097"/>
                <a:gd name="connsiteX14" fmla="*/ 274144 w 1230910"/>
                <a:gd name="connsiteY14" fmla="*/ 3658662 h 3669097"/>
                <a:gd name="connsiteX15" fmla="*/ 270790 w 1230910"/>
                <a:gd name="connsiteY15" fmla="*/ 2742533 h 3669097"/>
                <a:gd name="connsiteX16" fmla="*/ 161698 w 1230910"/>
                <a:gd name="connsiteY16" fmla="*/ 2562195 h 3669097"/>
                <a:gd name="connsiteX0" fmla="*/ 161698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274144 w 1230910"/>
                <a:gd name="connsiteY14" fmla="*/ 3658662 h 3658662"/>
                <a:gd name="connsiteX15" fmla="*/ 270790 w 1230910"/>
                <a:gd name="connsiteY15" fmla="*/ 2742533 h 3658662"/>
                <a:gd name="connsiteX16" fmla="*/ 161698 w 1230910"/>
                <a:gd name="connsiteY16" fmla="*/ 2562195 h 3658662"/>
                <a:gd name="connsiteX0" fmla="*/ 161698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1698 w 1230910"/>
                <a:gd name="connsiteY17" fmla="*/ 2562195 h 3658662"/>
                <a:gd name="connsiteX0" fmla="*/ 156674 w 1230910"/>
                <a:gd name="connsiteY0" fmla="*/ 2562195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56674 w 1230910"/>
                <a:gd name="connsiteY17" fmla="*/ 2562195 h 3658662"/>
                <a:gd name="connsiteX0" fmla="*/ 176770 w 1230910"/>
                <a:gd name="connsiteY0" fmla="*/ 2557171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76770 w 1230910"/>
                <a:gd name="connsiteY17" fmla="*/ 2557171 h 3658662"/>
                <a:gd name="connsiteX0" fmla="*/ 166722 w 1230910"/>
                <a:gd name="connsiteY0" fmla="*/ 2567220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77023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6722 w 1230910"/>
                <a:gd name="connsiteY17" fmla="*/ 2567220 h 3658662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77023 w 1230910"/>
                <a:gd name="connsiteY4" fmla="*/ 18659 h 3657224"/>
                <a:gd name="connsiteX5" fmla="*/ 471456 w 1230910"/>
                <a:gd name="connsiteY5" fmla="*/ 5584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61950 w 1230910"/>
                <a:gd name="connsiteY4" fmla="*/ 8610 h 3657224"/>
                <a:gd name="connsiteX5" fmla="*/ 471456 w 1230910"/>
                <a:gd name="connsiteY5" fmla="*/ 5584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7220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61950 w 1230910"/>
                <a:gd name="connsiteY4" fmla="*/ 0 h 3658662"/>
                <a:gd name="connsiteX5" fmla="*/ 471456 w 1230910"/>
                <a:gd name="connsiteY5" fmla="*/ 5598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6722 w 1230910"/>
                <a:gd name="connsiteY17" fmla="*/ 2567220 h 3658662"/>
                <a:gd name="connsiteX0" fmla="*/ 166722 w 1230910"/>
                <a:gd name="connsiteY0" fmla="*/ 2567220 h 3658662"/>
                <a:gd name="connsiteX1" fmla="*/ 169571 w 1230910"/>
                <a:gd name="connsiteY1" fmla="*/ 1873572 h 3658662"/>
                <a:gd name="connsiteX2" fmla="*/ 0 w 1230910"/>
                <a:gd name="connsiteY2" fmla="*/ 1640630 h 3658662"/>
                <a:gd name="connsiteX3" fmla="*/ 5614 w 1230910"/>
                <a:gd name="connsiteY3" fmla="*/ 1438 h 3658662"/>
                <a:gd name="connsiteX4" fmla="*/ 461950 w 1230910"/>
                <a:gd name="connsiteY4" fmla="*/ 0 h 3658662"/>
                <a:gd name="connsiteX5" fmla="*/ 471456 w 1230910"/>
                <a:gd name="connsiteY5" fmla="*/ 597974 h 3658662"/>
                <a:gd name="connsiteX6" fmla="*/ 644551 w 1230910"/>
                <a:gd name="connsiteY6" fmla="*/ 763616 h 3658662"/>
                <a:gd name="connsiteX7" fmla="*/ 1230910 w 1230910"/>
                <a:gd name="connsiteY7" fmla="*/ 763616 h 3658662"/>
                <a:gd name="connsiteX8" fmla="*/ 1230910 w 1230910"/>
                <a:gd name="connsiteY8" fmla="*/ 763616 h 3658662"/>
                <a:gd name="connsiteX9" fmla="*/ 1230910 w 1230910"/>
                <a:gd name="connsiteY9" fmla="*/ 979896 h 3658662"/>
                <a:gd name="connsiteX10" fmla="*/ 1230910 w 1230910"/>
                <a:gd name="connsiteY10" fmla="*/ 979896 h 3658662"/>
                <a:gd name="connsiteX11" fmla="*/ 644551 w 1230910"/>
                <a:gd name="connsiteY11" fmla="*/ 979896 h 3658662"/>
                <a:gd name="connsiteX12" fmla="*/ 404774 w 1230910"/>
                <a:gd name="connsiteY12" fmla="*/ 1219673 h 3658662"/>
                <a:gd name="connsiteX13" fmla="*/ 404773 w 1230910"/>
                <a:gd name="connsiteY13" fmla="*/ 3649001 h 3658662"/>
                <a:gd name="connsiteX14" fmla="*/ 342736 w 1230910"/>
                <a:gd name="connsiteY14" fmla="*/ 3611620 h 3658662"/>
                <a:gd name="connsiteX15" fmla="*/ 274144 w 1230910"/>
                <a:gd name="connsiteY15" fmla="*/ 3658662 h 3658662"/>
                <a:gd name="connsiteX16" fmla="*/ 270790 w 1230910"/>
                <a:gd name="connsiteY16" fmla="*/ 2742533 h 3658662"/>
                <a:gd name="connsiteX17" fmla="*/ 166722 w 1230910"/>
                <a:gd name="connsiteY17" fmla="*/ 2567220 h 3658662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69570 w 1230910"/>
                <a:gd name="connsiteY4" fmla="*/ 2372 h 3657224"/>
                <a:gd name="connsiteX5" fmla="*/ 471456 w 1230910"/>
                <a:gd name="connsiteY5" fmla="*/ 5965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473380 w 1230910"/>
                <a:gd name="connsiteY4" fmla="*/ 6182 h 3657224"/>
                <a:gd name="connsiteX5" fmla="*/ 471456 w 1230910"/>
                <a:gd name="connsiteY5" fmla="*/ 596536 h 3657224"/>
                <a:gd name="connsiteX6" fmla="*/ 644551 w 1230910"/>
                <a:gd name="connsiteY6" fmla="*/ 762178 h 3657224"/>
                <a:gd name="connsiteX7" fmla="*/ 1230910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978458 h 3657224"/>
                <a:gd name="connsiteX10" fmla="*/ 1230910 w 1230910"/>
                <a:gd name="connsiteY10" fmla="*/ 978458 h 3657224"/>
                <a:gd name="connsiteX11" fmla="*/ 644551 w 1230910"/>
                <a:gd name="connsiteY11" fmla="*/ 978458 h 3657224"/>
                <a:gd name="connsiteX12" fmla="*/ 404774 w 1230910"/>
                <a:gd name="connsiteY12" fmla="*/ 1218235 h 3657224"/>
                <a:gd name="connsiteX13" fmla="*/ 404773 w 1230910"/>
                <a:gd name="connsiteY13" fmla="*/ 3647563 h 3657224"/>
                <a:gd name="connsiteX14" fmla="*/ 342736 w 1230910"/>
                <a:gd name="connsiteY14" fmla="*/ 3610182 h 3657224"/>
                <a:gd name="connsiteX15" fmla="*/ 274144 w 1230910"/>
                <a:gd name="connsiteY15" fmla="*/ 3657224 h 3657224"/>
                <a:gd name="connsiteX16" fmla="*/ 270790 w 1230910"/>
                <a:gd name="connsiteY16" fmla="*/ 2741095 h 3657224"/>
                <a:gd name="connsiteX17" fmla="*/ 166722 w 1230910"/>
                <a:gd name="connsiteY17" fmla="*/ 2565782 h 3657224"/>
                <a:gd name="connsiteX0" fmla="*/ 166722 w 1230910"/>
                <a:gd name="connsiteY0" fmla="*/ 2565782 h 3657224"/>
                <a:gd name="connsiteX1" fmla="*/ 169571 w 1230910"/>
                <a:gd name="connsiteY1" fmla="*/ 1872134 h 3657224"/>
                <a:gd name="connsiteX2" fmla="*/ 0 w 1230910"/>
                <a:gd name="connsiteY2" fmla="*/ 1639192 h 3657224"/>
                <a:gd name="connsiteX3" fmla="*/ 5614 w 1230910"/>
                <a:gd name="connsiteY3" fmla="*/ 0 h 3657224"/>
                <a:gd name="connsiteX4" fmla="*/ 196114 w 1230910"/>
                <a:gd name="connsiteY4" fmla="*/ 31420 h 3657224"/>
                <a:gd name="connsiteX5" fmla="*/ 473380 w 1230910"/>
                <a:gd name="connsiteY5" fmla="*/ 6182 h 3657224"/>
                <a:gd name="connsiteX6" fmla="*/ 471456 w 1230910"/>
                <a:gd name="connsiteY6" fmla="*/ 596536 h 3657224"/>
                <a:gd name="connsiteX7" fmla="*/ 644551 w 1230910"/>
                <a:gd name="connsiteY7" fmla="*/ 762178 h 3657224"/>
                <a:gd name="connsiteX8" fmla="*/ 1230910 w 1230910"/>
                <a:gd name="connsiteY8" fmla="*/ 762178 h 3657224"/>
                <a:gd name="connsiteX9" fmla="*/ 1230910 w 1230910"/>
                <a:gd name="connsiteY9" fmla="*/ 762178 h 3657224"/>
                <a:gd name="connsiteX10" fmla="*/ 1230910 w 1230910"/>
                <a:gd name="connsiteY10" fmla="*/ 978458 h 3657224"/>
                <a:gd name="connsiteX11" fmla="*/ 1230910 w 1230910"/>
                <a:gd name="connsiteY11" fmla="*/ 978458 h 3657224"/>
                <a:gd name="connsiteX12" fmla="*/ 644551 w 1230910"/>
                <a:gd name="connsiteY12" fmla="*/ 978458 h 3657224"/>
                <a:gd name="connsiteX13" fmla="*/ 404774 w 1230910"/>
                <a:gd name="connsiteY13" fmla="*/ 1218235 h 3657224"/>
                <a:gd name="connsiteX14" fmla="*/ 404773 w 1230910"/>
                <a:gd name="connsiteY14" fmla="*/ 3647563 h 3657224"/>
                <a:gd name="connsiteX15" fmla="*/ 342736 w 1230910"/>
                <a:gd name="connsiteY15" fmla="*/ 3610182 h 3657224"/>
                <a:gd name="connsiteX16" fmla="*/ 274144 w 1230910"/>
                <a:gd name="connsiteY16" fmla="*/ 3657224 h 3657224"/>
                <a:gd name="connsiteX17" fmla="*/ 270790 w 1230910"/>
                <a:gd name="connsiteY17" fmla="*/ 2741095 h 3657224"/>
                <a:gd name="connsiteX18" fmla="*/ 166722 w 1230910"/>
                <a:gd name="connsiteY18" fmla="*/ 2565782 h 3657224"/>
                <a:gd name="connsiteX0" fmla="*/ 166722 w 1230910"/>
                <a:gd name="connsiteY0" fmla="*/ 2572462 h 3663904"/>
                <a:gd name="connsiteX1" fmla="*/ 169571 w 1230910"/>
                <a:gd name="connsiteY1" fmla="*/ 1878814 h 3663904"/>
                <a:gd name="connsiteX2" fmla="*/ 0 w 1230910"/>
                <a:gd name="connsiteY2" fmla="*/ 1645872 h 3663904"/>
                <a:gd name="connsiteX3" fmla="*/ 5614 w 1230910"/>
                <a:gd name="connsiteY3" fmla="*/ 6680 h 3663904"/>
                <a:gd name="connsiteX4" fmla="*/ 196114 w 1230910"/>
                <a:gd name="connsiteY4" fmla="*/ 38100 h 3663904"/>
                <a:gd name="connsiteX5" fmla="*/ 310414 w 1230910"/>
                <a:gd name="connsiteY5" fmla="*/ 0 h 3663904"/>
                <a:gd name="connsiteX6" fmla="*/ 473380 w 1230910"/>
                <a:gd name="connsiteY6" fmla="*/ 12862 h 3663904"/>
                <a:gd name="connsiteX7" fmla="*/ 471456 w 1230910"/>
                <a:gd name="connsiteY7" fmla="*/ 603216 h 3663904"/>
                <a:gd name="connsiteX8" fmla="*/ 644551 w 1230910"/>
                <a:gd name="connsiteY8" fmla="*/ 768858 h 3663904"/>
                <a:gd name="connsiteX9" fmla="*/ 1230910 w 1230910"/>
                <a:gd name="connsiteY9" fmla="*/ 768858 h 3663904"/>
                <a:gd name="connsiteX10" fmla="*/ 1230910 w 1230910"/>
                <a:gd name="connsiteY10" fmla="*/ 768858 h 3663904"/>
                <a:gd name="connsiteX11" fmla="*/ 1230910 w 1230910"/>
                <a:gd name="connsiteY11" fmla="*/ 985138 h 3663904"/>
                <a:gd name="connsiteX12" fmla="*/ 1230910 w 1230910"/>
                <a:gd name="connsiteY12" fmla="*/ 985138 h 3663904"/>
                <a:gd name="connsiteX13" fmla="*/ 644551 w 1230910"/>
                <a:gd name="connsiteY13" fmla="*/ 985138 h 3663904"/>
                <a:gd name="connsiteX14" fmla="*/ 404774 w 1230910"/>
                <a:gd name="connsiteY14" fmla="*/ 1224915 h 3663904"/>
                <a:gd name="connsiteX15" fmla="*/ 404773 w 1230910"/>
                <a:gd name="connsiteY15" fmla="*/ 3654243 h 3663904"/>
                <a:gd name="connsiteX16" fmla="*/ 342736 w 1230910"/>
                <a:gd name="connsiteY16" fmla="*/ 3616862 h 3663904"/>
                <a:gd name="connsiteX17" fmla="*/ 274144 w 1230910"/>
                <a:gd name="connsiteY17" fmla="*/ 3663904 h 3663904"/>
                <a:gd name="connsiteX18" fmla="*/ 270790 w 1230910"/>
                <a:gd name="connsiteY18" fmla="*/ 2747775 h 3663904"/>
                <a:gd name="connsiteX19" fmla="*/ 166722 w 1230910"/>
                <a:gd name="connsiteY19" fmla="*/ 2572462 h 3663904"/>
                <a:gd name="connsiteX0" fmla="*/ 166722 w 1486407"/>
                <a:gd name="connsiteY0" fmla="*/ 2572462 h 3663904"/>
                <a:gd name="connsiteX1" fmla="*/ 169571 w 1486407"/>
                <a:gd name="connsiteY1" fmla="*/ 1878814 h 3663904"/>
                <a:gd name="connsiteX2" fmla="*/ 0 w 1486407"/>
                <a:gd name="connsiteY2" fmla="*/ 1645872 h 3663904"/>
                <a:gd name="connsiteX3" fmla="*/ 5614 w 1486407"/>
                <a:gd name="connsiteY3" fmla="*/ 6680 h 3663904"/>
                <a:gd name="connsiteX4" fmla="*/ 196114 w 1486407"/>
                <a:gd name="connsiteY4" fmla="*/ 38100 h 3663904"/>
                <a:gd name="connsiteX5" fmla="*/ 310414 w 1486407"/>
                <a:gd name="connsiteY5" fmla="*/ 0 h 3663904"/>
                <a:gd name="connsiteX6" fmla="*/ 473380 w 1486407"/>
                <a:gd name="connsiteY6" fmla="*/ 12862 h 3663904"/>
                <a:gd name="connsiteX7" fmla="*/ 471456 w 1486407"/>
                <a:gd name="connsiteY7" fmla="*/ 603216 h 3663904"/>
                <a:gd name="connsiteX8" fmla="*/ 644551 w 1486407"/>
                <a:gd name="connsiteY8" fmla="*/ 768858 h 3663904"/>
                <a:gd name="connsiteX9" fmla="*/ 1230910 w 1486407"/>
                <a:gd name="connsiteY9" fmla="*/ 768858 h 3663904"/>
                <a:gd name="connsiteX10" fmla="*/ 1230910 w 1486407"/>
                <a:gd name="connsiteY10" fmla="*/ 768858 h 3663904"/>
                <a:gd name="connsiteX11" fmla="*/ 1230910 w 1486407"/>
                <a:gd name="connsiteY11" fmla="*/ 985138 h 3663904"/>
                <a:gd name="connsiteX12" fmla="*/ 1486407 w 1486407"/>
                <a:gd name="connsiteY12" fmla="*/ 990816 h 3663904"/>
                <a:gd name="connsiteX13" fmla="*/ 644551 w 1486407"/>
                <a:gd name="connsiteY13" fmla="*/ 985138 h 3663904"/>
                <a:gd name="connsiteX14" fmla="*/ 404774 w 1486407"/>
                <a:gd name="connsiteY14" fmla="*/ 1224915 h 3663904"/>
                <a:gd name="connsiteX15" fmla="*/ 404773 w 1486407"/>
                <a:gd name="connsiteY15" fmla="*/ 3654243 h 3663904"/>
                <a:gd name="connsiteX16" fmla="*/ 342736 w 1486407"/>
                <a:gd name="connsiteY16" fmla="*/ 3616862 h 3663904"/>
                <a:gd name="connsiteX17" fmla="*/ 274144 w 1486407"/>
                <a:gd name="connsiteY17" fmla="*/ 3663904 h 3663904"/>
                <a:gd name="connsiteX18" fmla="*/ 270790 w 1486407"/>
                <a:gd name="connsiteY18" fmla="*/ 2747775 h 3663904"/>
                <a:gd name="connsiteX19" fmla="*/ 166722 w 1486407"/>
                <a:gd name="connsiteY19" fmla="*/ 2572462 h 3663904"/>
                <a:gd name="connsiteX0" fmla="*/ 166722 w 1486407"/>
                <a:gd name="connsiteY0" fmla="*/ 2572462 h 3663904"/>
                <a:gd name="connsiteX1" fmla="*/ 169571 w 1486407"/>
                <a:gd name="connsiteY1" fmla="*/ 1878814 h 3663904"/>
                <a:gd name="connsiteX2" fmla="*/ 0 w 1486407"/>
                <a:gd name="connsiteY2" fmla="*/ 1645872 h 3663904"/>
                <a:gd name="connsiteX3" fmla="*/ 5614 w 1486407"/>
                <a:gd name="connsiteY3" fmla="*/ 6680 h 3663904"/>
                <a:gd name="connsiteX4" fmla="*/ 196114 w 1486407"/>
                <a:gd name="connsiteY4" fmla="*/ 38100 h 3663904"/>
                <a:gd name="connsiteX5" fmla="*/ 310414 w 1486407"/>
                <a:gd name="connsiteY5" fmla="*/ 0 h 3663904"/>
                <a:gd name="connsiteX6" fmla="*/ 473380 w 1486407"/>
                <a:gd name="connsiteY6" fmla="*/ 12862 h 3663904"/>
                <a:gd name="connsiteX7" fmla="*/ 471456 w 1486407"/>
                <a:gd name="connsiteY7" fmla="*/ 603216 h 3663904"/>
                <a:gd name="connsiteX8" fmla="*/ 644551 w 1486407"/>
                <a:gd name="connsiteY8" fmla="*/ 768858 h 3663904"/>
                <a:gd name="connsiteX9" fmla="*/ 1230910 w 1486407"/>
                <a:gd name="connsiteY9" fmla="*/ 768858 h 3663904"/>
                <a:gd name="connsiteX10" fmla="*/ 1230910 w 1486407"/>
                <a:gd name="connsiteY10" fmla="*/ 768858 h 3663904"/>
                <a:gd name="connsiteX11" fmla="*/ 1486407 w 1486407"/>
                <a:gd name="connsiteY11" fmla="*/ 990816 h 3663904"/>
                <a:gd name="connsiteX12" fmla="*/ 644551 w 1486407"/>
                <a:gd name="connsiteY12" fmla="*/ 985138 h 3663904"/>
                <a:gd name="connsiteX13" fmla="*/ 404774 w 1486407"/>
                <a:gd name="connsiteY13" fmla="*/ 1224915 h 3663904"/>
                <a:gd name="connsiteX14" fmla="*/ 404773 w 1486407"/>
                <a:gd name="connsiteY14" fmla="*/ 3654243 h 3663904"/>
                <a:gd name="connsiteX15" fmla="*/ 342736 w 1486407"/>
                <a:gd name="connsiteY15" fmla="*/ 3616862 h 3663904"/>
                <a:gd name="connsiteX16" fmla="*/ 274144 w 1486407"/>
                <a:gd name="connsiteY16" fmla="*/ 3663904 h 3663904"/>
                <a:gd name="connsiteX17" fmla="*/ 270790 w 1486407"/>
                <a:gd name="connsiteY17" fmla="*/ 2747775 h 3663904"/>
                <a:gd name="connsiteX18" fmla="*/ 166722 w 1486407"/>
                <a:gd name="connsiteY18" fmla="*/ 2572462 h 3663904"/>
                <a:gd name="connsiteX0" fmla="*/ 166722 w 1543184"/>
                <a:gd name="connsiteY0" fmla="*/ 2572462 h 3663904"/>
                <a:gd name="connsiteX1" fmla="*/ 169571 w 1543184"/>
                <a:gd name="connsiteY1" fmla="*/ 1878814 h 3663904"/>
                <a:gd name="connsiteX2" fmla="*/ 0 w 1543184"/>
                <a:gd name="connsiteY2" fmla="*/ 1645872 h 3663904"/>
                <a:gd name="connsiteX3" fmla="*/ 5614 w 1543184"/>
                <a:gd name="connsiteY3" fmla="*/ 6680 h 3663904"/>
                <a:gd name="connsiteX4" fmla="*/ 196114 w 1543184"/>
                <a:gd name="connsiteY4" fmla="*/ 38100 h 3663904"/>
                <a:gd name="connsiteX5" fmla="*/ 310414 w 1543184"/>
                <a:gd name="connsiteY5" fmla="*/ 0 h 3663904"/>
                <a:gd name="connsiteX6" fmla="*/ 473380 w 1543184"/>
                <a:gd name="connsiteY6" fmla="*/ 12862 h 3663904"/>
                <a:gd name="connsiteX7" fmla="*/ 471456 w 1543184"/>
                <a:gd name="connsiteY7" fmla="*/ 603216 h 3663904"/>
                <a:gd name="connsiteX8" fmla="*/ 644551 w 1543184"/>
                <a:gd name="connsiteY8" fmla="*/ 768858 h 3663904"/>
                <a:gd name="connsiteX9" fmla="*/ 1230910 w 1543184"/>
                <a:gd name="connsiteY9" fmla="*/ 768858 h 3663904"/>
                <a:gd name="connsiteX10" fmla="*/ 1543184 w 1543184"/>
                <a:gd name="connsiteY10" fmla="*/ 780213 h 3663904"/>
                <a:gd name="connsiteX11" fmla="*/ 1486407 w 1543184"/>
                <a:gd name="connsiteY11" fmla="*/ 990816 h 3663904"/>
                <a:gd name="connsiteX12" fmla="*/ 644551 w 1543184"/>
                <a:gd name="connsiteY12" fmla="*/ 985138 h 3663904"/>
                <a:gd name="connsiteX13" fmla="*/ 404774 w 1543184"/>
                <a:gd name="connsiteY13" fmla="*/ 1224915 h 3663904"/>
                <a:gd name="connsiteX14" fmla="*/ 404773 w 1543184"/>
                <a:gd name="connsiteY14" fmla="*/ 3654243 h 3663904"/>
                <a:gd name="connsiteX15" fmla="*/ 342736 w 1543184"/>
                <a:gd name="connsiteY15" fmla="*/ 3616862 h 3663904"/>
                <a:gd name="connsiteX16" fmla="*/ 274144 w 1543184"/>
                <a:gd name="connsiteY16" fmla="*/ 3663904 h 3663904"/>
                <a:gd name="connsiteX17" fmla="*/ 270790 w 1543184"/>
                <a:gd name="connsiteY17" fmla="*/ 2747775 h 3663904"/>
                <a:gd name="connsiteX18" fmla="*/ 166722 w 1543184"/>
                <a:gd name="connsiteY18" fmla="*/ 2572462 h 3663904"/>
                <a:gd name="connsiteX0" fmla="*/ 166722 w 1543184"/>
                <a:gd name="connsiteY0" fmla="*/ 2572462 h 3663904"/>
                <a:gd name="connsiteX1" fmla="*/ 169571 w 1543184"/>
                <a:gd name="connsiteY1" fmla="*/ 1878814 h 3663904"/>
                <a:gd name="connsiteX2" fmla="*/ 0 w 1543184"/>
                <a:gd name="connsiteY2" fmla="*/ 1645872 h 3663904"/>
                <a:gd name="connsiteX3" fmla="*/ 5614 w 1543184"/>
                <a:gd name="connsiteY3" fmla="*/ 6680 h 3663904"/>
                <a:gd name="connsiteX4" fmla="*/ 196114 w 1543184"/>
                <a:gd name="connsiteY4" fmla="*/ 38100 h 3663904"/>
                <a:gd name="connsiteX5" fmla="*/ 310414 w 1543184"/>
                <a:gd name="connsiteY5" fmla="*/ 0 h 3663904"/>
                <a:gd name="connsiteX6" fmla="*/ 473380 w 1543184"/>
                <a:gd name="connsiteY6" fmla="*/ 12862 h 3663904"/>
                <a:gd name="connsiteX7" fmla="*/ 471456 w 1543184"/>
                <a:gd name="connsiteY7" fmla="*/ 603216 h 3663904"/>
                <a:gd name="connsiteX8" fmla="*/ 644551 w 1543184"/>
                <a:gd name="connsiteY8" fmla="*/ 768858 h 3663904"/>
                <a:gd name="connsiteX9" fmla="*/ 1230910 w 1543184"/>
                <a:gd name="connsiteY9" fmla="*/ 768858 h 3663904"/>
                <a:gd name="connsiteX10" fmla="*/ 1543184 w 1543184"/>
                <a:gd name="connsiteY10" fmla="*/ 780213 h 3663904"/>
                <a:gd name="connsiteX11" fmla="*/ 1537506 w 1543184"/>
                <a:gd name="connsiteY11" fmla="*/ 985138 h 3663904"/>
                <a:gd name="connsiteX12" fmla="*/ 644551 w 1543184"/>
                <a:gd name="connsiteY12" fmla="*/ 985138 h 3663904"/>
                <a:gd name="connsiteX13" fmla="*/ 404774 w 1543184"/>
                <a:gd name="connsiteY13" fmla="*/ 1224915 h 3663904"/>
                <a:gd name="connsiteX14" fmla="*/ 404773 w 1543184"/>
                <a:gd name="connsiteY14" fmla="*/ 3654243 h 3663904"/>
                <a:gd name="connsiteX15" fmla="*/ 342736 w 1543184"/>
                <a:gd name="connsiteY15" fmla="*/ 3616862 h 3663904"/>
                <a:gd name="connsiteX16" fmla="*/ 274144 w 1543184"/>
                <a:gd name="connsiteY16" fmla="*/ 3663904 h 3663904"/>
                <a:gd name="connsiteX17" fmla="*/ 270790 w 1543184"/>
                <a:gd name="connsiteY17" fmla="*/ 2747775 h 3663904"/>
                <a:gd name="connsiteX18" fmla="*/ 166722 w 1543184"/>
                <a:gd name="connsiteY18" fmla="*/ 2572462 h 3663904"/>
                <a:gd name="connsiteX0" fmla="*/ 166722 w 1543184"/>
                <a:gd name="connsiteY0" fmla="*/ 2572462 h 3663904"/>
                <a:gd name="connsiteX1" fmla="*/ 169571 w 1543184"/>
                <a:gd name="connsiteY1" fmla="*/ 1878814 h 3663904"/>
                <a:gd name="connsiteX2" fmla="*/ 0 w 1543184"/>
                <a:gd name="connsiteY2" fmla="*/ 1645872 h 3663904"/>
                <a:gd name="connsiteX3" fmla="*/ 5614 w 1543184"/>
                <a:gd name="connsiteY3" fmla="*/ 6680 h 3663904"/>
                <a:gd name="connsiteX4" fmla="*/ 196114 w 1543184"/>
                <a:gd name="connsiteY4" fmla="*/ 38100 h 3663904"/>
                <a:gd name="connsiteX5" fmla="*/ 310414 w 1543184"/>
                <a:gd name="connsiteY5" fmla="*/ 0 h 3663904"/>
                <a:gd name="connsiteX6" fmla="*/ 473380 w 1543184"/>
                <a:gd name="connsiteY6" fmla="*/ 12862 h 3663904"/>
                <a:gd name="connsiteX7" fmla="*/ 471456 w 1543184"/>
                <a:gd name="connsiteY7" fmla="*/ 603216 h 3663904"/>
                <a:gd name="connsiteX8" fmla="*/ 644551 w 1543184"/>
                <a:gd name="connsiteY8" fmla="*/ 768858 h 3663904"/>
                <a:gd name="connsiteX9" fmla="*/ 1543184 w 1543184"/>
                <a:gd name="connsiteY9" fmla="*/ 780213 h 3663904"/>
                <a:gd name="connsiteX10" fmla="*/ 1537506 w 1543184"/>
                <a:gd name="connsiteY10" fmla="*/ 985138 h 3663904"/>
                <a:gd name="connsiteX11" fmla="*/ 644551 w 1543184"/>
                <a:gd name="connsiteY11" fmla="*/ 985138 h 3663904"/>
                <a:gd name="connsiteX12" fmla="*/ 404774 w 1543184"/>
                <a:gd name="connsiteY12" fmla="*/ 1224915 h 3663904"/>
                <a:gd name="connsiteX13" fmla="*/ 404773 w 1543184"/>
                <a:gd name="connsiteY13" fmla="*/ 3654243 h 3663904"/>
                <a:gd name="connsiteX14" fmla="*/ 342736 w 1543184"/>
                <a:gd name="connsiteY14" fmla="*/ 3616862 h 3663904"/>
                <a:gd name="connsiteX15" fmla="*/ 274144 w 1543184"/>
                <a:gd name="connsiteY15" fmla="*/ 3663904 h 3663904"/>
                <a:gd name="connsiteX16" fmla="*/ 270790 w 1543184"/>
                <a:gd name="connsiteY16" fmla="*/ 2747775 h 3663904"/>
                <a:gd name="connsiteX17" fmla="*/ 166722 w 1543184"/>
                <a:gd name="connsiteY17" fmla="*/ 2572462 h 3663904"/>
                <a:gd name="connsiteX0" fmla="*/ 166722 w 1537506"/>
                <a:gd name="connsiteY0" fmla="*/ 2572462 h 3663904"/>
                <a:gd name="connsiteX1" fmla="*/ 169571 w 1537506"/>
                <a:gd name="connsiteY1" fmla="*/ 1878814 h 3663904"/>
                <a:gd name="connsiteX2" fmla="*/ 0 w 1537506"/>
                <a:gd name="connsiteY2" fmla="*/ 1645872 h 3663904"/>
                <a:gd name="connsiteX3" fmla="*/ 5614 w 1537506"/>
                <a:gd name="connsiteY3" fmla="*/ 6680 h 3663904"/>
                <a:gd name="connsiteX4" fmla="*/ 196114 w 1537506"/>
                <a:gd name="connsiteY4" fmla="*/ 38100 h 3663904"/>
                <a:gd name="connsiteX5" fmla="*/ 310414 w 1537506"/>
                <a:gd name="connsiteY5" fmla="*/ 0 h 3663904"/>
                <a:gd name="connsiteX6" fmla="*/ 473380 w 1537506"/>
                <a:gd name="connsiteY6" fmla="*/ 12862 h 3663904"/>
                <a:gd name="connsiteX7" fmla="*/ 471456 w 1537506"/>
                <a:gd name="connsiteY7" fmla="*/ 603216 h 3663904"/>
                <a:gd name="connsiteX8" fmla="*/ 644551 w 1537506"/>
                <a:gd name="connsiteY8" fmla="*/ 768858 h 3663904"/>
                <a:gd name="connsiteX9" fmla="*/ 1537506 w 1537506"/>
                <a:gd name="connsiteY9" fmla="*/ 768858 h 3663904"/>
                <a:gd name="connsiteX10" fmla="*/ 1537506 w 1537506"/>
                <a:gd name="connsiteY10" fmla="*/ 985138 h 3663904"/>
                <a:gd name="connsiteX11" fmla="*/ 644551 w 1537506"/>
                <a:gd name="connsiteY11" fmla="*/ 985138 h 3663904"/>
                <a:gd name="connsiteX12" fmla="*/ 404774 w 1537506"/>
                <a:gd name="connsiteY12" fmla="*/ 1224915 h 3663904"/>
                <a:gd name="connsiteX13" fmla="*/ 404773 w 1537506"/>
                <a:gd name="connsiteY13" fmla="*/ 3654243 h 3663904"/>
                <a:gd name="connsiteX14" fmla="*/ 342736 w 1537506"/>
                <a:gd name="connsiteY14" fmla="*/ 3616862 h 3663904"/>
                <a:gd name="connsiteX15" fmla="*/ 274144 w 1537506"/>
                <a:gd name="connsiteY15" fmla="*/ 3663904 h 3663904"/>
                <a:gd name="connsiteX16" fmla="*/ 270790 w 1537506"/>
                <a:gd name="connsiteY16" fmla="*/ 2747775 h 3663904"/>
                <a:gd name="connsiteX17" fmla="*/ 166722 w 1537506"/>
                <a:gd name="connsiteY17" fmla="*/ 2572462 h 3663904"/>
                <a:gd name="connsiteX0" fmla="*/ 166722 w 1537506"/>
                <a:gd name="connsiteY0" fmla="*/ 2572462 h 3663904"/>
                <a:gd name="connsiteX1" fmla="*/ 169571 w 1537506"/>
                <a:gd name="connsiteY1" fmla="*/ 1759582 h 3663904"/>
                <a:gd name="connsiteX2" fmla="*/ 0 w 1537506"/>
                <a:gd name="connsiteY2" fmla="*/ 1645872 h 3663904"/>
                <a:gd name="connsiteX3" fmla="*/ 5614 w 1537506"/>
                <a:gd name="connsiteY3" fmla="*/ 6680 h 3663904"/>
                <a:gd name="connsiteX4" fmla="*/ 196114 w 1537506"/>
                <a:gd name="connsiteY4" fmla="*/ 38100 h 3663904"/>
                <a:gd name="connsiteX5" fmla="*/ 310414 w 1537506"/>
                <a:gd name="connsiteY5" fmla="*/ 0 h 3663904"/>
                <a:gd name="connsiteX6" fmla="*/ 473380 w 1537506"/>
                <a:gd name="connsiteY6" fmla="*/ 12862 h 3663904"/>
                <a:gd name="connsiteX7" fmla="*/ 471456 w 1537506"/>
                <a:gd name="connsiteY7" fmla="*/ 603216 h 3663904"/>
                <a:gd name="connsiteX8" fmla="*/ 644551 w 1537506"/>
                <a:gd name="connsiteY8" fmla="*/ 768858 h 3663904"/>
                <a:gd name="connsiteX9" fmla="*/ 1537506 w 1537506"/>
                <a:gd name="connsiteY9" fmla="*/ 768858 h 3663904"/>
                <a:gd name="connsiteX10" fmla="*/ 1537506 w 1537506"/>
                <a:gd name="connsiteY10" fmla="*/ 985138 h 3663904"/>
                <a:gd name="connsiteX11" fmla="*/ 644551 w 1537506"/>
                <a:gd name="connsiteY11" fmla="*/ 985138 h 3663904"/>
                <a:gd name="connsiteX12" fmla="*/ 404774 w 1537506"/>
                <a:gd name="connsiteY12" fmla="*/ 1224915 h 3663904"/>
                <a:gd name="connsiteX13" fmla="*/ 404773 w 1537506"/>
                <a:gd name="connsiteY13" fmla="*/ 3654243 h 3663904"/>
                <a:gd name="connsiteX14" fmla="*/ 342736 w 1537506"/>
                <a:gd name="connsiteY14" fmla="*/ 3616862 h 3663904"/>
                <a:gd name="connsiteX15" fmla="*/ 274144 w 1537506"/>
                <a:gd name="connsiteY15" fmla="*/ 3663904 h 3663904"/>
                <a:gd name="connsiteX16" fmla="*/ 270790 w 1537506"/>
                <a:gd name="connsiteY16" fmla="*/ 2747775 h 3663904"/>
                <a:gd name="connsiteX17" fmla="*/ 166722 w 1537506"/>
                <a:gd name="connsiteY17" fmla="*/ 2572462 h 3663904"/>
                <a:gd name="connsiteX0" fmla="*/ 166722 w 1537506"/>
                <a:gd name="connsiteY0" fmla="*/ 2572462 h 3663904"/>
                <a:gd name="connsiteX1" fmla="*/ 169571 w 1537506"/>
                <a:gd name="connsiteY1" fmla="*/ 1759582 h 3663904"/>
                <a:gd name="connsiteX2" fmla="*/ 0 w 1537506"/>
                <a:gd name="connsiteY2" fmla="*/ 1464186 h 3663904"/>
                <a:gd name="connsiteX3" fmla="*/ 5614 w 1537506"/>
                <a:gd name="connsiteY3" fmla="*/ 6680 h 3663904"/>
                <a:gd name="connsiteX4" fmla="*/ 196114 w 1537506"/>
                <a:gd name="connsiteY4" fmla="*/ 38100 h 3663904"/>
                <a:gd name="connsiteX5" fmla="*/ 310414 w 1537506"/>
                <a:gd name="connsiteY5" fmla="*/ 0 h 3663904"/>
                <a:gd name="connsiteX6" fmla="*/ 473380 w 1537506"/>
                <a:gd name="connsiteY6" fmla="*/ 12862 h 3663904"/>
                <a:gd name="connsiteX7" fmla="*/ 471456 w 1537506"/>
                <a:gd name="connsiteY7" fmla="*/ 603216 h 3663904"/>
                <a:gd name="connsiteX8" fmla="*/ 644551 w 1537506"/>
                <a:gd name="connsiteY8" fmla="*/ 768858 h 3663904"/>
                <a:gd name="connsiteX9" fmla="*/ 1537506 w 1537506"/>
                <a:gd name="connsiteY9" fmla="*/ 768858 h 3663904"/>
                <a:gd name="connsiteX10" fmla="*/ 1537506 w 1537506"/>
                <a:gd name="connsiteY10" fmla="*/ 985138 h 3663904"/>
                <a:gd name="connsiteX11" fmla="*/ 644551 w 1537506"/>
                <a:gd name="connsiteY11" fmla="*/ 985138 h 3663904"/>
                <a:gd name="connsiteX12" fmla="*/ 404774 w 1537506"/>
                <a:gd name="connsiteY12" fmla="*/ 1224915 h 3663904"/>
                <a:gd name="connsiteX13" fmla="*/ 404773 w 1537506"/>
                <a:gd name="connsiteY13" fmla="*/ 3654243 h 3663904"/>
                <a:gd name="connsiteX14" fmla="*/ 342736 w 1537506"/>
                <a:gd name="connsiteY14" fmla="*/ 3616862 h 3663904"/>
                <a:gd name="connsiteX15" fmla="*/ 274144 w 1537506"/>
                <a:gd name="connsiteY15" fmla="*/ 3663904 h 3663904"/>
                <a:gd name="connsiteX16" fmla="*/ 270790 w 1537506"/>
                <a:gd name="connsiteY16" fmla="*/ 2747775 h 3663904"/>
                <a:gd name="connsiteX17" fmla="*/ 166722 w 1537506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44551 w 1605638"/>
                <a:gd name="connsiteY8" fmla="*/ 768858 h 3663904"/>
                <a:gd name="connsiteX9" fmla="*/ 1537506 w 1605638"/>
                <a:gd name="connsiteY9" fmla="*/ 768858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44551 w 1605638"/>
                <a:gd name="connsiteY8" fmla="*/ 768858 h 3663904"/>
                <a:gd name="connsiteX9" fmla="*/ 1594283 w 1605638"/>
                <a:gd name="connsiteY9" fmla="*/ 785891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50229 w 1605638"/>
                <a:gd name="connsiteY8" fmla="*/ 797246 h 3663904"/>
                <a:gd name="connsiteX9" fmla="*/ 1594283 w 1605638"/>
                <a:gd name="connsiteY9" fmla="*/ 785891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16994"/>
                <a:gd name="connsiteY0" fmla="*/ 2572462 h 3663904"/>
                <a:gd name="connsiteX1" fmla="*/ 169571 w 1616994"/>
                <a:gd name="connsiteY1" fmla="*/ 1759582 h 3663904"/>
                <a:gd name="connsiteX2" fmla="*/ 0 w 1616994"/>
                <a:gd name="connsiteY2" fmla="*/ 1464186 h 3663904"/>
                <a:gd name="connsiteX3" fmla="*/ 5614 w 1616994"/>
                <a:gd name="connsiteY3" fmla="*/ 6680 h 3663904"/>
                <a:gd name="connsiteX4" fmla="*/ 196114 w 1616994"/>
                <a:gd name="connsiteY4" fmla="*/ 38100 h 3663904"/>
                <a:gd name="connsiteX5" fmla="*/ 310414 w 1616994"/>
                <a:gd name="connsiteY5" fmla="*/ 0 h 3663904"/>
                <a:gd name="connsiteX6" fmla="*/ 473380 w 1616994"/>
                <a:gd name="connsiteY6" fmla="*/ 12862 h 3663904"/>
                <a:gd name="connsiteX7" fmla="*/ 471456 w 1616994"/>
                <a:gd name="connsiteY7" fmla="*/ 603216 h 3663904"/>
                <a:gd name="connsiteX8" fmla="*/ 650229 w 1616994"/>
                <a:gd name="connsiteY8" fmla="*/ 797246 h 3663904"/>
                <a:gd name="connsiteX9" fmla="*/ 1616994 w 1616994"/>
                <a:gd name="connsiteY9" fmla="*/ 808602 h 3663904"/>
                <a:gd name="connsiteX10" fmla="*/ 1605638 w 1616994"/>
                <a:gd name="connsiteY10" fmla="*/ 985138 h 3663904"/>
                <a:gd name="connsiteX11" fmla="*/ 644551 w 1616994"/>
                <a:gd name="connsiteY11" fmla="*/ 985138 h 3663904"/>
                <a:gd name="connsiteX12" fmla="*/ 404774 w 1616994"/>
                <a:gd name="connsiteY12" fmla="*/ 1224915 h 3663904"/>
                <a:gd name="connsiteX13" fmla="*/ 404773 w 1616994"/>
                <a:gd name="connsiteY13" fmla="*/ 3654243 h 3663904"/>
                <a:gd name="connsiteX14" fmla="*/ 342736 w 1616994"/>
                <a:gd name="connsiteY14" fmla="*/ 3616862 h 3663904"/>
                <a:gd name="connsiteX15" fmla="*/ 274144 w 1616994"/>
                <a:gd name="connsiteY15" fmla="*/ 3663904 h 3663904"/>
                <a:gd name="connsiteX16" fmla="*/ 270790 w 1616994"/>
                <a:gd name="connsiteY16" fmla="*/ 2747775 h 3663904"/>
                <a:gd name="connsiteX17" fmla="*/ 166722 w 1616994"/>
                <a:gd name="connsiteY17" fmla="*/ 2572462 h 3663904"/>
                <a:gd name="connsiteX0" fmla="*/ 166722 w 1605638"/>
                <a:gd name="connsiteY0" fmla="*/ 2572462 h 3663904"/>
                <a:gd name="connsiteX1" fmla="*/ 169571 w 1605638"/>
                <a:gd name="connsiteY1" fmla="*/ 1759582 h 3663904"/>
                <a:gd name="connsiteX2" fmla="*/ 0 w 1605638"/>
                <a:gd name="connsiteY2" fmla="*/ 1464186 h 3663904"/>
                <a:gd name="connsiteX3" fmla="*/ 5614 w 1605638"/>
                <a:gd name="connsiteY3" fmla="*/ 6680 h 3663904"/>
                <a:gd name="connsiteX4" fmla="*/ 196114 w 1605638"/>
                <a:gd name="connsiteY4" fmla="*/ 38100 h 3663904"/>
                <a:gd name="connsiteX5" fmla="*/ 310414 w 1605638"/>
                <a:gd name="connsiteY5" fmla="*/ 0 h 3663904"/>
                <a:gd name="connsiteX6" fmla="*/ 473380 w 1605638"/>
                <a:gd name="connsiteY6" fmla="*/ 12862 h 3663904"/>
                <a:gd name="connsiteX7" fmla="*/ 471456 w 1605638"/>
                <a:gd name="connsiteY7" fmla="*/ 603216 h 3663904"/>
                <a:gd name="connsiteX8" fmla="*/ 650229 w 1605638"/>
                <a:gd name="connsiteY8" fmla="*/ 797246 h 3663904"/>
                <a:gd name="connsiteX9" fmla="*/ 1599961 w 1605638"/>
                <a:gd name="connsiteY9" fmla="*/ 814279 h 3663904"/>
                <a:gd name="connsiteX10" fmla="*/ 1605638 w 1605638"/>
                <a:gd name="connsiteY10" fmla="*/ 985138 h 3663904"/>
                <a:gd name="connsiteX11" fmla="*/ 644551 w 1605638"/>
                <a:gd name="connsiteY11" fmla="*/ 985138 h 3663904"/>
                <a:gd name="connsiteX12" fmla="*/ 404774 w 1605638"/>
                <a:gd name="connsiteY12" fmla="*/ 1224915 h 3663904"/>
                <a:gd name="connsiteX13" fmla="*/ 404773 w 1605638"/>
                <a:gd name="connsiteY13" fmla="*/ 3654243 h 3663904"/>
                <a:gd name="connsiteX14" fmla="*/ 342736 w 1605638"/>
                <a:gd name="connsiteY14" fmla="*/ 3616862 h 3663904"/>
                <a:gd name="connsiteX15" fmla="*/ 274144 w 1605638"/>
                <a:gd name="connsiteY15" fmla="*/ 3663904 h 3663904"/>
                <a:gd name="connsiteX16" fmla="*/ 270790 w 1605638"/>
                <a:gd name="connsiteY16" fmla="*/ 2747775 h 3663904"/>
                <a:gd name="connsiteX17" fmla="*/ 166722 w 1605638"/>
                <a:gd name="connsiteY17" fmla="*/ 2572462 h 3663904"/>
                <a:gd name="connsiteX0" fmla="*/ 166722 w 1609320"/>
                <a:gd name="connsiteY0" fmla="*/ 2572462 h 3663904"/>
                <a:gd name="connsiteX1" fmla="*/ 169571 w 1609320"/>
                <a:gd name="connsiteY1" fmla="*/ 1759582 h 3663904"/>
                <a:gd name="connsiteX2" fmla="*/ 0 w 1609320"/>
                <a:gd name="connsiteY2" fmla="*/ 1464186 h 3663904"/>
                <a:gd name="connsiteX3" fmla="*/ 5614 w 1609320"/>
                <a:gd name="connsiteY3" fmla="*/ 6680 h 3663904"/>
                <a:gd name="connsiteX4" fmla="*/ 196114 w 1609320"/>
                <a:gd name="connsiteY4" fmla="*/ 38100 h 3663904"/>
                <a:gd name="connsiteX5" fmla="*/ 310414 w 1609320"/>
                <a:gd name="connsiteY5" fmla="*/ 0 h 3663904"/>
                <a:gd name="connsiteX6" fmla="*/ 473380 w 1609320"/>
                <a:gd name="connsiteY6" fmla="*/ 12862 h 3663904"/>
                <a:gd name="connsiteX7" fmla="*/ 471456 w 1609320"/>
                <a:gd name="connsiteY7" fmla="*/ 603216 h 3663904"/>
                <a:gd name="connsiteX8" fmla="*/ 650229 w 1609320"/>
                <a:gd name="connsiteY8" fmla="*/ 797246 h 3663904"/>
                <a:gd name="connsiteX9" fmla="*/ 1609320 w 1609320"/>
                <a:gd name="connsiteY9" fmla="*/ 808040 h 3663904"/>
                <a:gd name="connsiteX10" fmla="*/ 1605638 w 1609320"/>
                <a:gd name="connsiteY10" fmla="*/ 985138 h 3663904"/>
                <a:gd name="connsiteX11" fmla="*/ 644551 w 1609320"/>
                <a:gd name="connsiteY11" fmla="*/ 985138 h 3663904"/>
                <a:gd name="connsiteX12" fmla="*/ 404774 w 1609320"/>
                <a:gd name="connsiteY12" fmla="*/ 1224915 h 3663904"/>
                <a:gd name="connsiteX13" fmla="*/ 404773 w 1609320"/>
                <a:gd name="connsiteY13" fmla="*/ 3654243 h 3663904"/>
                <a:gd name="connsiteX14" fmla="*/ 342736 w 1609320"/>
                <a:gd name="connsiteY14" fmla="*/ 3616862 h 3663904"/>
                <a:gd name="connsiteX15" fmla="*/ 274144 w 1609320"/>
                <a:gd name="connsiteY15" fmla="*/ 3663904 h 3663904"/>
                <a:gd name="connsiteX16" fmla="*/ 270790 w 1609320"/>
                <a:gd name="connsiteY16" fmla="*/ 2747775 h 3663904"/>
                <a:gd name="connsiteX17" fmla="*/ 166722 w 1609320"/>
                <a:gd name="connsiteY17" fmla="*/ 2572462 h 3663904"/>
                <a:gd name="connsiteX0" fmla="*/ 166722 w 1606200"/>
                <a:gd name="connsiteY0" fmla="*/ 2572462 h 3663904"/>
                <a:gd name="connsiteX1" fmla="*/ 169571 w 1606200"/>
                <a:gd name="connsiteY1" fmla="*/ 1759582 h 3663904"/>
                <a:gd name="connsiteX2" fmla="*/ 0 w 1606200"/>
                <a:gd name="connsiteY2" fmla="*/ 1464186 h 3663904"/>
                <a:gd name="connsiteX3" fmla="*/ 5614 w 1606200"/>
                <a:gd name="connsiteY3" fmla="*/ 6680 h 3663904"/>
                <a:gd name="connsiteX4" fmla="*/ 196114 w 1606200"/>
                <a:gd name="connsiteY4" fmla="*/ 38100 h 3663904"/>
                <a:gd name="connsiteX5" fmla="*/ 310414 w 1606200"/>
                <a:gd name="connsiteY5" fmla="*/ 0 h 3663904"/>
                <a:gd name="connsiteX6" fmla="*/ 473380 w 1606200"/>
                <a:gd name="connsiteY6" fmla="*/ 12862 h 3663904"/>
                <a:gd name="connsiteX7" fmla="*/ 471456 w 1606200"/>
                <a:gd name="connsiteY7" fmla="*/ 603216 h 3663904"/>
                <a:gd name="connsiteX8" fmla="*/ 650229 w 1606200"/>
                <a:gd name="connsiteY8" fmla="*/ 797246 h 3663904"/>
                <a:gd name="connsiteX9" fmla="*/ 1606200 w 1606200"/>
                <a:gd name="connsiteY9" fmla="*/ 808040 h 3663904"/>
                <a:gd name="connsiteX10" fmla="*/ 1605638 w 1606200"/>
                <a:gd name="connsiteY10" fmla="*/ 985138 h 3663904"/>
                <a:gd name="connsiteX11" fmla="*/ 644551 w 1606200"/>
                <a:gd name="connsiteY11" fmla="*/ 985138 h 3663904"/>
                <a:gd name="connsiteX12" fmla="*/ 404774 w 1606200"/>
                <a:gd name="connsiteY12" fmla="*/ 1224915 h 3663904"/>
                <a:gd name="connsiteX13" fmla="*/ 404773 w 1606200"/>
                <a:gd name="connsiteY13" fmla="*/ 3654243 h 3663904"/>
                <a:gd name="connsiteX14" fmla="*/ 342736 w 1606200"/>
                <a:gd name="connsiteY14" fmla="*/ 3616862 h 3663904"/>
                <a:gd name="connsiteX15" fmla="*/ 274144 w 1606200"/>
                <a:gd name="connsiteY15" fmla="*/ 3663904 h 3663904"/>
                <a:gd name="connsiteX16" fmla="*/ 270790 w 1606200"/>
                <a:gd name="connsiteY16" fmla="*/ 2747775 h 3663904"/>
                <a:gd name="connsiteX17" fmla="*/ 166722 w 1606200"/>
                <a:gd name="connsiteY17" fmla="*/ 2572462 h 36639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606200" h="3663904">
                  <a:moveTo>
                    <a:pt x="166722" y="2572462"/>
                  </a:moveTo>
                  <a:cubicBezTo>
                    <a:pt x="166298" y="2348593"/>
                    <a:pt x="169995" y="1983451"/>
                    <a:pt x="169571" y="1759582"/>
                  </a:cubicBezTo>
                  <a:cubicBezTo>
                    <a:pt x="169342" y="1613531"/>
                    <a:pt x="82320" y="1505253"/>
                    <a:pt x="0" y="1464186"/>
                  </a:cubicBezTo>
                  <a:cubicBezTo>
                    <a:pt x="1871" y="917789"/>
                    <a:pt x="3743" y="553077"/>
                    <a:pt x="5614" y="6680"/>
                  </a:cubicBezTo>
                  <a:cubicBezTo>
                    <a:pt x="69114" y="8263"/>
                    <a:pt x="132614" y="36517"/>
                    <a:pt x="196114" y="38100"/>
                  </a:cubicBezTo>
                  <a:cubicBezTo>
                    <a:pt x="239294" y="35560"/>
                    <a:pt x="267234" y="2540"/>
                    <a:pt x="310414" y="0"/>
                  </a:cubicBezTo>
                  <a:lnTo>
                    <a:pt x="473380" y="12862"/>
                  </a:lnTo>
                  <a:cubicBezTo>
                    <a:pt x="471524" y="199487"/>
                    <a:pt x="473312" y="416591"/>
                    <a:pt x="471456" y="603216"/>
                  </a:cubicBezTo>
                  <a:cubicBezTo>
                    <a:pt x="474953" y="697558"/>
                    <a:pt x="543499" y="794533"/>
                    <a:pt x="650229" y="797246"/>
                  </a:cubicBezTo>
                  <a:lnTo>
                    <a:pt x="1606200" y="808040"/>
                  </a:lnTo>
                  <a:cubicBezTo>
                    <a:pt x="1604973" y="867073"/>
                    <a:pt x="1606865" y="926105"/>
                    <a:pt x="1605638" y="985138"/>
                  </a:cubicBezTo>
                  <a:lnTo>
                    <a:pt x="644551" y="985138"/>
                  </a:lnTo>
                  <a:cubicBezTo>
                    <a:pt x="512126" y="985138"/>
                    <a:pt x="404774" y="1092490"/>
                    <a:pt x="404774" y="1224915"/>
                  </a:cubicBezTo>
                  <a:cubicBezTo>
                    <a:pt x="406449" y="2043064"/>
                    <a:pt x="403098" y="2836094"/>
                    <a:pt x="404773" y="3654243"/>
                  </a:cubicBezTo>
                  <a:cubicBezTo>
                    <a:pt x="379070" y="3655181"/>
                    <a:pt x="368439" y="3615924"/>
                    <a:pt x="342736" y="3616862"/>
                  </a:cubicBezTo>
                  <a:lnTo>
                    <a:pt x="274144" y="3663904"/>
                  </a:lnTo>
                  <a:cubicBezTo>
                    <a:pt x="275380" y="3353820"/>
                    <a:pt x="269554" y="3057859"/>
                    <a:pt x="270790" y="2747775"/>
                  </a:cubicBezTo>
                  <a:cubicBezTo>
                    <a:pt x="269249" y="2650215"/>
                    <a:pt x="238874" y="2602942"/>
                    <a:pt x="166722" y="2572462"/>
                  </a:cubicBezTo>
                  <a:close/>
                </a:path>
              </a:pathLst>
            </a:custGeom>
            <a:pattFill prst="dkDnDiag">
              <a:fgClr>
                <a:schemeClr val="tx2">
                  <a:lumMod val="60000"/>
                  <a:lumOff val="40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sp>
          <p:nvSpPr>
            <p:cNvPr id="89" name="Rettangolo 6"/>
            <p:cNvSpPr/>
            <p:nvPr/>
          </p:nvSpPr>
          <p:spPr>
            <a:xfrm>
              <a:off x="-9530773" y="-2800937"/>
              <a:ext cx="242889" cy="3221316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3751" h="3895880">
                  <a:moveTo>
                    <a:pt x="0" y="155"/>
                  </a:moveTo>
                  <a:cubicBezTo>
                    <a:pt x="42672" y="-2893"/>
                    <a:pt x="112776" y="39779"/>
                    <a:pt x="155448" y="36731"/>
                  </a:cubicBezTo>
                  <a:lnTo>
                    <a:pt x="265176" y="155"/>
                  </a:lnTo>
                  <a:cubicBezTo>
                    <a:pt x="284519" y="34413"/>
                    <a:pt x="272833" y="-24291"/>
                    <a:pt x="276269" y="242282"/>
                  </a:cubicBezTo>
                  <a:cubicBezTo>
                    <a:pt x="278912" y="437418"/>
                    <a:pt x="265156" y="954275"/>
                    <a:pt x="271506" y="1180494"/>
                  </a:cubicBezTo>
                  <a:cubicBezTo>
                    <a:pt x="277856" y="1406713"/>
                    <a:pt x="290556" y="1456719"/>
                    <a:pt x="285794" y="1599594"/>
                  </a:cubicBezTo>
                  <a:cubicBezTo>
                    <a:pt x="281032" y="1742469"/>
                    <a:pt x="255633" y="1921063"/>
                    <a:pt x="252458" y="2028219"/>
                  </a:cubicBezTo>
                  <a:cubicBezTo>
                    <a:pt x="250338" y="2401948"/>
                    <a:pt x="252457" y="2104420"/>
                    <a:pt x="257219" y="2252057"/>
                  </a:cubicBezTo>
                  <a:cubicBezTo>
                    <a:pt x="261981" y="2399694"/>
                    <a:pt x="281033" y="2755294"/>
                    <a:pt x="281033" y="2914044"/>
                  </a:cubicBezTo>
                  <a:cubicBezTo>
                    <a:pt x="286589" y="3122800"/>
                    <a:pt x="266744" y="3105338"/>
                    <a:pt x="266744" y="3195032"/>
                  </a:cubicBezTo>
                  <a:cubicBezTo>
                    <a:pt x="266744" y="3284726"/>
                    <a:pt x="268333" y="3369657"/>
                    <a:pt x="261983" y="3433157"/>
                  </a:cubicBezTo>
                  <a:cubicBezTo>
                    <a:pt x="255633" y="3496657"/>
                    <a:pt x="263832" y="3594162"/>
                    <a:pt x="266745" y="3661757"/>
                  </a:cubicBezTo>
                  <a:lnTo>
                    <a:pt x="293751" y="3895880"/>
                  </a:lnTo>
                  <a:lnTo>
                    <a:pt x="0" y="3886355"/>
                  </a:lnTo>
                  <a:lnTo>
                    <a:pt x="0" y="155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grpSp>
          <p:nvGrpSpPr>
            <p:cNvPr id="90" name="Gruppo 89"/>
            <p:cNvGrpSpPr/>
            <p:nvPr/>
          </p:nvGrpSpPr>
          <p:grpSpPr>
            <a:xfrm>
              <a:off x="-8572072" y="49090"/>
              <a:ext cx="399255" cy="1013103"/>
              <a:chOff x="5302597" y="4114197"/>
              <a:chExt cx="482861" cy="1225253"/>
            </a:xfrm>
          </p:grpSpPr>
          <p:grpSp>
            <p:nvGrpSpPr>
              <p:cNvPr id="91" name="Gruppo 90"/>
              <p:cNvGrpSpPr/>
              <p:nvPr/>
            </p:nvGrpSpPr>
            <p:grpSpPr>
              <a:xfrm>
                <a:off x="5304879" y="4206754"/>
                <a:ext cx="480579" cy="1083192"/>
                <a:chOff x="5286591" y="4178418"/>
                <a:chExt cx="480579" cy="1083192"/>
              </a:xfrm>
            </p:grpSpPr>
            <p:sp>
              <p:nvSpPr>
                <p:cNvPr id="102" name="Rectangle 325"/>
                <p:cNvSpPr>
                  <a:spLocks noChangeArrowheads="1"/>
                </p:cNvSpPr>
                <p:nvPr/>
              </p:nvSpPr>
              <p:spPr bwMode="auto">
                <a:xfrm rot="5400000">
                  <a:off x="5006367" y="4573813"/>
                  <a:ext cx="1039711" cy="248921"/>
                </a:xfrm>
                <a:prstGeom prst="rect">
                  <a:avLst/>
                </a:prstGeom>
                <a:gradFill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03" name="Ritaglia angolo stesso lato rettangolo 102"/>
                <p:cNvSpPr/>
                <p:nvPr/>
              </p:nvSpPr>
              <p:spPr>
                <a:xfrm rot="10800000">
                  <a:off x="5286591" y="5183030"/>
                  <a:ext cx="480579" cy="78580"/>
                </a:xfrm>
                <a:prstGeom prst="snip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0" scaled="1"/>
                  <a:tileRect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158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94" name="Group 327"/>
              <p:cNvGrpSpPr>
                <a:grpSpLocks/>
              </p:cNvGrpSpPr>
              <p:nvPr/>
            </p:nvGrpSpPr>
            <p:grpSpPr bwMode="auto">
              <a:xfrm rot="5400000" flipV="1">
                <a:off x="5395906" y="4212213"/>
                <a:ext cx="286334" cy="472951"/>
                <a:chOff x="963" y="1985"/>
                <a:chExt cx="250" cy="318"/>
              </a:xfrm>
            </p:grpSpPr>
            <p:sp>
              <p:nvSpPr>
                <p:cNvPr id="99" name="AutoShape 328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974" y="2117"/>
                  <a:ext cx="314" cy="53"/>
                </a:xfrm>
                <a:custGeom>
                  <a:avLst/>
                  <a:gdLst>
                    <a:gd name="T0" fmla="*/ 4 w 21600"/>
                    <a:gd name="T1" fmla="*/ 0 h 21600"/>
                    <a:gd name="T2" fmla="*/ 2 w 21600"/>
                    <a:gd name="T3" fmla="*/ 0 h 21600"/>
                    <a:gd name="T4" fmla="*/ 0 w 21600"/>
                    <a:gd name="T5" fmla="*/ 0 h 21600"/>
                    <a:gd name="T6" fmla="*/ 2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820 w 21600"/>
                    <a:gd name="T13" fmla="*/ 2853 h 21600"/>
                    <a:gd name="T14" fmla="*/ 18780 w 21600"/>
                    <a:gd name="T15" fmla="*/ 1874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076" y="21600"/>
                      </a:lnTo>
                      <a:lnTo>
                        <a:pt x="19524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00" name="Rectangle 329"/>
                <p:cNvSpPr>
                  <a:spLocks noChangeArrowheads="1"/>
                </p:cNvSpPr>
                <p:nvPr/>
              </p:nvSpPr>
              <p:spPr bwMode="auto">
                <a:xfrm flipH="1">
                  <a:off x="963" y="2017"/>
                  <a:ext cx="141" cy="256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01" name="Rectangle 330"/>
                <p:cNvSpPr>
                  <a:spLocks noChangeArrowheads="1"/>
                </p:cNvSpPr>
                <p:nvPr/>
              </p:nvSpPr>
              <p:spPr bwMode="auto">
                <a:xfrm flipH="1">
                  <a:off x="1158" y="1985"/>
                  <a:ext cx="55" cy="318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</p:grpSp>
          <p:cxnSp>
            <p:nvCxnSpPr>
              <p:cNvPr id="98" name="Connettore 1 97"/>
              <p:cNvCxnSpPr/>
              <p:nvPr/>
            </p:nvCxnSpPr>
            <p:spPr>
              <a:xfrm flipH="1" flipV="1">
                <a:off x="5537965" y="4114197"/>
                <a:ext cx="5436" cy="1225253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lg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grpSp>
          <p:nvGrpSpPr>
            <p:cNvPr id="104" name="Gruppo 103"/>
            <p:cNvGrpSpPr/>
            <p:nvPr/>
          </p:nvGrpSpPr>
          <p:grpSpPr>
            <a:xfrm rot="5400000">
              <a:off x="-9574078" y="-2664558"/>
              <a:ext cx="437105" cy="984679"/>
              <a:chOff x="5328295" y="4458326"/>
              <a:chExt cx="397173" cy="894724"/>
            </a:xfrm>
          </p:grpSpPr>
          <p:sp>
            <p:nvSpPr>
              <p:cNvPr id="105" name="Rectangle 325"/>
              <p:cNvSpPr>
                <a:spLocks noChangeArrowheads="1"/>
              </p:cNvSpPr>
              <p:nvPr/>
            </p:nvSpPr>
            <p:spPr bwMode="auto">
              <a:xfrm rot="5400000">
                <a:off x="5115906" y="4744182"/>
                <a:ext cx="820634" cy="248921"/>
              </a:xfrm>
              <a:prstGeom prst="rect">
                <a:avLst/>
              </a:prstGeom>
              <a:gradFill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06" name="Ritaglia angolo stesso lato rettangolo 105"/>
              <p:cNvSpPr/>
              <p:nvPr/>
            </p:nvSpPr>
            <p:spPr>
              <a:xfrm rot="10800000">
                <a:off x="5328295" y="5274470"/>
                <a:ext cx="397173" cy="78580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0" scaled="1"/>
                <a:tileRect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07" name="Group 327"/>
            <p:cNvGrpSpPr>
              <a:grpSpLocks/>
            </p:cNvGrpSpPr>
            <p:nvPr/>
          </p:nvGrpSpPr>
          <p:grpSpPr bwMode="auto">
            <a:xfrm rot="10800000" flipV="1">
              <a:off x="-9302306" y="-2406715"/>
              <a:ext cx="315122" cy="473183"/>
              <a:chOff x="963" y="1985"/>
              <a:chExt cx="250" cy="318"/>
            </a:xfrm>
          </p:grpSpPr>
          <p:sp>
            <p:nvSpPr>
              <p:cNvPr id="108" name="AutoShape 328"/>
              <p:cNvSpPr>
                <a:spLocks noChangeArrowheads="1"/>
              </p:cNvSpPr>
              <p:nvPr/>
            </p:nvSpPr>
            <p:spPr bwMode="auto">
              <a:xfrm rot="5400000" flipH="1">
                <a:off x="974" y="2117"/>
                <a:ext cx="314" cy="53"/>
              </a:xfrm>
              <a:custGeom>
                <a:avLst/>
                <a:gdLst>
                  <a:gd name="T0" fmla="*/ 4 w 21600"/>
                  <a:gd name="T1" fmla="*/ 0 h 21600"/>
                  <a:gd name="T2" fmla="*/ 2 w 21600"/>
                  <a:gd name="T3" fmla="*/ 0 h 21600"/>
                  <a:gd name="T4" fmla="*/ 0 w 21600"/>
                  <a:gd name="T5" fmla="*/ 0 h 21600"/>
                  <a:gd name="T6" fmla="*/ 2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20 w 21600"/>
                  <a:gd name="T13" fmla="*/ 2853 h 21600"/>
                  <a:gd name="T14" fmla="*/ 18780 w 21600"/>
                  <a:gd name="T15" fmla="*/ 1874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2076" y="21600"/>
                    </a:lnTo>
                    <a:lnTo>
                      <a:pt x="19524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12" name="Rectangle 329"/>
              <p:cNvSpPr>
                <a:spLocks noChangeArrowheads="1"/>
              </p:cNvSpPr>
              <p:nvPr/>
            </p:nvSpPr>
            <p:spPr bwMode="auto">
              <a:xfrm flipH="1">
                <a:off x="963" y="2017"/>
                <a:ext cx="141" cy="256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13" name="Rectangle 330"/>
              <p:cNvSpPr>
                <a:spLocks noChangeArrowheads="1"/>
              </p:cNvSpPr>
              <p:nvPr/>
            </p:nvSpPr>
            <p:spPr bwMode="auto">
              <a:xfrm flipH="1">
                <a:off x="1158" y="1985"/>
                <a:ext cx="55" cy="318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14" name="Gruppo 113"/>
            <p:cNvGrpSpPr/>
            <p:nvPr/>
          </p:nvGrpSpPr>
          <p:grpSpPr>
            <a:xfrm>
              <a:off x="-10449026" y="-924812"/>
              <a:ext cx="1681263" cy="482458"/>
              <a:chOff x="3056412" y="2936354"/>
              <a:chExt cx="2033330" cy="583488"/>
            </a:xfrm>
          </p:grpSpPr>
          <p:grpSp>
            <p:nvGrpSpPr>
              <p:cNvPr id="115" name="Gruppo 114"/>
              <p:cNvGrpSpPr/>
              <p:nvPr/>
            </p:nvGrpSpPr>
            <p:grpSpPr>
              <a:xfrm rot="16200000">
                <a:off x="3808476" y="2362725"/>
                <a:ext cx="581501" cy="1732733"/>
                <a:chOff x="5308435" y="4079383"/>
                <a:chExt cx="436890" cy="1301828"/>
              </a:xfrm>
            </p:grpSpPr>
            <p:sp>
              <p:nvSpPr>
                <p:cNvPr id="121" name="Rectangle 325"/>
                <p:cNvSpPr>
                  <a:spLocks noChangeArrowheads="1"/>
                </p:cNvSpPr>
                <p:nvPr/>
              </p:nvSpPr>
              <p:spPr bwMode="auto">
                <a:xfrm rot="5400000">
                  <a:off x="4894953" y="4586191"/>
                  <a:ext cx="1262538" cy="248921"/>
                </a:xfrm>
                <a:prstGeom prst="rect">
                  <a:avLst/>
                </a:prstGeom>
                <a:gradFill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22" name="Ritaglia angolo stesso lato rettangolo 121"/>
                <p:cNvSpPr/>
                <p:nvPr/>
              </p:nvSpPr>
              <p:spPr>
                <a:xfrm rot="10800000">
                  <a:off x="5308435" y="5302631"/>
                  <a:ext cx="436890" cy="78580"/>
                </a:xfrm>
                <a:prstGeom prst="snip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0" scaled="1"/>
                  <a:tileRect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158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116" name="Group 327"/>
              <p:cNvGrpSpPr>
                <a:grpSpLocks/>
              </p:cNvGrpSpPr>
              <p:nvPr/>
            </p:nvGrpSpPr>
            <p:grpSpPr bwMode="auto">
              <a:xfrm flipV="1">
                <a:off x="3336834" y="2936354"/>
                <a:ext cx="390256" cy="572271"/>
                <a:chOff x="957" y="1985"/>
                <a:chExt cx="256" cy="318"/>
              </a:xfrm>
            </p:grpSpPr>
            <p:sp>
              <p:nvSpPr>
                <p:cNvPr id="118" name="AutoShape 328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974" y="2117"/>
                  <a:ext cx="314" cy="53"/>
                </a:xfrm>
                <a:custGeom>
                  <a:avLst/>
                  <a:gdLst>
                    <a:gd name="T0" fmla="*/ 4 w 21600"/>
                    <a:gd name="T1" fmla="*/ 0 h 21600"/>
                    <a:gd name="T2" fmla="*/ 2 w 21600"/>
                    <a:gd name="T3" fmla="*/ 0 h 21600"/>
                    <a:gd name="T4" fmla="*/ 0 w 21600"/>
                    <a:gd name="T5" fmla="*/ 0 h 21600"/>
                    <a:gd name="T6" fmla="*/ 2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820 w 21600"/>
                    <a:gd name="T13" fmla="*/ 2853 h 21600"/>
                    <a:gd name="T14" fmla="*/ 18780 w 21600"/>
                    <a:gd name="T15" fmla="*/ 1874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076" y="21600"/>
                      </a:lnTo>
                      <a:lnTo>
                        <a:pt x="19524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19" name="Rectangle 329"/>
                <p:cNvSpPr>
                  <a:spLocks noChangeArrowheads="1"/>
                </p:cNvSpPr>
                <p:nvPr/>
              </p:nvSpPr>
              <p:spPr bwMode="auto">
                <a:xfrm flipH="1">
                  <a:off x="957" y="2017"/>
                  <a:ext cx="153" cy="256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  <p:sp>
              <p:nvSpPr>
                <p:cNvPr id="120" name="Rectangle 330"/>
                <p:cNvSpPr>
                  <a:spLocks noChangeArrowheads="1"/>
                </p:cNvSpPr>
                <p:nvPr/>
              </p:nvSpPr>
              <p:spPr bwMode="auto">
                <a:xfrm flipH="1">
                  <a:off x="1158" y="1985"/>
                  <a:ext cx="55" cy="318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158" b="1" dirty="0">
                    <a:latin typeface="Arial Narrow" pitchFamily="34" charset="0"/>
                  </a:endParaRPr>
                </a:p>
              </p:txBody>
            </p:sp>
          </p:grpSp>
          <p:cxnSp>
            <p:nvCxnSpPr>
              <p:cNvPr id="117" name="Connettore 1 116"/>
              <p:cNvCxnSpPr>
                <a:stCxn id="121" idx="1"/>
                <a:endCxn id="121" idx="3"/>
              </p:cNvCxnSpPr>
              <p:nvPr/>
            </p:nvCxnSpPr>
            <p:spPr>
              <a:xfrm>
                <a:off x="3056412" y="3229966"/>
                <a:ext cx="2033330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lg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123" name="Connettore 1 122"/>
            <p:cNvCxnSpPr/>
            <p:nvPr/>
          </p:nvCxnSpPr>
          <p:spPr>
            <a:xfrm flipH="1">
              <a:off x="-9986678" y="-2173267"/>
              <a:ext cx="121872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lg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4" name="AutoShape 310"/>
            <p:cNvSpPr>
              <a:spLocks/>
            </p:cNvSpPr>
            <p:nvPr/>
          </p:nvSpPr>
          <p:spPr bwMode="auto">
            <a:xfrm>
              <a:off x="-8474956" y="-2255958"/>
              <a:ext cx="1194387" cy="418063"/>
            </a:xfrm>
            <a:prstGeom prst="callout2">
              <a:avLst>
                <a:gd name="adj1" fmla="val 41170"/>
                <a:gd name="adj2" fmla="val -2461"/>
                <a:gd name="adj3" fmla="val 41170"/>
                <a:gd name="adj4" fmla="val -9871"/>
                <a:gd name="adj5" fmla="val 236282"/>
                <a:gd name="adj6" fmla="val -61469"/>
              </a:avLst>
            </a:prstGeom>
            <a:noFill/>
            <a:ln w="6350">
              <a:solidFill>
                <a:schemeClr val="tx1"/>
              </a:solidFill>
              <a:miter lim="800000"/>
              <a:headEnd type="none" w="lg" len="lg"/>
              <a:tailEnd type="triangle" w="sm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rIns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323" b="1" dirty="0">
                  <a:latin typeface="Arial Narrow" pitchFamily="34" charset="0"/>
                  <a:ea typeface="ＭＳ Ｐゴシック" charset="-128"/>
                  <a:sym typeface="Symbol"/>
                </a:rPr>
                <a:t>INADEQUATE SHIM</a:t>
              </a:r>
              <a:endParaRPr lang="en-US" sz="1323" b="1" dirty="0">
                <a:latin typeface="Arial Narrow" pitchFamily="34" charset="0"/>
                <a:ea typeface="ＭＳ Ｐゴシック" charset="-128"/>
              </a:endParaRPr>
            </a:p>
          </p:txBody>
        </p:sp>
        <p:sp>
          <p:nvSpPr>
            <p:cNvPr id="126" name="AutoShape 310"/>
            <p:cNvSpPr>
              <a:spLocks/>
            </p:cNvSpPr>
            <p:nvPr/>
          </p:nvSpPr>
          <p:spPr bwMode="auto">
            <a:xfrm>
              <a:off x="-8474956" y="-1625245"/>
              <a:ext cx="972615" cy="418063"/>
            </a:xfrm>
            <a:prstGeom prst="callout2">
              <a:avLst>
                <a:gd name="adj1" fmla="val 41170"/>
                <a:gd name="adj2" fmla="val -2461"/>
                <a:gd name="adj3" fmla="val 41170"/>
                <a:gd name="adj4" fmla="val -9871"/>
                <a:gd name="adj5" fmla="val 168834"/>
                <a:gd name="adj6" fmla="val -72465"/>
              </a:avLst>
            </a:prstGeom>
            <a:noFill/>
            <a:ln w="6350">
              <a:solidFill>
                <a:schemeClr val="tx1"/>
              </a:solidFill>
              <a:miter lim="800000"/>
              <a:headEnd type="none" w="lg" len="lg"/>
              <a:tailEnd type="triangle" w="sm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rIns="0">
              <a:spAutoFit/>
            </a:bodyPr>
            <a:lstStyle/>
            <a:p>
              <a:pPr>
                <a:lnSpc>
                  <a:spcPct val="80000"/>
                </a:lnSpc>
              </a:pPr>
              <a:r>
                <a:rPr lang="en-US" sz="1323" b="1" dirty="0">
                  <a:latin typeface="Arial Narrow" pitchFamily="34" charset="0"/>
                  <a:ea typeface="ＭＳ Ｐゴシック" charset="-128"/>
                  <a:sym typeface="Symbol"/>
                </a:rPr>
                <a:t>RESIDUAL GAP &gt; 0.005”</a:t>
              </a:r>
              <a:endParaRPr lang="en-US" sz="1323" b="1" dirty="0">
                <a:latin typeface="Arial Narrow" pitchFamily="34" charset="0"/>
                <a:ea typeface="ＭＳ Ｐゴシック" charset="-128"/>
              </a:endParaRPr>
            </a:p>
          </p:txBody>
        </p:sp>
        <p:sp>
          <p:nvSpPr>
            <p:cNvPr id="131" name="AutoShape 310"/>
            <p:cNvSpPr>
              <a:spLocks/>
            </p:cNvSpPr>
            <p:nvPr/>
          </p:nvSpPr>
          <p:spPr bwMode="auto">
            <a:xfrm>
              <a:off x="-8572073" y="-1557297"/>
              <a:ext cx="247235" cy="255198"/>
            </a:xfrm>
            <a:prstGeom prst="callout2">
              <a:avLst>
                <a:gd name="adj1" fmla="val 41170"/>
                <a:gd name="adj2" fmla="val -2461"/>
                <a:gd name="adj3" fmla="val 41170"/>
                <a:gd name="adj4" fmla="val -9871"/>
                <a:gd name="adj5" fmla="val 196343"/>
                <a:gd name="adj6" fmla="val -309937"/>
              </a:avLst>
            </a:prstGeom>
            <a:noFill/>
            <a:ln w="6350">
              <a:solidFill>
                <a:schemeClr val="tx1"/>
              </a:solidFill>
              <a:miter lim="800000"/>
              <a:headEnd type="none" w="lg" len="lg"/>
              <a:tailEnd type="triangle" w="sm" len="lg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rIns="0">
              <a:spAutoFit/>
            </a:bodyPr>
            <a:lstStyle/>
            <a:p>
              <a:pPr>
                <a:lnSpc>
                  <a:spcPct val="80000"/>
                </a:lnSpc>
              </a:pPr>
              <a:endParaRPr lang="en-US" sz="1323" b="1" dirty="0">
                <a:latin typeface="Arial Narrow" pitchFamily="34" charset="0"/>
                <a:ea typeface="ＭＳ Ｐゴシック" charset="-128"/>
              </a:endParaRPr>
            </a:p>
          </p:txBody>
        </p:sp>
        <p:sp>
          <p:nvSpPr>
            <p:cNvPr id="16" name="Figura a mano libera 15"/>
            <p:cNvSpPr/>
            <p:nvPr/>
          </p:nvSpPr>
          <p:spPr>
            <a:xfrm>
              <a:off x="-5423731" y="-1143012"/>
              <a:ext cx="71711" cy="300996"/>
            </a:xfrm>
            <a:custGeom>
              <a:avLst/>
              <a:gdLst>
                <a:gd name="connsiteX0" fmla="*/ 8699 w 86728"/>
                <a:gd name="connsiteY0" fmla="*/ 364027 h 364027"/>
                <a:gd name="connsiteX1" fmla="*/ 32 w 86728"/>
                <a:gd name="connsiteY1" fmla="*/ 342358 h 364027"/>
                <a:gd name="connsiteX2" fmla="*/ 8699 w 86728"/>
                <a:gd name="connsiteY2" fmla="*/ 281687 h 364027"/>
                <a:gd name="connsiteX3" fmla="*/ 26034 w 86728"/>
                <a:gd name="connsiteY3" fmla="*/ 255685 h 364027"/>
                <a:gd name="connsiteX4" fmla="*/ 43368 w 86728"/>
                <a:gd name="connsiteY4" fmla="*/ 234017 h 364027"/>
                <a:gd name="connsiteX5" fmla="*/ 52036 w 86728"/>
                <a:gd name="connsiteY5" fmla="*/ 208015 h 364027"/>
                <a:gd name="connsiteX6" fmla="*/ 56369 w 86728"/>
                <a:gd name="connsiteY6" fmla="*/ 195014 h 364027"/>
                <a:gd name="connsiteX7" fmla="*/ 60703 w 86728"/>
                <a:gd name="connsiteY7" fmla="*/ 177680 h 364027"/>
                <a:gd name="connsiteX8" fmla="*/ 65037 w 86728"/>
                <a:gd name="connsiteY8" fmla="*/ 60671 h 364027"/>
                <a:gd name="connsiteX9" fmla="*/ 69370 w 86728"/>
                <a:gd name="connsiteY9" fmla="*/ 47670 h 364027"/>
                <a:gd name="connsiteX10" fmla="*/ 78038 w 86728"/>
                <a:gd name="connsiteY10" fmla="*/ 34669 h 364027"/>
                <a:gd name="connsiteX11" fmla="*/ 86705 w 86728"/>
                <a:gd name="connsiteY11" fmla="*/ 0 h 364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728" h="364027">
                  <a:moveTo>
                    <a:pt x="8699" y="364027"/>
                  </a:moveTo>
                  <a:cubicBezTo>
                    <a:pt x="5810" y="356804"/>
                    <a:pt x="517" y="350122"/>
                    <a:pt x="32" y="342358"/>
                  </a:cubicBezTo>
                  <a:cubicBezTo>
                    <a:pt x="-212" y="338446"/>
                    <a:pt x="750" y="295995"/>
                    <a:pt x="8699" y="281687"/>
                  </a:cubicBezTo>
                  <a:cubicBezTo>
                    <a:pt x="13758" y="272581"/>
                    <a:pt x="20256" y="264352"/>
                    <a:pt x="26034" y="255685"/>
                  </a:cubicBezTo>
                  <a:cubicBezTo>
                    <a:pt x="36967" y="239286"/>
                    <a:pt x="31019" y="246368"/>
                    <a:pt x="43368" y="234017"/>
                  </a:cubicBezTo>
                  <a:lnTo>
                    <a:pt x="52036" y="208015"/>
                  </a:lnTo>
                  <a:cubicBezTo>
                    <a:pt x="53481" y="203681"/>
                    <a:pt x="55261" y="199446"/>
                    <a:pt x="56369" y="195014"/>
                  </a:cubicBezTo>
                  <a:lnTo>
                    <a:pt x="60703" y="177680"/>
                  </a:lnTo>
                  <a:cubicBezTo>
                    <a:pt x="62148" y="138677"/>
                    <a:pt x="62441" y="99614"/>
                    <a:pt x="65037" y="60671"/>
                  </a:cubicBezTo>
                  <a:cubicBezTo>
                    <a:pt x="65341" y="56113"/>
                    <a:pt x="67327" y="51756"/>
                    <a:pt x="69370" y="47670"/>
                  </a:cubicBezTo>
                  <a:cubicBezTo>
                    <a:pt x="71699" y="43011"/>
                    <a:pt x="75149" y="39003"/>
                    <a:pt x="78038" y="34669"/>
                  </a:cubicBezTo>
                  <a:cubicBezTo>
                    <a:pt x="87619" y="5926"/>
                    <a:pt x="86705" y="17803"/>
                    <a:pt x="86705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7" name="Figura a mano libera 16"/>
            <p:cNvSpPr/>
            <p:nvPr/>
          </p:nvSpPr>
          <p:spPr>
            <a:xfrm>
              <a:off x="-5793047" y="-1630339"/>
              <a:ext cx="71930" cy="799073"/>
            </a:xfrm>
            <a:custGeom>
              <a:avLst/>
              <a:gdLst>
                <a:gd name="connsiteX0" fmla="*/ 86993 w 86993"/>
                <a:gd name="connsiteY0" fmla="*/ 966404 h 966404"/>
                <a:gd name="connsiteX1" fmla="*/ 82659 w 86993"/>
                <a:gd name="connsiteY1" fmla="*/ 918734 h 966404"/>
                <a:gd name="connsiteX2" fmla="*/ 73992 w 86993"/>
                <a:gd name="connsiteY2" fmla="*/ 905733 h 966404"/>
                <a:gd name="connsiteX3" fmla="*/ 65325 w 86993"/>
                <a:gd name="connsiteY3" fmla="*/ 875397 h 966404"/>
                <a:gd name="connsiteX4" fmla="*/ 52324 w 86993"/>
                <a:gd name="connsiteY4" fmla="*/ 801725 h 966404"/>
                <a:gd name="connsiteX5" fmla="*/ 56657 w 86993"/>
                <a:gd name="connsiteY5" fmla="*/ 728053 h 966404"/>
                <a:gd name="connsiteX6" fmla="*/ 73992 w 86993"/>
                <a:gd name="connsiteY6" fmla="*/ 684716 h 966404"/>
                <a:gd name="connsiteX7" fmla="*/ 78326 w 86993"/>
                <a:gd name="connsiteY7" fmla="*/ 671716 h 966404"/>
                <a:gd name="connsiteX8" fmla="*/ 82659 w 86993"/>
                <a:gd name="connsiteY8" fmla="*/ 637046 h 966404"/>
                <a:gd name="connsiteX9" fmla="*/ 86993 w 86993"/>
                <a:gd name="connsiteY9" fmla="*/ 619712 h 966404"/>
                <a:gd name="connsiteX10" fmla="*/ 73992 w 86993"/>
                <a:gd name="connsiteY10" fmla="*/ 541706 h 966404"/>
                <a:gd name="connsiteX11" fmla="*/ 65325 w 86993"/>
                <a:gd name="connsiteY11" fmla="*/ 528705 h 966404"/>
                <a:gd name="connsiteX12" fmla="*/ 60991 w 86993"/>
                <a:gd name="connsiteY12" fmla="*/ 511370 h 966404"/>
                <a:gd name="connsiteX13" fmla="*/ 43657 w 86993"/>
                <a:gd name="connsiteY13" fmla="*/ 485369 h 966404"/>
                <a:gd name="connsiteX14" fmla="*/ 34989 w 86993"/>
                <a:gd name="connsiteY14" fmla="*/ 455033 h 966404"/>
                <a:gd name="connsiteX15" fmla="*/ 26322 w 86993"/>
                <a:gd name="connsiteY15" fmla="*/ 424697 h 966404"/>
                <a:gd name="connsiteX16" fmla="*/ 30656 w 86993"/>
                <a:gd name="connsiteY16" fmla="*/ 385695 h 966404"/>
                <a:gd name="connsiteX17" fmla="*/ 39323 w 86993"/>
                <a:gd name="connsiteY17" fmla="*/ 368360 h 966404"/>
                <a:gd name="connsiteX18" fmla="*/ 47990 w 86993"/>
                <a:gd name="connsiteY18" fmla="*/ 338025 h 966404"/>
                <a:gd name="connsiteX19" fmla="*/ 52324 w 86993"/>
                <a:gd name="connsiteY19" fmla="*/ 325024 h 966404"/>
                <a:gd name="connsiteX20" fmla="*/ 47990 w 86993"/>
                <a:gd name="connsiteY20" fmla="*/ 281687 h 966404"/>
                <a:gd name="connsiteX21" fmla="*/ 39323 w 86993"/>
                <a:gd name="connsiteY21" fmla="*/ 255685 h 966404"/>
                <a:gd name="connsiteX22" fmla="*/ 34989 w 86993"/>
                <a:gd name="connsiteY22" fmla="*/ 234017 h 966404"/>
                <a:gd name="connsiteX23" fmla="*/ 30656 w 86993"/>
                <a:gd name="connsiteY23" fmla="*/ 221016 h 966404"/>
                <a:gd name="connsiteX24" fmla="*/ 26322 w 86993"/>
                <a:gd name="connsiteY24" fmla="*/ 203681 h 966404"/>
                <a:gd name="connsiteX25" fmla="*/ 21988 w 86993"/>
                <a:gd name="connsiteY25" fmla="*/ 190680 h 966404"/>
                <a:gd name="connsiteX26" fmla="*/ 17655 w 86993"/>
                <a:gd name="connsiteY26" fmla="*/ 169012 h 966404"/>
                <a:gd name="connsiteX27" fmla="*/ 8987 w 86993"/>
                <a:gd name="connsiteY27" fmla="*/ 108341 h 966404"/>
                <a:gd name="connsiteX28" fmla="*/ 320 w 86993"/>
                <a:gd name="connsiteY28" fmla="*/ 39003 h 966404"/>
                <a:gd name="connsiteX29" fmla="*/ 320 w 86993"/>
                <a:gd name="connsiteY29" fmla="*/ 0 h 96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6993" h="966404">
                  <a:moveTo>
                    <a:pt x="86993" y="966404"/>
                  </a:moveTo>
                  <a:cubicBezTo>
                    <a:pt x="85548" y="950514"/>
                    <a:pt x="86002" y="934335"/>
                    <a:pt x="82659" y="918734"/>
                  </a:cubicBezTo>
                  <a:cubicBezTo>
                    <a:pt x="81568" y="913641"/>
                    <a:pt x="75926" y="910569"/>
                    <a:pt x="73992" y="905733"/>
                  </a:cubicBezTo>
                  <a:cubicBezTo>
                    <a:pt x="70086" y="895969"/>
                    <a:pt x="67734" y="885634"/>
                    <a:pt x="65325" y="875397"/>
                  </a:cubicBezTo>
                  <a:cubicBezTo>
                    <a:pt x="57561" y="842402"/>
                    <a:pt x="56724" y="832529"/>
                    <a:pt x="52324" y="801725"/>
                  </a:cubicBezTo>
                  <a:cubicBezTo>
                    <a:pt x="53768" y="777168"/>
                    <a:pt x="53475" y="752446"/>
                    <a:pt x="56657" y="728053"/>
                  </a:cubicBezTo>
                  <a:cubicBezTo>
                    <a:pt x="59122" y="709154"/>
                    <a:pt x="67070" y="700867"/>
                    <a:pt x="73992" y="684716"/>
                  </a:cubicBezTo>
                  <a:cubicBezTo>
                    <a:pt x="75791" y="680518"/>
                    <a:pt x="76881" y="676049"/>
                    <a:pt x="78326" y="671716"/>
                  </a:cubicBezTo>
                  <a:cubicBezTo>
                    <a:pt x="79770" y="660159"/>
                    <a:pt x="80744" y="648534"/>
                    <a:pt x="82659" y="637046"/>
                  </a:cubicBezTo>
                  <a:cubicBezTo>
                    <a:pt x="83638" y="631171"/>
                    <a:pt x="86993" y="625668"/>
                    <a:pt x="86993" y="619712"/>
                  </a:cubicBezTo>
                  <a:cubicBezTo>
                    <a:pt x="86993" y="606706"/>
                    <a:pt x="85485" y="558946"/>
                    <a:pt x="73992" y="541706"/>
                  </a:cubicBezTo>
                  <a:lnTo>
                    <a:pt x="65325" y="528705"/>
                  </a:lnTo>
                  <a:cubicBezTo>
                    <a:pt x="63880" y="522927"/>
                    <a:pt x="63655" y="516697"/>
                    <a:pt x="60991" y="511370"/>
                  </a:cubicBezTo>
                  <a:cubicBezTo>
                    <a:pt x="56333" y="502053"/>
                    <a:pt x="43657" y="485369"/>
                    <a:pt x="43657" y="485369"/>
                  </a:cubicBezTo>
                  <a:cubicBezTo>
                    <a:pt x="30095" y="431124"/>
                    <a:pt x="47434" y="498594"/>
                    <a:pt x="34989" y="455033"/>
                  </a:cubicBezTo>
                  <a:cubicBezTo>
                    <a:pt x="24106" y="416941"/>
                    <a:pt x="36713" y="455869"/>
                    <a:pt x="26322" y="424697"/>
                  </a:cubicBezTo>
                  <a:cubicBezTo>
                    <a:pt x="27767" y="411696"/>
                    <a:pt x="27715" y="398441"/>
                    <a:pt x="30656" y="385695"/>
                  </a:cubicBezTo>
                  <a:cubicBezTo>
                    <a:pt x="32109" y="379400"/>
                    <a:pt x="36778" y="374298"/>
                    <a:pt x="39323" y="368360"/>
                  </a:cubicBezTo>
                  <a:cubicBezTo>
                    <a:pt x="43779" y="357963"/>
                    <a:pt x="44846" y="349030"/>
                    <a:pt x="47990" y="338025"/>
                  </a:cubicBezTo>
                  <a:cubicBezTo>
                    <a:pt x="49245" y="333633"/>
                    <a:pt x="50879" y="329358"/>
                    <a:pt x="52324" y="325024"/>
                  </a:cubicBezTo>
                  <a:cubicBezTo>
                    <a:pt x="50879" y="310578"/>
                    <a:pt x="50665" y="295956"/>
                    <a:pt x="47990" y="281687"/>
                  </a:cubicBezTo>
                  <a:cubicBezTo>
                    <a:pt x="46306" y="272707"/>
                    <a:pt x="41115" y="264644"/>
                    <a:pt x="39323" y="255685"/>
                  </a:cubicBezTo>
                  <a:cubicBezTo>
                    <a:pt x="37878" y="248462"/>
                    <a:pt x="36775" y="241163"/>
                    <a:pt x="34989" y="234017"/>
                  </a:cubicBezTo>
                  <a:cubicBezTo>
                    <a:pt x="33881" y="229585"/>
                    <a:pt x="31911" y="225408"/>
                    <a:pt x="30656" y="221016"/>
                  </a:cubicBezTo>
                  <a:cubicBezTo>
                    <a:pt x="29020" y="215289"/>
                    <a:pt x="27958" y="209408"/>
                    <a:pt x="26322" y="203681"/>
                  </a:cubicBezTo>
                  <a:cubicBezTo>
                    <a:pt x="25067" y="199289"/>
                    <a:pt x="23096" y="195112"/>
                    <a:pt x="21988" y="190680"/>
                  </a:cubicBezTo>
                  <a:cubicBezTo>
                    <a:pt x="20202" y="183534"/>
                    <a:pt x="18973" y="176259"/>
                    <a:pt x="17655" y="169012"/>
                  </a:cubicBezTo>
                  <a:cubicBezTo>
                    <a:pt x="11945" y="137607"/>
                    <a:pt x="13697" y="143665"/>
                    <a:pt x="8987" y="108341"/>
                  </a:cubicBezTo>
                  <a:cubicBezTo>
                    <a:pt x="6166" y="87185"/>
                    <a:pt x="1476" y="59818"/>
                    <a:pt x="320" y="39003"/>
                  </a:cubicBezTo>
                  <a:cubicBezTo>
                    <a:pt x="-401" y="26022"/>
                    <a:pt x="320" y="13001"/>
                    <a:pt x="320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34" name="Figura a mano libera 133"/>
            <p:cNvSpPr/>
            <p:nvPr/>
          </p:nvSpPr>
          <p:spPr>
            <a:xfrm>
              <a:off x="-5722955" y="-1467480"/>
              <a:ext cx="37803" cy="629524"/>
            </a:xfrm>
            <a:custGeom>
              <a:avLst/>
              <a:gdLst>
                <a:gd name="connsiteX0" fmla="*/ 86993 w 86993"/>
                <a:gd name="connsiteY0" fmla="*/ 966404 h 966404"/>
                <a:gd name="connsiteX1" fmla="*/ 82659 w 86993"/>
                <a:gd name="connsiteY1" fmla="*/ 918734 h 966404"/>
                <a:gd name="connsiteX2" fmla="*/ 73992 w 86993"/>
                <a:gd name="connsiteY2" fmla="*/ 905733 h 966404"/>
                <a:gd name="connsiteX3" fmla="*/ 65325 w 86993"/>
                <a:gd name="connsiteY3" fmla="*/ 875397 h 966404"/>
                <a:gd name="connsiteX4" fmla="*/ 52324 w 86993"/>
                <a:gd name="connsiteY4" fmla="*/ 801725 h 966404"/>
                <a:gd name="connsiteX5" fmla="*/ 56657 w 86993"/>
                <a:gd name="connsiteY5" fmla="*/ 728053 h 966404"/>
                <a:gd name="connsiteX6" fmla="*/ 73992 w 86993"/>
                <a:gd name="connsiteY6" fmla="*/ 684716 h 966404"/>
                <a:gd name="connsiteX7" fmla="*/ 78326 w 86993"/>
                <a:gd name="connsiteY7" fmla="*/ 671716 h 966404"/>
                <a:gd name="connsiteX8" fmla="*/ 82659 w 86993"/>
                <a:gd name="connsiteY8" fmla="*/ 637046 h 966404"/>
                <a:gd name="connsiteX9" fmla="*/ 86993 w 86993"/>
                <a:gd name="connsiteY9" fmla="*/ 619712 h 966404"/>
                <a:gd name="connsiteX10" fmla="*/ 73992 w 86993"/>
                <a:gd name="connsiteY10" fmla="*/ 541706 h 966404"/>
                <a:gd name="connsiteX11" fmla="*/ 65325 w 86993"/>
                <a:gd name="connsiteY11" fmla="*/ 528705 h 966404"/>
                <a:gd name="connsiteX12" fmla="*/ 60991 w 86993"/>
                <a:gd name="connsiteY12" fmla="*/ 511370 h 966404"/>
                <a:gd name="connsiteX13" fmla="*/ 43657 w 86993"/>
                <a:gd name="connsiteY13" fmla="*/ 485369 h 966404"/>
                <a:gd name="connsiteX14" fmla="*/ 34989 w 86993"/>
                <a:gd name="connsiteY14" fmla="*/ 455033 h 966404"/>
                <a:gd name="connsiteX15" fmla="*/ 26322 w 86993"/>
                <a:gd name="connsiteY15" fmla="*/ 424697 h 966404"/>
                <a:gd name="connsiteX16" fmla="*/ 30656 w 86993"/>
                <a:gd name="connsiteY16" fmla="*/ 385695 h 966404"/>
                <a:gd name="connsiteX17" fmla="*/ 39323 w 86993"/>
                <a:gd name="connsiteY17" fmla="*/ 368360 h 966404"/>
                <a:gd name="connsiteX18" fmla="*/ 47990 w 86993"/>
                <a:gd name="connsiteY18" fmla="*/ 338025 h 966404"/>
                <a:gd name="connsiteX19" fmla="*/ 52324 w 86993"/>
                <a:gd name="connsiteY19" fmla="*/ 325024 h 966404"/>
                <a:gd name="connsiteX20" fmla="*/ 47990 w 86993"/>
                <a:gd name="connsiteY20" fmla="*/ 281687 h 966404"/>
                <a:gd name="connsiteX21" fmla="*/ 39323 w 86993"/>
                <a:gd name="connsiteY21" fmla="*/ 255685 h 966404"/>
                <a:gd name="connsiteX22" fmla="*/ 34989 w 86993"/>
                <a:gd name="connsiteY22" fmla="*/ 234017 h 966404"/>
                <a:gd name="connsiteX23" fmla="*/ 30656 w 86993"/>
                <a:gd name="connsiteY23" fmla="*/ 221016 h 966404"/>
                <a:gd name="connsiteX24" fmla="*/ 26322 w 86993"/>
                <a:gd name="connsiteY24" fmla="*/ 203681 h 966404"/>
                <a:gd name="connsiteX25" fmla="*/ 21988 w 86993"/>
                <a:gd name="connsiteY25" fmla="*/ 190680 h 966404"/>
                <a:gd name="connsiteX26" fmla="*/ 17655 w 86993"/>
                <a:gd name="connsiteY26" fmla="*/ 169012 h 966404"/>
                <a:gd name="connsiteX27" fmla="*/ 8987 w 86993"/>
                <a:gd name="connsiteY27" fmla="*/ 108341 h 966404"/>
                <a:gd name="connsiteX28" fmla="*/ 320 w 86993"/>
                <a:gd name="connsiteY28" fmla="*/ 39003 h 966404"/>
                <a:gd name="connsiteX29" fmla="*/ 320 w 86993"/>
                <a:gd name="connsiteY29" fmla="*/ 0 h 96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6993" h="966404">
                  <a:moveTo>
                    <a:pt x="86993" y="966404"/>
                  </a:moveTo>
                  <a:cubicBezTo>
                    <a:pt x="85548" y="950514"/>
                    <a:pt x="86002" y="934335"/>
                    <a:pt x="82659" y="918734"/>
                  </a:cubicBezTo>
                  <a:cubicBezTo>
                    <a:pt x="81568" y="913641"/>
                    <a:pt x="75926" y="910569"/>
                    <a:pt x="73992" y="905733"/>
                  </a:cubicBezTo>
                  <a:cubicBezTo>
                    <a:pt x="70086" y="895969"/>
                    <a:pt x="67734" y="885634"/>
                    <a:pt x="65325" y="875397"/>
                  </a:cubicBezTo>
                  <a:cubicBezTo>
                    <a:pt x="57561" y="842402"/>
                    <a:pt x="56724" y="832529"/>
                    <a:pt x="52324" y="801725"/>
                  </a:cubicBezTo>
                  <a:cubicBezTo>
                    <a:pt x="53768" y="777168"/>
                    <a:pt x="53475" y="752446"/>
                    <a:pt x="56657" y="728053"/>
                  </a:cubicBezTo>
                  <a:cubicBezTo>
                    <a:pt x="59122" y="709154"/>
                    <a:pt x="67070" y="700867"/>
                    <a:pt x="73992" y="684716"/>
                  </a:cubicBezTo>
                  <a:cubicBezTo>
                    <a:pt x="75791" y="680518"/>
                    <a:pt x="76881" y="676049"/>
                    <a:pt x="78326" y="671716"/>
                  </a:cubicBezTo>
                  <a:cubicBezTo>
                    <a:pt x="79770" y="660159"/>
                    <a:pt x="80744" y="648534"/>
                    <a:pt x="82659" y="637046"/>
                  </a:cubicBezTo>
                  <a:cubicBezTo>
                    <a:pt x="83638" y="631171"/>
                    <a:pt x="86993" y="625668"/>
                    <a:pt x="86993" y="619712"/>
                  </a:cubicBezTo>
                  <a:cubicBezTo>
                    <a:pt x="86993" y="606706"/>
                    <a:pt x="85485" y="558946"/>
                    <a:pt x="73992" y="541706"/>
                  </a:cubicBezTo>
                  <a:lnTo>
                    <a:pt x="65325" y="528705"/>
                  </a:lnTo>
                  <a:cubicBezTo>
                    <a:pt x="63880" y="522927"/>
                    <a:pt x="63655" y="516697"/>
                    <a:pt x="60991" y="511370"/>
                  </a:cubicBezTo>
                  <a:cubicBezTo>
                    <a:pt x="56333" y="502053"/>
                    <a:pt x="43657" y="485369"/>
                    <a:pt x="43657" y="485369"/>
                  </a:cubicBezTo>
                  <a:cubicBezTo>
                    <a:pt x="30095" y="431124"/>
                    <a:pt x="47434" y="498594"/>
                    <a:pt x="34989" y="455033"/>
                  </a:cubicBezTo>
                  <a:cubicBezTo>
                    <a:pt x="24106" y="416941"/>
                    <a:pt x="36713" y="455869"/>
                    <a:pt x="26322" y="424697"/>
                  </a:cubicBezTo>
                  <a:cubicBezTo>
                    <a:pt x="27767" y="411696"/>
                    <a:pt x="27715" y="398441"/>
                    <a:pt x="30656" y="385695"/>
                  </a:cubicBezTo>
                  <a:cubicBezTo>
                    <a:pt x="32109" y="379400"/>
                    <a:pt x="36778" y="374298"/>
                    <a:pt x="39323" y="368360"/>
                  </a:cubicBezTo>
                  <a:cubicBezTo>
                    <a:pt x="43779" y="357963"/>
                    <a:pt x="44846" y="349030"/>
                    <a:pt x="47990" y="338025"/>
                  </a:cubicBezTo>
                  <a:cubicBezTo>
                    <a:pt x="49245" y="333633"/>
                    <a:pt x="50879" y="329358"/>
                    <a:pt x="52324" y="325024"/>
                  </a:cubicBezTo>
                  <a:cubicBezTo>
                    <a:pt x="50879" y="310578"/>
                    <a:pt x="50665" y="295956"/>
                    <a:pt x="47990" y="281687"/>
                  </a:cubicBezTo>
                  <a:cubicBezTo>
                    <a:pt x="46306" y="272707"/>
                    <a:pt x="41115" y="264644"/>
                    <a:pt x="39323" y="255685"/>
                  </a:cubicBezTo>
                  <a:cubicBezTo>
                    <a:pt x="37878" y="248462"/>
                    <a:pt x="36775" y="241163"/>
                    <a:pt x="34989" y="234017"/>
                  </a:cubicBezTo>
                  <a:cubicBezTo>
                    <a:pt x="33881" y="229585"/>
                    <a:pt x="31911" y="225408"/>
                    <a:pt x="30656" y="221016"/>
                  </a:cubicBezTo>
                  <a:cubicBezTo>
                    <a:pt x="29020" y="215289"/>
                    <a:pt x="27958" y="209408"/>
                    <a:pt x="26322" y="203681"/>
                  </a:cubicBezTo>
                  <a:cubicBezTo>
                    <a:pt x="25067" y="199289"/>
                    <a:pt x="23096" y="195112"/>
                    <a:pt x="21988" y="190680"/>
                  </a:cubicBezTo>
                  <a:cubicBezTo>
                    <a:pt x="20202" y="183534"/>
                    <a:pt x="18973" y="176259"/>
                    <a:pt x="17655" y="169012"/>
                  </a:cubicBezTo>
                  <a:cubicBezTo>
                    <a:pt x="11945" y="137607"/>
                    <a:pt x="13697" y="143665"/>
                    <a:pt x="8987" y="108341"/>
                  </a:cubicBezTo>
                  <a:cubicBezTo>
                    <a:pt x="6166" y="87185"/>
                    <a:pt x="1476" y="59818"/>
                    <a:pt x="320" y="39003"/>
                  </a:cubicBezTo>
                  <a:cubicBezTo>
                    <a:pt x="-401" y="26022"/>
                    <a:pt x="320" y="13001"/>
                    <a:pt x="320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56" name="Figura a mano libera 155"/>
            <p:cNvSpPr/>
            <p:nvPr/>
          </p:nvSpPr>
          <p:spPr>
            <a:xfrm>
              <a:off x="-5722956" y="-564009"/>
              <a:ext cx="37803" cy="629524"/>
            </a:xfrm>
            <a:custGeom>
              <a:avLst/>
              <a:gdLst>
                <a:gd name="connsiteX0" fmla="*/ 86993 w 86993"/>
                <a:gd name="connsiteY0" fmla="*/ 966404 h 966404"/>
                <a:gd name="connsiteX1" fmla="*/ 82659 w 86993"/>
                <a:gd name="connsiteY1" fmla="*/ 918734 h 966404"/>
                <a:gd name="connsiteX2" fmla="*/ 73992 w 86993"/>
                <a:gd name="connsiteY2" fmla="*/ 905733 h 966404"/>
                <a:gd name="connsiteX3" fmla="*/ 65325 w 86993"/>
                <a:gd name="connsiteY3" fmla="*/ 875397 h 966404"/>
                <a:gd name="connsiteX4" fmla="*/ 52324 w 86993"/>
                <a:gd name="connsiteY4" fmla="*/ 801725 h 966404"/>
                <a:gd name="connsiteX5" fmla="*/ 56657 w 86993"/>
                <a:gd name="connsiteY5" fmla="*/ 728053 h 966404"/>
                <a:gd name="connsiteX6" fmla="*/ 73992 w 86993"/>
                <a:gd name="connsiteY6" fmla="*/ 684716 h 966404"/>
                <a:gd name="connsiteX7" fmla="*/ 78326 w 86993"/>
                <a:gd name="connsiteY7" fmla="*/ 671716 h 966404"/>
                <a:gd name="connsiteX8" fmla="*/ 82659 w 86993"/>
                <a:gd name="connsiteY8" fmla="*/ 637046 h 966404"/>
                <a:gd name="connsiteX9" fmla="*/ 86993 w 86993"/>
                <a:gd name="connsiteY9" fmla="*/ 619712 h 966404"/>
                <a:gd name="connsiteX10" fmla="*/ 73992 w 86993"/>
                <a:gd name="connsiteY10" fmla="*/ 541706 h 966404"/>
                <a:gd name="connsiteX11" fmla="*/ 65325 w 86993"/>
                <a:gd name="connsiteY11" fmla="*/ 528705 h 966404"/>
                <a:gd name="connsiteX12" fmla="*/ 60991 w 86993"/>
                <a:gd name="connsiteY12" fmla="*/ 511370 h 966404"/>
                <a:gd name="connsiteX13" fmla="*/ 43657 w 86993"/>
                <a:gd name="connsiteY13" fmla="*/ 485369 h 966404"/>
                <a:gd name="connsiteX14" fmla="*/ 34989 w 86993"/>
                <a:gd name="connsiteY14" fmla="*/ 455033 h 966404"/>
                <a:gd name="connsiteX15" fmla="*/ 26322 w 86993"/>
                <a:gd name="connsiteY15" fmla="*/ 424697 h 966404"/>
                <a:gd name="connsiteX16" fmla="*/ 30656 w 86993"/>
                <a:gd name="connsiteY16" fmla="*/ 385695 h 966404"/>
                <a:gd name="connsiteX17" fmla="*/ 39323 w 86993"/>
                <a:gd name="connsiteY17" fmla="*/ 368360 h 966404"/>
                <a:gd name="connsiteX18" fmla="*/ 47990 w 86993"/>
                <a:gd name="connsiteY18" fmla="*/ 338025 h 966404"/>
                <a:gd name="connsiteX19" fmla="*/ 52324 w 86993"/>
                <a:gd name="connsiteY19" fmla="*/ 325024 h 966404"/>
                <a:gd name="connsiteX20" fmla="*/ 47990 w 86993"/>
                <a:gd name="connsiteY20" fmla="*/ 281687 h 966404"/>
                <a:gd name="connsiteX21" fmla="*/ 39323 w 86993"/>
                <a:gd name="connsiteY21" fmla="*/ 255685 h 966404"/>
                <a:gd name="connsiteX22" fmla="*/ 34989 w 86993"/>
                <a:gd name="connsiteY22" fmla="*/ 234017 h 966404"/>
                <a:gd name="connsiteX23" fmla="*/ 30656 w 86993"/>
                <a:gd name="connsiteY23" fmla="*/ 221016 h 966404"/>
                <a:gd name="connsiteX24" fmla="*/ 26322 w 86993"/>
                <a:gd name="connsiteY24" fmla="*/ 203681 h 966404"/>
                <a:gd name="connsiteX25" fmla="*/ 21988 w 86993"/>
                <a:gd name="connsiteY25" fmla="*/ 190680 h 966404"/>
                <a:gd name="connsiteX26" fmla="*/ 17655 w 86993"/>
                <a:gd name="connsiteY26" fmla="*/ 169012 h 966404"/>
                <a:gd name="connsiteX27" fmla="*/ 8987 w 86993"/>
                <a:gd name="connsiteY27" fmla="*/ 108341 h 966404"/>
                <a:gd name="connsiteX28" fmla="*/ 320 w 86993"/>
                <a:gd name="connsiteY28" fmla="*/ 39003 h 966404"/>
                <a:gd name="connsiteX29" fmla="*/ 320 w 86993"/>
                <a:gd name="connsiteY29" fmla="*/ 0 h 96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6993" h="966404">
                  <a:moveTo>
                    <a:pt x="86993" y="966404"/>
                  </a:moveTo>
                  <a:cubicBezTo>
                    <a:pt x="85548" y="950514"/>
                    <a:pt x="86002" y="934335"/>
                    <a:pt x="82659" y="918734"/>
                  </a:cubicBezTo>
                  <a:cubicBezTo>
                    <a:pt x="81568" y="913641"/>
                    <a:pt x="75926" y="910569"/>
                    <a:pt x="73992" y="905733"/>
                  </a:cubicBezTo>
                  <a:cubicBezTo>
                    <a:pt x="70086" y="895969"/>
                    <a:pt x="67734" y="885634"/>
                    <a:pt x="65325" y="875397"/>
                  </a:cubicBezTo>
                  <a:cubicBezTo>
                    <a:pt x="57561" y="842402"/>
                    <a:pt x="56724" y="832529"/>
                    <a:pt x="52324" y="801725"/>
                  </a:cubicBezTo>
                  <a:cubicBezTo>
                    <a:pt x="53768" y="777168"/>
                    <a:pt x="53475" y="752446"/>
                    <a:pt x="56657" y="728053"/>
                  </a:cubicBezTo>
                  <a:cubicBezTo>
                    <a:pt x="59122" y="709154"/>
                    <a:pt x="67070" y="700867"/>
                    <a:pt x="73992" y="684716"/>
                  </a:cubicBezTo>
                  <a:cubicBezTo>
                    <a:pt x="75791" y="680518"/>
                    <a:pt x="76881" y="676049"/>
                    <a:pt x="78326" y="671716"/>
                  </a:cubicBezTo>
                  <a:cubicBezTo>
                    <a:pt x="79770" y="660159"/>
                    <a:pt x="80744" y="648534"/>
                    <a:pt x="82659" y="637046"/>
                  </a:cubicBezTo>
                  <a:cubicBezTo>
                    <a:pt x="83638" y="631171"/>
                    <a:pt x="86993" y="625668"/>
                    <a:pt x="86993" y="619712"/>
                  </a:cubicBezTo>
                  <a:cubicBezTo>
                    <a:pt x="86993" y="606706"/>
                    <a:pt x="85485" y="558946"/>
                    <a:pt x="73992" y="541706"/>
                  </a:cubicBezTo>
                  <a:lnTo>
                    <a:pt x="65325" y="528705"/>
                  </a:lnTo>
                  <a:cubicBezTo>
                    <a:pt x="63880" y="522927"/>
                    <a:pt x="63655" y="516697"/>
                    <a:pt x="60991" y="511370"/>
                  </a:cubicBezTo>
                  <a:cubicBezTo>
                    <a:pt x="56333" y="502053"/>
                    <a:pt x="43657" y="485369"/>
                    <a:pt x="43657" y="485369"/>
                  </a:cubicBezTo>
                  <a:cubicBezTo>
                    <a:pt x="30095" y="431124"/>
                    <a:pt x="47434" y="498594"/>
                    <a:pt x="34989" y="455033"/>
                  </a:cubicBezTo>
                  <a:cubicBezTo>
                    <a:pt x="24106" y="416941"/>
                    <a:pt x="36713" y="455869"/>
                    <a:pt x="26322" y="424697"/>
                  </a:cubicBezTo>
                  <a:cubicBezTo>
                    <a:pt x="27767" y="411696"/>
                    <a:pt x="27715" y="398441"/>
                    <a:pt x="30656" y="385695"/>
                  </a:cubicBezTo>
                  <a:cubicBezTo>
                    <a:pt x="32109" y="379400"/>
                    <a:pt x="36778" y="374298"/>
                    <a:pt x="39323" y="368360"/>
                  </a:cubicBezTo>
                  <a:cubicBezTo>
                    <a:pt x="43779" y="357963"/>
                    <a:pt x="44846" y="349030"/>
                    <a:pt x="47990" y="338025"/>
                  </a:cubicBezTo>
                  <a:cubicBezTo>
                    <a:pt x="49245" y="333633"/>
                    <a:pt x="50879" y="329358"/>
                    <a:pt x="52324" y="325024"/>
                  </a:cubicBezTo>
                  <a:cubicBezTo>
                    <a:pt x="50879" y="310578"/>
                    <a:pt x="50665" y="295956"/>
                    <a:pt x="47990" y="281687"/>
                  </a:cubicBezTo>
                  <a:cubicBezTo>
                    <a:pt x="46306" y="272707"/>
                    <a:pt x="41115" y="264644"/>
                    <a:pt x="39323" y="255685"/>
                  </a:cubicBezTo>
                  <a:cubicBezTo>
                    <a:pt x="37878" y="248462"/>
                    <a:pt x="36775" y="241163"/>
                    <a:pt x="34989" y="234017"/>
                  </a:cubicBezTo>
                  <a:cubicBezTo>
                    <a:pt x="33881" y="229585"/>
                    <a:pt x="31911" y="225408"/>
                    <a:pt x="30656" y="221016"/>
                  </a:cubicBezTo>
                  <a:cubicBezTo>
                    <a:pt x="29020" y="215289"/>
                    <a:pt x="27958" y="209408"/>
                    <a:pt x="26322" y="203681"/>
                  </a:cubicBezTo>
                  <a:cubicBezTo>
                    <a:pt x="25067" y="199289"/>
                    <a:pt x="23096" y="195112"/>
                    <a:pt x="21988" y="190680"/>
                  </a:cubicBezTo>
                  <a:cubicBezTo>
                    <a:pt x="20202" y="183534"/>
                    <a:pt x="18973" y="176259"/>
                    <a:pt x="17655" y="169012"/>
                  </a:cubicBezTo>
                  <a:cubicBezTo>
                    <a:pt x="11945" y="137607"/>
                    <a:pt x="13697" y="143665"/>
                    <a:pt x="8987" y="108341"/>
                  </a:cubicBezTo>
                  <a:cubicBezTo>
                    <a:pt x="6166" y="87185"/>
                    <a:pt x="1476" y="59818"/>
                    <a:pt x="320" y="39003"/>
                  </a:cubicBezTo>
                  <a:cubicBezTo>
                    <a:pt x="-401" y="26022"/>
                    <a:pt x="320" y="13001"/>
                    <a:pt x="320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57" name="Figura a mano libera 156"/>
            <p:cNvSpPr/>
            <p:nvPr/>
          </p:nvSpPr>
          <p:spPr>
            <a:xfrm>
              <a:off x="-5385845" y="-557263"/>
              <a:ext cx="71930" cy="799073"/>
            </a:xfrm>
            <a:custGeom>
              <a:avLst/>
              <a:gdLst>
                <a:gd name="connsiteX0" fmla="*/ 86993 w 86993"/>
                <a:gd name="connsiteY0" fmla="*/ 966404 h 966404"/>
                <a:gd name="connsiteX1" fmla="*/ 82659 w 86993"/>
                <a:gd name="connsiteY1" fmla="*/ 918734 h 966404"/>
                <a:gd name="connsiteX2" fmla="*/ 73992 w 86993"/>
                <a:gd name="connsiteY2" fmla="*/ 905733 h 966404"/>
                <a:gd name="connsiteX3" fmla="*/ 65325 w 86993"/>
                <a:gd name="connsiteY3" fmla="*/ 875397 h 966404"/>
                <a:gd name="connsiteX4" fmla="*/ 52324 w 86993"/>
                <a:gd name="connsiteY4" fmla="*/ 801725 h 966404"/>
                <a:gd name="connsiteX5" fmla="*/ 56657 w 86993"/>
                <a:gd name="connsiteY5" fmla="*/ 728053 h 966404"/>
                <a:gd name="connsiteX6" fmla="*/ 73992 w 86993"/>
                <a:gd name="connsiteY6" fmla="*/ 684716 h 966404"/>
                <a:gd name="connsiteX7" fmla="*/ 78326 w 86993"/>
                <a:gd name="connsiteY7" fmla="*/ 671716 h 966404"/>
                <a:gd name="connsiteX8" fmla="*/ 82659 w 86993"/>
                <a:gd name="connsiteY8" fmla="*/ 637046 h 966404"/>
                <a:gd name="connsiteX9" fmla="*/ 86993 w 86993"/>
                <a:gd name="connsiteY9" fmla="*/ 619712 h 966404"/>
                <a:gd name="connsiteX10" fmla="*/ 73992 w 86993"/>
                <a:gd name="connsiteY10" fmla="*/ 541706 h 966404"/>
                <a:gd name="connsiteX11" fmla="*/ 65325 w 86993"/>
                <a:gd name="connsiteY11" fmla="*/ 528705 h 966404"/>
                <a:gd name="connsiteX12" fmla="*/ 60991 w 86993"/>
                <a:gd name="connsiteY12" fmla="*/ 511370 h 966404"/>
                <a:gd name="connsiteX13" fmla="*/ 43657 w 86993"/>
                <a:gd name="connsiteY13" fmla="*/ 485369 h 966404"/>
                <a:gd name="connsiteX14" fmla="*/ 34989 w 86993"/>
                <a:gd name="connsiteY14" fmla="*/ 455033 h 966404"/>
                <a:gd name="connsiteX15" fmla="*/ 26322 w 86993"/>
                <a:gd name="connsiteY15" fmla="*/ 424697 h 966404"/>
                <a:gd name="connsiteX16" fmla="*/ 30656 w 86993"/>
                <a:gd name="connsiteY16" fmla="*/ 385695 h 966404"/>
                <a:gd name="connsiteX17" fmla="*/ 39323 w 86993"/>
                <a:gd name="connsiteY17" fmla="*/ 368360 h 966404"/>
                <a:gd name="connsiteX18" fmla="*/ 47990 w 86993"/>
                <a:gd name="connsiteY18" fmla="*/ 338025 h 966404"/>
                <a:gd name="connsiteX19" fmla="*/ 52324 w 86993"/>
                <a:gd name="connsiteY19" fmla="*/ 325024 h 966404"/>
                <a:gd name="connsiteX20" fmla="*/ 47990 w 86993"/>
                <a:gd name="connsiteY20" fmla="*/ 281687 h 966404"/>
                <a:gd name="connsiteX21" fmla="*/ 39323 w 86993"/>
                <a:gd name="connsiteY21" fmla="*/ 255685 h 966404"/>
                <a:gd name="connsiteX22" fmla="*/ 34989 w 86993"/>
                <a:gd name="connsiteY22" fmla="*/ 234017 h 966404"/>
                <a:gd name="connsiteX23" fmla="*/ 30656 w 86993"/>
                <a:gd name="connsiteY23" fmla="*/ 221016 h 966404"/>
                <a:gd name="connsiteX24" fmla="*/ 26322 w 86993"/>
                <a:gd name="connsiteY24" fmla="*/ 203681 h 966404"/>
                <a:gd name="connsiteX25" fmla="*/ 21988 w 86993"/>
                <a:gd name="connsiteY25" fmla="*/ 190680 h 966404"/>
                <a:gd name="connsiteX26" fmla="*/ 17655 w 86993"/>
                <a:gd name="connsiteY26" fmla="*/ 169012 h 966404"/>
                <a:gd name="connsiteX27" fmla="*/ 8987 w 86993"/>
                <a:gd name="connsiteY27" fmla="*/ 108341 h 966404"/>
                <a:gd name="connsiteX28" fmla="*/ 320 w 86993"/>
                <a:gd name="connsiteY28" fmla="*/ 39003 h 966404"/>
                <a:gd name="connsiteX29" fmla="*/ 320 w 86993"/>
                <a:gd name="connsiteY29" fmla="*/ 0 h 96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6993" h="966404">
                  <a:moveTo>
                    <a:pt x="86993" y="966404"/>
                  </a:moveTo>
                  <a:cubicBezTo>
                    <a:pt x="85548" y="950514"/>
                    <a:pt x="86002" y="934335"/>
                    <a:pt x="82659" y="918734"/>
                  </a:cubicBezTo>
                  <a:cubicBezTo>
                    <a:pt x="81568" y="913641"/>
                    <a:pt x="75926" y="910569"/>
                    <a:pt x="73992" y="905733"/>
                  </a:cubicBezTo>
                  <a:cubicBezTo>
                    <a:pt x="70086" y="895969"/>
                    <a:pt x="67734" y="885634"/>
                    <a:pt x="65325" y="875397"/>
                  </a:cubicBezTo>
                  <a:cubicBezTo>
                    <a:pt x="57561" y="842402"/>
                    <a:pt x="56724" y="832529"/>
                    <a:pt x="52324" y="801725"/>
                  </a:cubicBezTo>
                  <a:cubicBezTo>
                    <a:pt x="53768" y="777168"/>
                    <a:pt x="53475" y="752446"/>
                    <a:pt x="56657" y="728053"/>
                  </a:cubicBezTo>
                  <a:cubicBezTo>
                    <a:pt x="59122" y="709154"/>
                    <a:pt x="67070" y="700867"/>
                    <a:pt x="73992" y="684716"/>
                  </a:cubicBezTo>
                  <a:cubicBezTo>
                    <a:pt x="75791" y="680518"/>
                    <a:pt x="76881" y="676049"/>
                    <a:pt x="78326" y="671716"/>
                  </a:cubicBezTo>
                  <a:cubicBezTo>
                    <a:pt x="79770" y="660159"/>
                    <a:pt x="80744" y="648534"/>
                    <a:pt x="82659" y="637046"/>
                  </a:cubicBezTo>
                  <a:cubicBezTo>
                    <a:pt x="83638" y="631171"/>
                    <a:pt x="86993" y="625668"/>
                    <a:pt x="86993" y="619712"/>
                  </a:cubicBezTo>
                  <a:cubicBezTo>
                    <a:pt x="86993" y="606706"/>
                    <a:pt x="85485" y="558946"/>
                    <a:pt x="73992" y="541706"/>
                  </a:cubicBezTo>
                  <a:lnTo>
                    <a:pt x="65325" y="528705"/>
                  </a:lnTo>
                  <a:cubicBezTo>
                    <a:pt x="63880" y="522927"/>
                    <a:pt x="63655" y="516697"/>
                    <a:pt x="60991" y="511370"/>
                  </a:cubicBezTo>
                  <a:cubicBezTo>
                    <a:pt x="56333" y="502053"/>
                    <a:pt x="43657" y="485369"/>
                    <a:pt x="43657" y="485369"/>
                  </a:cubicBezTo>
                  <a:cubicBezTo>
                    <a:pt x="30095" y="431124"/>
                    <a:pt x="47434" y="498594"/>
                    <a:pt x="34989" y="455033"/>
                  </a:cubicBezTo>
                  <a:cubicBezTo>
                    <a:pt x="24106" y="416941"/>
                    <a:pt x="36713" y="455869"/>
                    <a:pt x="26322" y="424697"/>
                  </a:cubicBezTo>
                  <a:cubicBezTo>
                    <a:pt x="27767" y="411696"/>
                    <a:pt x="27715" y="398441"/>
                    <a:pt x="30656" y="385695"/>
                  </a:cubicBezTo>
                  <a:cubicBezTo>
                    <a:pt x="32109" y="379400"/>
                    <a:pt x="36778" y="374298"/>
                    <a:pt x="39323" y="368360"/>
                  </a:cubicBezTo>
                  <a:cubicBezTo>
                    <a:pt x="43779" y="357963"/>
                    <a:pt x="44846" y="349030"/>
                    <a:pt x="47990" y="338025"/>
                  </a:cubicBezTo>
                  <a:cubicBezTo>
                    <a:pt x="49245" y="333633"/>
                    <a:pt x="50879" y="329358"/>
                    <a:pt x="52324" y="325024"/>
                  </a:cubicBezTo>
                  <a:cubicBezTo>
                    <a:pt x="50879" y="310578"/>
                    <a:pt x="50665" y="295956"/>
                    <a:pt x="47990" y="281687"/>
                  </a:cubicBezTo>
                  <a:cubicBezTo>
                    <a:pt x="46306" y="272707"/>
                    <a:pt x="41115" y="264644"/>
                    <a:pt x="39323" y="255685"/>
                  </a:cubicBezTo>
                  <a:cubicBezTo>
                    <a:pt x="37878" y="248462"/>
                    <a:pt x="36775" y="241163"/>
                    <a:pt x="34989" y="234017"/>
                  </a:cubicBezTo>
                  <a:cubicBezTo>
                    <a:pt x="33881" y="229585"/>
                    <a:pt x="31911" y="225408"/>
                    <a:pt x="30656" y="221016"/>
                  </a:cubicBezTo>
                  <a:cubicBezTo>
                    <a:pt x="29020" y="215289"/>
                    <a:pt x="27958" y="209408"/>
                    <a:pt x="26322" y="203681"/>
                  </a:cubicBezTo>
                  <a:cubicBezTo>
                    <a:pt x="25067" y="199289"/>
                    <a:pt x="23096" y="195112"/>
                    <a:pt x="21988" y="190680"/>
                  </a:cubicBezTo>
                  <a:cubicBezTo>
                    <a:pt x="20202" y="183534"/>
                    <a:pt x="18973" y="176259"/>
                    <a:pt x="17655" y="169012"/>
                  </a:cubicBezTo>
                  <a:cubicBezTo>
                    <a:pt x="11945" y="137607"/>
                    <a:pt x="13697" y="143665"/>
                    <a:pt x="8987" y="108341"/>
                  </a:cubicBezTo>
                  <a:cubicBezTo>
                    <a:pt x="6166" y="87185"/>
                    <a:pt x="1476" y="59818"/>
                    <a:pt x="320" y="39003"/>
                  </a:cubicBezTo>
                  <a:cubicBezTo>
                    <a:pt x="-401" y="26022"/>
                    <a:pt x="320" y="13001"/>
                    <a:pt x="320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59" name="Figura a mano libera 158"/>
            <p:cNvSpPr/>
            <p:nvPr/>
          </p:nvSpPr>
          <p:spPr>
            <a:xfrm>
              <a:off x="-5785436" y="-564008"/>
              <a:ext cx="37803" cy="300996"/>
            </a:xfrm>
            <a:custGeom>
              <a:avLst/>
              <a:gdLst>
                <a:gd name="connsiteX0" fmla="*/ 8699 w 86728"/>
                <a:gd name="connsiteY0" fmla="*/ 364027 h 364027"/>
                <a:gd name="connsiteX1" fmla="*/ 32 w 86728"/>
                <a:gd name="connsiteY1" fmla="*/ 342358 h 364027"/>
                <a:gd name="connsiteX2" fmla="*/ 8699 w 86728"/>
                <a:gd name="connsiteY2" fmla="*/ 281687 h 364027"/>
                <a:gd name="connsiteX3" fmla="*/ 26034 w 86728"/>
                <a:gd name="connsiteY3" fmla="*/ 255685 h 364027"/>
                <a:gd name="connsiteX4" fmla="*/ 43368 w 86728"/>
                <a:gd name="connsiteY4" fmla="*/ 234017 h 364027"/>
                <a:gd name="connsiteX5" fmla="*/ 52036 w 86728"/>
                <a:gd name="connsiteY5" fmla="*/ 208015 h 364027"/>
                <a:gd name="connsiteX6" fmla="*/ 56369 w 86728"/>
                <a:gd name="connsiteY6" fmla="*/ 195014 h 364027"/>
                <a:gd name="connsiteX7" fmla="*/ 60703 w 86728"/>
                <a:gd name="connsiteY7" fmla="*/ 177680 h 364027"/>
                <a:gd name="connsiteX8" fmla="*/ 65037 w 86728"/>
                <a:gd name="connsiteY8" fmla="*/ 60671 h 364027"/>
                <a:gd name="connsiteX9" fmla="*/ 69370 w 86728"/>
                <a:gd name="connsiteY9" fmla="*/ 47670 h 364027"/>
                <a:gd name="connsiteX10" fmla="*/ 78038 w 86728"/>
                <a:gd name="connsiteY10" fmla="*/ 34669 h 364027"/>
                <a:gd name="connsiteX11" fmla="*/ 86705 w 86728"/>
                <a:gd name="connsiteY11" fmla="*/ 0 h 364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728" h="364027">
                  <a:moveTo>
                    <a:pt x="8699" y="364027"/>
                  </a:moveTo>
                  <a:cubicBezTo>
                    <a:pt x="5810" y="356804"/>
                    <a:pt x="517" y="350122"/>
                    <a:pt x="32" y="342358"/>
                  </a:cubicBezTo>
                  <a:cubicBezTo>
                    <a:pt x="-212" y="338446"/>
                    <a:pt x="750" y="295995"/>
                    <a:pt x="8699" y="281687"/>
                  </a:cubicBezTo>
                  <a:cubicBezTo>
                    <a:pt x="13758" y="272581"/>
                    <a:pt x="20256" y="264352"/>
                    <a:pt x="26034" y="255685"/>
                  </a:cubicBezTo>
                  <a:cubicBezTo>
                    <a:pt x="36967" y="239286"/>
                    <a:pt x="31019" y="246368"/>
                    <a:pt x="43368" y="234017"/>
                  </a:cubicBezTo>
                  <a:lnTo>
                    <a:pt x="52036" y="208015"/>
                  </a:lnTo>
                  <a:cubicBezTo>
                    <a:pt x="53481" y="203681"/>
                    <a:pt x="55261" y="199446"/>
                    <a:pt x="56369" y="195014"/>
                  </a:cubicBezTo>
                  <a:lnTo>
                    <a:pt x="60703" y="177680"/>
                  </a:lnTo>
                  <a:cubicBezTo>
                    <a:pt x="62148" y="138677"/>
                    <a:pt x="62441" y="99614"/>
                    <a:pt x="65037" y="60671"/>
                  </a:cubicBezTo>
                  <a:cubicBezTo>
                    <a:pt x="65341" y="56113"/>
                    <a:pt x="67327" y="51756"/>
                    <a:pt x="69370" y="47670"/>
                  </a:cubicBezTo>
                  <a:cubicBezTo>
                    <a:pt x="71699" y="43011"/>
                    <a:pt x="75149" y="39003"/>
                    <a:pt x="78038" y="34669"/>
                  </a:cubicBezTo>
                  <a:cubicBezTo>
                    <a:pt x="87619" y="5926"/>
                    <a:pt x="86705" y="17803"/>
                    <a:pt x="86705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60" name="Figura a mano libera 159"/>
            <p:cNvSpPr/>
            <p:nvPr/>
          </p:nvSpPr>
          <p:spPr>
            <a:xfrm flipV="1">
              <a:off x="-5685153" y="-557263"/>
              <a:ext cx="37803" cy="282275"/>
            </a:xfrm>
            <a:custGeom>
              <a:avLst/>
              <a:gdLst>
                <a:gd name="connsiteX0" fmla="*/ 8699 w 86728"/>
                <a:gd name="connsiteY0" fmla="*/ 364027 h 364027"/>
                <a:gd name="connsiteX1" fmla="*/ 32 w 86728"/>
                <a:gd name="connsiteY1" fmla="*/ 342358 h 364027"/>
                <a:gd name="connsiteX2" fmla="*/ 8699 w 86728"/>
                <a:gd name="connsiteY2" fmla="*/ 281687 h 364027"/>
                <a:gd name="connsiteX3" fmla="*/ 26034 w 86728"/>
                <a:gd name="connsiteY3" fmla="*/ 255685 h 364027"/>
                <a:gd name="connsiteX4" fmla="*/ 43368 w 86728"/>
                <a:gd name="connsiteY4" fmla="*/ 234017 h 364027"/>
                <a:gd name="connsiteX5" fmla="*/ 52036 w 86728"/>
                <a:gd name="connsiteY5" fmla="*/ 208015 h 364027"/>
                <a:gd name="connsiteX6" fmla="*/ 56369 w 86728"/>
                <a:gd name="connsiteY6" fmla="*/ 195014 h 364027"/>
                <a:gd name="connsiteX7" fmla="*/ 60703 w 86728"/>
                <a:gd name="connsiteY7" fmla="*/ 177680 h 364027"/>
                <a:gd name="connsiteX8" fmla="*/ 65037 w 86728"/>
                <a:gd name="connsiteY8" fmla="*/ 60671 h 364027"/>
                <a:gd name="connsiteX9" fmla="*/ 69370 w 86728"/>
                <a:gd name="connsiteY9" fmla="*/ 47670 h 364027"/>
                <a:gd name="connsiteX10" fmla="*/ 78038 w 86728"/>
                <a:gd name="connsiteY10" fmla="*/ 34669 h 364027"/>
                <a:gd name="connsiteX11" fmla="*/ 86705 w 86728"/>
                <a:gd name="connsiteY11" fmla="*/ 0 h 364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728" h="364027">
                  <a:moveTo>
                    <a:pt x="8699" y="364027"/>
                  </a:moveTo>
                  <a:cubicBezTo>
                    <a:pt x="5810" y="356804"/>
                    <a:pt x="517" y="350122"/>
                    <a:pt x="32" y="342358"/>
                  </a:cubicBezTo>
                  <a:cubicBezTo>
                    <a:pt x="-212" y="338446"/>
                    <a:pt x="750" y="295995"/>
                    <a:pt x="8699" y="281687"/>
                  </a:cubicBezTo>
                  <a:cubicBezTo>
                    <a:pt x="13758" y="272581"/>
                    <a:pt x="20256" y="264352"/>
                    <a:pt x="26034" y="255685"/>
                  </a:cubicBezTo>
                  <a:cubicBezTo>
                    <a:pt x="36967" y="239286"/>
                    <a:pt x="31019" y="246368"/>
                    <a:pt x="43368" y="234017"/>
                  </a:cubicBezTo>
                  <a:lnTo>
                    <a:pt x="52036" y="208015"/>
                  </a:lnTo>
                  <a:cubicBezTo>
                    <a:pt x="53481" y="203681"/>
                    <a:pt x="55261" y="199446"/>
                    <a:pt x="56369" y="195014"/>
                  </a:cubicBezTo>
                  <a:lnTo>
                    <a:pt x="60703" y="177680"/>
                  </a:lnTo>
                  <a:cubicBezTo>
                    <a:pt x="62148" y="138677"/>
                    <a:pt x="62441" y="99614"/>
                    <a:pt x="65037" y="60671"/>
                  </a:cubicBezTo>
                  <a:cubicBezTo>
                    <a:pt x="65341" y="56113"/>
                    <a:pt x="67327" y="51756"/>
                    <a:pt x="69370" y="47670"/>
                  </a:cubicBezTo>
                  <a:cubicBezTo>
                    <a:pt x="71699" y="43011"/>
                    <a:pt x="75149" y="39003"/>
                    <a:pt x="78038" y="34669"/>
                  </a:cubicBezTo>
                  <a:cubicBezTo>
                    <a:pt x="87619" y="5926"/>
                    <a:pt x="86705" y="17803"/>
                    <a:pt x="86705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61" name="Figura a mano libera 160"/>
            <p:cNvSpPr/>
            <p:nvPr/>
          </p:nvSpPr>
          <p:spPr>
            <a:xfrm>
              <a:off x="-5419211" y="-564008"/>
              <a:ext cx="37803" cy="528811"/>
            </a:xfrm>
            <a:custGeom>
              <a:avLst/>
              <a:gdLst>
                <a:gd name="connsiteX0" fmla="*/ 86993 w 86993"/>
                <a:gd name="connsiteY0" fmla="*/ 966404 h 966404"/>
                <a:gd name="connsiteX1" fmla="*/ 82659 w 86993"/>
                <a:gd name="connsiteY1" fmla="*/ 918734 h 966404"/>
                <a:gd name="connsiteX2" fmla="*/ 73992 w 86993"/>
                <a:gd name="connsiteY2" fmla="*/ 905733 h 966404"/>
                <a:gd name="connsiteX3" fmla="*/ 65325 w 86993"/>
                <a:gd name="connsiteY3" fmla="*/ 875397 h 966404"/>
                <a:gd name="connsiteX4" fmla="*/ 52324 w 86993"/>
                <a:gd name="connsiteY4" fmla="*/ 801725 h 966404"/>
                <a:gd name="connsiteX5" fmla="*/ 56657 w 86993"/>
                <a:gd name="connsiteY5" fmla="*/ 728053 h 966404"/>
                <a:gd name="connsiteX6" fmla="*/ 73992 w 86993"/>
                <a:gd name="connsiteY6" fmla="*/ 684716 h 966404"/>
                <a:gd name="connsiteX7" fmla="*/ 78326 w 86993"/>
                <a:gd name="connsiteY7" fmla="*/ 671716 h 966404"/>
                <a:gd name="connsiteX8" fmla="*/ 82659 w 86993"/>
                <a:gd name="connsiteY8" fmla="*/ 637046 h 966404"/>
                <a:gd name="connsiteX9" fmla="*/ 86993 w 86993"/>
                <a:gd name="connsiteY9" fmla="*/ 619712 h 966404"/>
                <a:gd name="connsiteX10" fmla="*/ 73992 w 86993"/>
                <a:gd name="connsiteY10" fmla="*/ 541706 h 966404"/>
                <a:gd name="connsiteX11" fmla="*/ 65325 w 86993"/>
                <a:gd name="connsiteY11" fmla="*/ 528705 h 966404"/>
                <a:gd name="connsiteX12" fmla="*/ 60991 w 86993"/>
                <a:gd name="connsiteY12" fmla="*/ 511370 h 966404"/>
                <a:gd name="connsiteX13" fmla="*/ 43657 w 86993"/>
                <a:gd name="connsiteY13" fmla="*/ 485369 h 966404"/>
                <a:gd name="connsiteX14" fmla="*/ 34989 w 86993"/>
                <a:gd name="connsiteY14" fmla="*/ 455033 h 966404"/>
                <a:gd name="connsiteX15" fmla="*/ 26322 w 86993"/>
                <a:gd name="connsiteY15" fmla="*/ 424697 h 966404"/>
                <a:gd name="connsiteX16" fmla="*/ 30656 w 86993"/>
                <a:gd name="connsiteY16" fmla="*/ 385695 h 966404"/>
                <a:gd name="connsiteX17" fmla="*/ 39323 w 86993"/>
                <a:gd name="connsiteY17" fmla="*/ 368360 h 966404"/>
                <a:gd name="connsiteX18" fmla="*/ 47990 w 86993"/>
                <a:gd name="connsiteY18" fmla="*/ 338025 h 966404"/>
                <a:gd name="connsiteX19" fmla="*/ 52324 w 86993"/>
                <a:gd name="connsiteY19" fmla="*/ 325024 h 966404"/>
                <a:gd name="connsiteX20" fmla="*/ 47990 w 86993"/>
                <a:gd name="connsiteY20" fmla="*/ 281687 h 966404"/>
                <a:gd name="connsiteX21" fmla="*/ 39323 w 86993"/>
                <a:gd name="connsiteY21" fmla="*/ 255685 h 966404"/>
                <a:gd name="connsiteX22" fmla="*/ 34989 w 86993"/>
                <a:gd name="connsiteY22" fmla="*/ 234017 h 966404"/>
                <a:gd name="connsiteX23" fmla="*/ 30656 w 86993"/>
                <a:gd name="connsiteY23" fmla="*/ 221016 h 966404"/>
                <a:gd name="connsiteX24" fmla="*/ 26322 w 86993"/>
                <a:gd name="connsiteY24" fmla="*/ 203681 h 966404"/>
                <a:gd name="connsiteX25" fmla="*/ 21988 w 86993"/>
                <a:gd name="connsiteY25" fmla="*/ 190680 h 966404"/>
                <a:gd name="connsiteX26" fmla="*/ 17655 w 86993"/>
                <a:gd name="connsiteY26" fmla="*/ 169012 h 966404"/>
                <a:gd name="connsiteX27" fmla="*/ 8987 w 86993"/>
                <a:gd name="connsiteY27" fmla="*/ 108341 h 966404"/>
                <a:gd name="connsiteX28" fmla="*/ 320 w 86993"/>
                <a:gd name="connsiteY28" fmla="*/ 39003 h 966404"/>
                <a:gd name="connsiteX29" fmla="*/ 320 w 86993"/>
                <a:gd name="connsiteY29" fmla="*/ 0 h 96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6993" h="966404">
                  <a:moveTo>
                    <a:pt x="86993" y="966404"/>
                  </a:moveTo>
                  <a:cubicBezTo>
                    <a:pt x="85548" y="950514"/>
                    <a:pt x="86002" y="934335"/>
                    <a:pt x="82659" y="918734"/>
                  </a:cubicBezTo>
                  <a:cubicBezTo>
                    <a:pt x="81568" y="913641"/>
                    <a:pt x="75926" y="910569"/>
                    <a:pt x="73992" y="905733"/>
                  </a:cubicBezTo>
                  <a:cubicBezTo>
                    <a:pt x="70086" y="895969"/>
                    <a:pt x="67734" y="885634"/>
                    <a:pt x="65325" y="875397"/>
                  </a:cubicBezTo>
                  <a:cubicBezTo>
                    <a:pt x="57561" y="842402"/>
                    <a:pt x="56724" y="832529"/>
                    <a:pt x="52324" y="801725"/>
                  </a:cubicBezTo>
                  <a:cubicBezTo>
                    <a:pt x="53768" y="777168"/>
                    <a:pt x="53475" y="752446"/>
                    <a:pt x="56657" y="728053"/>
                  </a:cubicBezTo>
                  <a:cubicBezTo>
                    <a:pt x="59122" y="709154"/>
                    <a:pt x="67070" y="700867"/>
                    <a:pt x="73992" y="684716"/>
                  </a:cubicBezTo>
                  <a:cubicBezTo>
                    <a:pt x="75791" y="680518"/>
                    <a:pt x="76881" y="676049"/>
                    <a:pt x="78326" y="671716"/>
                  </a:cubicBezTo>
                  <a:cubicBezTo>
                    <a:pt x="79770" y="660159"/>
                    <a:pt x="80744" y="648534"/>
                    <a:pt x="82659" y="637046"/>
                  </a:cubicBezTo>
                  <a:cubicBezTo>
                    <a:pt x="83638" y="631171"/>
                    <a:pt x="86993" y="625668"/>
                    <a:pt x="86993" y="619712"/>
                  </a:cubicBezTo>
                  <a:cubicBezTo>
                    <a:pt x="86993" y="606706"/>
                    <a:pt x="85485" y="558946"/>
                    <a:pt x="73992" y="541706"/>
                  </a:cubicBezTo>
                  <a:lnTo>
                    <a:pt x="65325" y="528705"/>
                  </a:lnTo>
                  <a:cubicBezTo>
                    <a:pt x="63880" y="522927"/>
                    <a:pt x="63655" y="516697"/>
                    <a:pt x="60991" y="511370"/>
                  </a:cubicBezTo>
                  <a:cubicBezTo>
                    <a:pt x="56333" y="502053"/>
                    <a:pt x="43657" y="485369"/>
                    <a:pt x="43657" y="485369"/>
                  </a:cubicBezTo>
                  <a:cubicBezTo>
                    <a:pt x="30095" y="431124"/>
                    <a:pt x="47434" y="498594"/>
                    <a:pt x="34989" y="455033"/>
                  </a:cubicBezTo>
                  <a:cubicBezTo>
                    <a:pt x="24106" y="416941"/>
                    <a:pt x="36713" y="455869"/>
                    <a:pt x="26322" y="424697"/>
                  </a:cubicBezTo>
                  <a:cubicBezTo>
                    <a:pt x="27767" y="411696"/>
                    <a:pt x="27715" y="398441"/>
                    <a:pt x="30656" y="385695"/>
                  </a:cubicBezTo>
                  <a:cubicBezTo>
                    <a:pt x="32109" y="379400"/>
                    <a:pt x="36778" y="374298"/>
                    <a:pt x="39323" y="368360"/>
                  </a:cubicBezTo>
                  <a:cubicBezTo>
                    <a:pt x="43779" y="357963"/>
                    <a:pt x="44846" y="349030"/>
                    <a:pt x="47990" y="338025"/>
                  </a:cubicBezTo>
                  <a:cubicBezTo>
                    <a:pt x="49245" y="333633"/>
                    <a:pt x="50879" y="329358"/>
                    <a:pt x="52324" y="325024"/>
                  </a:cubicBezTo>
                  <a:cubicBezTo>
                    <a:pt x="50879" y="310578"/>
                    <a:pt x="50665" y="295956"/>
                    <a:pt x="47990" y="281687"/>
                  </a:cubicBezTo>
                  <a:cubicBezTo>
                    <a:pt x="46306" y="272707"/>
                    <a:pt x="41115" y="264644"/>
                    <a:pt x="39323" y="255685"/>
                  </a:cubicBezTo>
                  <a:cubicBezTo>
                    <a:pt x="37878" y="248462"/>
                    <a:pt x="36775" y="241163"/>
                    <a:pt x="34989" y="234017"/>
                  </a:cubicBezTo>
                  <a:cubicBezTo>
                    <a:pt x="33881" y="229585"/>
                    <a:pt x="31911" y="225408"/>
                    <a:pt x="30656" y="221016"/>
                  </a:cubicBezTo>
                  <a:cubicBezTo>
                    <a:pt x="29020" y="215289"/>
                    <a:pt x="27958" y="209408"/>
                    <a:pt x="26322" y="203681"/>
                  </a:cubicBezTo>
                  <a:cubicBezTo>
                    <a:pt x="25067" y="199289"/>
                    <a:pt x="23096" y="195112"/>
                    <a:pt x="21988" y="190680"/>
                  </a:cubicBezTo>
                  <a:cubicBezTo>
                    <a:pt x="20202" y="183534"/>
                    <a:pt x="18973" y="176259"/>
                    <a:pt x="17655" y="169012"/>
                  </a:cubicBezTo>
                  <a:cubicBezTo>
                    <a:pt x="11945" y="137607"/>
                    <a:pt x="13697" y="143665"/>
                    <a:pt x="8987" y="108341"/>
                  </a:cubicBezTo>
                  <a:cubicBezTo>
                    <a:pt x="6166" y="87185"/>
                    <a:pt x="1476" y="59818"/>
                    <a:pt x="320" y="39003"/>
                  </a:cubicBezTo>
                  <a:cubicBezTo>
                    <a:pt x="-401" y="26022"/>
                    <a:pt x="320" y="13001"/>
                    <a:pt x="320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62" name="Figura a mano libera 161"/>
            <p:cNvSpPr/>
            <p:nvPr/>
          </p:nvSpPr>
          <p:spPr>
            <a:xfrm flipH="1">
              <a:off x="-5352032" y="-1235909"/>
              <a:ext cx="55124" cy="393893"/>
            </a:xfrm>
            <a:custGeom>
              <a:avLst/>
              <a:gdLst>
                <a:gd name="connsiteX0" fmla="*/ 86993 w 86993"/>
                <a:gd name="connsiteY0" fmla="*/ 966404 h 966404"/>
                <a:gd name="connsiteX1" fmla="*/ 82659 w 86993"/>
                <a:gd name="connsiteY1" fmla="*/ 918734 h 966404"/>
                <a:gd name="connsiteX2" fmla="*/ 73992 w 86993"/>
                <a:gd name="connsiteY2" fmla="*/ 905733 h 966404"/>
                <a:gd name="connsiteX3" fmla="*/ 65325 w 86993"/>
                <a:gd name="connsiteY3" fmla="*/ 875397 h 966404"/>
                <a:gd name="connsiteX4" fmla="*/ 52324 w 86993"/>
                <a:gd name="connsiteY4" fmla="*/ 801725 h 966404"/>
                <a:gd name="connsiteX5" fmla="*/ 56657 w 86993"/>
                <a:gd name="connsiteY5" fmla="*/ 728053 h 966404"/>
                <a:gd name="connsiteX6" fmla="*/ 73992 w 86993"/>
                <a:gd name="connsiteY6" fmla="*/ 684716 h 966404"/>
                <a:gd name="connsiteX7" fmla="*/ 78326 w 86993"/>
                <a:gd name="connsiteY7" fmla="*/ 671716 h 966404"/>
                <a:gd name="connsiteX8" fmla="*/ 82659 w 86993"/>
                <a:gd name="connsiteY8" fmla="*/ 637046 h 966404"/>
                <a:gd name="connsiteX9" fmla="*/ 86993 w 86993"/>
                <a:gd name="connsiteY9" fmla="*/ 619712 h 966404"/>
                <a:gd name="connsiteX10" fmla="*/ 73992 w 86993"/>
                <a:gd name="connsiteY10" fmla="*/ 541706 h 966404"/>
                <a:gd name="connsiteX11" fmla="*/ 65325 w 86993"/>
                <a:gd name="connsiteY11" fmla="*/ 528705 h 966404"/>
                <a:gd name="connsiteX12" fmla="*/ 60991 w 86993"/>
                <a:gd name="connsiteY12" fmla="*/ 511370 h 966404"/>
                <a:gd name="connsiteX13" fmla="*/ 43657 w 86993"/>
                <a:gd name="connsiteY13" fmla="*/ 485369 h 966404"/>
                <a:gd name="connsiteX14" fmla="*/ 34989 w 86993"/>
                <a:gd name="connsiteY14" fmla="*/ 455033 h 966404"/>
                <a:gd name="connsiteX15" fmla="*/ 26322 w 86993"/>
                <a:gd name="connsiteY15" fmla="*/ 424697 h 966404"/>
                <a:gd name="connsiteX16" fmla="*/ 30656 w 86993"/>
                <a:gd name="connsiteY16" fmla="*/ 385695 h 966404"/>
                <a:gd name="connsiteX17" fmla="*/ 39323 w 86993"/>
                <a:gd name="connsiteY17" fmla="*/ 368360 h 966404"/>
                <a:gd name="connsiteX18" fmla="*/ 47990 w 86993"/>
                <a:gd name="connsiteY18" fmla="*/ 338025 h 966404"/>
                <a:gd name="connsiteX19" fmla="*/ 52324 w 86993"/>
                <a:gd name="connsiteY19" fmla="*/ 325024 h 966404"/>
                <a:gd name="connsiteX20" fmla="*/ 47990 w 86993"/>
                <a:gd name="connsiteY20" fmla="*/ 281687 h 966404"/>
                <a:gd name="connsiteX21" fmla="*/ 39323 w 86993"/>
                <a:gd name="connsiteY21" fmla="*/ 255685 h 966404"/>
                <a:gd name="connsiteX22" fmla="*/ 34989 w 86993"/>
                <a:gd name="connsiteY22" fmla="*/ 234017 h 966404"/>
                <a:gd name="connsiteX23" fmla="*/ 30656 w 86993"/>
                <a:gd name="connsiteY23" fmla="*/ 221016 h 966404"/>
                <a:gd name="connsiteX24" fmla="*/ 26322 w 86993"/>
                <a:gd name="connsiteY24" fmla="*/ 203681 h 966404"/>
                <a:gd name="connsiteX25" fmla="*/ 21988 w 86993"/>
                <a:gd name="connsiteY25" fmla="*/ 190680 h 966404"/>
                <a:gd name="connsiteX26" fmla="*/ 17655 w 86993"/>
                <a:gd name="connsiteY26" fmla="*/ 169012 h 966404"/>
                <a:gd name="connsiteX27" fmla="*/ 8987 w 86993"/>
                <a:gd name="connsiteY27" fmla="*/ 108341 h 966404"/>
                <a:gd name="connsiteX28" fmla="*/ 320 w 86993"/>
                <a:gd name="connsiteY28" fmla="*/ 39003 h 966404"/>
                <a:gd name="connsiteX29" fmla="*/ 320 w 86993"/>
                <a:gd name="connsiteY29" fmla="*/ 0 h 9664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</a:cxnLst>
              <a:rect l="l" t="t" r="r" b="b"/>
              <a:pathLst>
                <a:path w="86993" h="966404">
                  <a:moveTo>
                    <a:pt x="86993" y="966404"/>
                  </a:moveTo>
                  <a:cubicBezTo>
                    <a:pt x="85548" y="950514"/>
                    <a:pt x="86002" y="934335"/>
                    <a:pt x="82659" y="918734"/>
                  </a:cubicBezTo>
                  <a:cubicBezTo>
                    <a:pt x="81568" y="913641"/>
                    <a:pt x="75926" y="910569"/>
                    <a:pt x="73992" y="905733"/>
                  </a:cubicBezTo>
                  <a:cubicBezTo>
                    <a:pt x="70086" y="895969"/>
                    <a:pt x="67734" y="885634"/>
                    <a:pt x="65325" y="875397"/>
                  </a:cubicBezTo>
                  <a:cubicBezTo>
                    <a:pt x="57561" y="842402"/>
                    <a:pt x="56724" y="832529"/>
                    <a:pt x="52324" y="801725"/>
                  </a:cubicBezTo>
                  <a:cubicBezTo>
                    <a:pt x="53768" y="777168"/>
                    <a:pt x="53475" y="752446"/>
                    <a:pt x="56657" y="728053"/>
                  </a:cubicBezTo>
                  <a:cubicBezTo>
                    <a:pt x="59122" y="709154"/>
                    <a:pt x="67070" y="700867"/>
                    <a:pt x="73992" y="684716"/>
                  </a:cubicBezTo>
                  <a:cubicBezTo>
                    <a:pt x="75791" y="680518"/>
                    <a:pt x="76881" y="676049"/>
                    <a:pt x="78326" y="671716"/>
                  </a:cubicBezTo>
                  <a:cubicBezTo>
                    <a:pt x="79770" y="660159"/>
                    <a:pt x="80744" y="648534"/>
                    <a:pt x="82659" y="637046"/>
                  </a:cubicBezTo>
                  <a:cubicBezTo>
                    <a:pt x="83638" y="631171"/>
                    <a:pt x="86993" y="625668"/>
                    <a:pt x="86993" y="619712"/>
                  </a:cubicBezTo>
                  <a:cubicBezTo>
                    <a:pt x="86993" y="606706"/>
                    <a:pt x="85485" y="558946"/>
                    <a:pt x="73992" y="541706"/>
                  </a:cubicBezTo>
                  <a:lnTo>
                    <a:pt x="65325" y="528705"/>
                  </a:lnTo>
                  <a:cubicBezTo>
                    <a:pt x="63880" y="522927"/>
                    <a:pt x="63655" y="516697"/>
                    <a:pt x="60991" y="511370"/>
                  </a:cubicBezTo>
                  <a:cubicBezTo>
                    <a:pt x="56333" y="502053"/>
                    <a:pt x="43657" y="485369"/>
                    <a:pt x="43657" y="485369"/>
                  </a:cubicBezTo>
                  <a:cubicBezTo>
                    <a:pt x="30095" y="431124"/>
                    <a:pt x="47434" y="498594"/>
                    <a:pt x="34989" y="455033"/>
                  </a:cubicBezTo>
                  <a:cubicBezTo>
                    <a:pt x="24106" y="416941"/>
                    <a:pt x="36713" y="455869"/>
                    <a:pt x="26322" y="424697"/>
                  </a:cubicBezTo>
                  <a:cubicBezTo>
                    <a:pt x="27767" y="411696"/>
                    <a:pt x="27715" y="398441"/>
                    <a:pt x="30656" y="385695"/>
                  </a:cubicBezTo>
                  <a:cubicBezTo>
                    <a:pt x="32109" y="379400"/>
                    <a:pt x="36778" y="374298"/>
                    <a:pt x="39323" y="368360"/>
                  </a:cubicBezTo>
                  <a:cubicBezTo>
                    <a:pt x="43779" y="357963"/>
                    <a:pt x="44846" y="349030"/>
                    <a:pt x="47990" y="338025"/>
                  </a:cubicBezTo>
                  <a:cubicBezTo>
                    <a:pt x="49245" y="333633"/>
                    <a:pt x="50879" y="329358"/>
                    <a:pt x="52324" y="325024"/>
                  </a:cubicBezTo>
                  <a:cubicBezTo>
                    <a:pt x="50879" y="310578"/>
                    <a:pt x="50665" y="295956"/>
                    <a:pt x="47990" y="281687"/>
                  </a:cubicBezTo>
                  <a:cubicBezTo>
                    <a:pt x="46306" y="272707"/>
                    <a:pt x="41115" y="264644"/>
                    <a:pt x="39323" y="255685"/>
                  </a:cubicBezTo>
                  <a:cubicBezTo>
                    <a:pt x="37878" y="248462"/>
                    <a:pt x="36775" y="241163"/>
                    <a:pt x="34989" y="234017"/>
                  </a:cubicBezTo>
                  <a:cubicBezTo>
                    <a:pt x="33881" y="229585"/>
                    <a:pt x="31911" y="225408"/>
                    <a:pt x="30656" y="221016"/>
                  </a:cubicBezTo>
                  <a:cubicBezTo>
                    <a:pt x="29020" y="215289"/>
                    <a:pt x="27958" y="209408"/>
                    <a:pt x="26322" y="203681"/>
                  </a:cubicBezTo>
                  <a:cubicBezTo>
                    <a:pt x="25067" y="199289"/>
                    <a:pt x="23096" y="195112"/>
                    <a:pt x="21988" y="190680"/>
                  </a:cubicBezTo>
                  <a:cubicBezTo>
                    <a:pt x="20202" y="183534"/>
                    <a:pt x="18973" y="176259"/>
                    <a:pt x="17655" y="169012"/>
                  </a:cubicBezTo>
                  <a:cubicBezTo>
                    <a:pt x="11945" y="137607"/>
                    <a:pt x="13697" y="143665"/>
                    <a:pt x="8987" y="108341"/>
                  </a:cubicBezTo>
                  <a:cubicBezTo>
                    <a:pt x="6166" y="87185"/>
                    <a:pt x="1476" y="59818"/>
                    <a:pt x="320" y="39003"/>
                  </a:cubicBezTo>
                  <a:cubicBezTo>
                    <a:pt x="-401" y="26022"/>
                    <a:pt x="320" y="13001"/>
                    <a:pt x="320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63" name="Figura a mano libera 162"/>
            <p:cNvSpPr/>
            <p:nvPr/>
          </p:nvSpPr>
          <p:spPr>
            <a:xfrm>
              <a:off x="-5442633" y="-1132262"/>
              <a:ext cx="37803" cy="300996"/>
            </a:xfrm>
            <a:custGeom>
              <a:avLst/>
              <a:gdLst>
                <a:gd name="connsiteX0" fmla="*/ 8699 w 86728"/>
                <a:gd name="connsiteY0" fmla="*/ 364027 h 364027"/>
                <a:gd name="connsiteX1" fmla="*/ 32 w 86728"/>
                <a:gd name="connsiteY1" fmla="*/ 342358 h 364027"/>
                <a:gd name="connsiteX2" fmla="*/ 8699 w 86728"/>
                <a:gd name="connsiteY2" fmla="*/ 281687 h 364027"/>
                <a:gd name="connsiteX3" fmla="*/ 26034 w 86728"/>
                <a:gd name="connsiteY3" fmla="*/ 255685 h 364027"/>
                <a:gd name="connsiteX4" fmla="*/ 43368 w 86728"/>
                <a:gd name="connsiteY4" fmla="*/ 234017 h 364027"/>
                <a:gd name="connsiteX5" fmla="*/ 52036 w 86728"/>
                <a:gd name="connsiteY5" fmla="*/ 208015 h 364027"/>
                <a:gd name="connsiteX6" fmla="*/ 56369 w 86728"/>
                <a:gd name="connsiteY6" fmla="*/ 195014 h 364027"/>
                <a:gd name="connsiteX7" fmla="*/ 60703 w 86728"/>
                <a:gd name="connsiteY7" fmla="*/ 177680 h 364027"/>
                <a:gd name="connsiteX8" fmla="*/ 65037 w 86728"/>
                <a:gd name="connsiteY8" fmla="*/ 60671 h 364027"/>
                <a:gd name="connsiteX9" fmla="*/ 69370 w 86728"/>
                <a:gd name="connsiteY9" fmla="*/ 47670 h 364027"/>
                <a:gd name="connsiteX10" fmla="*/ 78038 w 86728"/>
                <a:gd name="connsiteY10" fmla="*/ 34669 h 364027"/>
                <a:gd name="connsiteX11" fmla="*/ 86705 w 86728"/>
                <a:gd name="connsiteY11" fmla="*/ 0 h 3640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86728" h="364027">
                  <a:moveTo>
                    <a:pt x="8699" y="364027"/>
                  </a:moveTo>
                  <a:cubicBezTo>
                    <a:pt x="5810" y="356804"/>
                    <a:pt x="517" y="350122"/>
                    <a:pt x="32" y="342358"/>
                  </a:cubicBezTo>
                  <a:cubicBezTo>
                    <a:pt x="-212" y="338446"/>
                    <a:pt x="750" y="295995"/>
                    <a:pt x="8699" y="281687"/>
                  </a:cubicBezTo>
                  <a:cubicBezTo>
                    <a:pt x="13758" y="272581"/>
                    <a:pt x="20256" y="264352"/>
                    <a:pt x="26034" y="255685"/>
                  </a:cubicBezTo>
                  <a:cubicBezTo>
                    <a:pt x="36967" y="239286"/>
                    <a:pt x="31019" y="246368"/>
                    <a:pt x="43368" y="234017"/>
                  </a:cubicBezTo>
                  <a:lnTo>
                    <a:pt x="52036" y="208015"/>
                  </a:lnTo>
                  <a:cubicBezTo>
                    <a:pt x="53481" y="203681"/>
                    <a:pt x="55261" y="199446"/>
                    <a:pt x="56369" y="195014"/>
                  </a:cubicBezTo>
                  <a:lnTo>
                    <a:pt x="60703" y="177680"/>
                  </a:lnTo>
                  <a:cubicBezTo>
                    <a:pt x="62148" y="138677"/>
                    <a:pt x="62441" y="99614"/>
                    <a:pt x="65037" y="60671"/>
                  </a:cubicBezTo>
                  <a:cubicBezTo>
                    <a:pt x="65341" y="56113"/>
                    <a:pt x="67327" y="51756"/>
                    <a:pt x="69370" y="47670"/>
                  </a:cubicBezTo>
                  <a:cubicBezTo>
                    <a:pt x="71699" y="43011"/>
                    <a:pt x="75149" y="39003"/>
                    <a:pt x="78038" y="34669"/>
                  </a:cubicBezTo>
                  <a:cubicBezTo>
                    <a:pt x="87619" y="5926"/>
                    <a:pt x="86705" y="17803"/>
                    <a:pt x="86705" y="0"/>
                  </a:cubicBezTo>
                </a:path>
              </a:pathLst>
            </a:custGeom>
            <a:noFill/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4" name="Esplosione 2 13"/>
            <p:cNvSpPr/>
            <p:nvPr/>
          </p:nvSpPr>
          <p:spPr>
            <a:xfrm>
              <a:off x="-6426092" y="-1686360"/>
              <a:ext cx="2000093" cy="1847531"/>
            </a:xfrm>
            <a:prstGeom prst="irregularSeal2">
              <a:avLst/>
            </a:prstGeom>
            <a:noFill/>
            <a:ln w="31750">
              <a:solidFill>
                <a:srgbClr val="FFFF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</p:grpSp>
      <p:sp>
        <p:nvSpPr>
          <p:cNvPr id="125" name="Titolo 1"/>
          <p:cNvSpPr txBox="1">
            <a:spLocks/>
          </p:cNvSpPr>
          <p:nvPr/>
        </p:nvSpPr>
        <p:spPr>
          <a:xfrm>
            <a:off x="1446835" y="4665506"/>
            <a:ext cx="6381092" cy="363798"/>
          </a:xfrm>
          <a:prstGeom prst="rect">
            <a:avLst/>
          </a:prstGeom>
          <a:solidFill>
            <a:srgbClr val="CCFF33"/>
          </a:solidFill>
        </p:spPr>
        <p:txBody>
          <a:bodyPr>
            <a:no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Lo shim </a:t>
            </a:r>
            <a:r>
              <a:rPr lang="en-US" sz="1488" dirty="0" err="1" smtClean="0"/>
              <a:t>inadeguato</a:t>
            </a:r>
            <a:r>
              <a:rPr lang="en-US" sz="1488" dirty="0" smtClean="0"/>
              <a:t> produce, a </a:t>
            </a:r>
            <a:r>
              <a:rPr lang="en-US" sz="1488" dirty="0" err="1" smtClean="0"/>
              <a:t>lungo</a:t>
            </a:r>
            <a:r>
              <a:rPr lang="en-US" sz="1488" dirty="0" smtClean="0"/>
              <a:t> </a:t>
            </a:r>
            <a:r>
              <a:rPr lang="en-US" sz="1488" dirty="0" err="1" smtClean="0"/>
              <a:t>andare</a:t>
            </a:r>
            <a:r>
              <a:rPr lang="en-US" sz="1488" dirty="0" smtClean="0"/>
              <a:t>, </a:t>
            </a:r>
            <a:r>
              <a:rPr lang="en-US" sz="1488" dirty="0" err="1" smtClean="0"/>
              <a:t>una</a:t>
            </a:r>
            <a:r>
              <a:rPr lang="en-US" sz="1488" dirty="0" smtClean="0"/>
              <a:t> </a:t>
            </a:r>
            <a:r>
              <a:rPr lang="en-US" sz="1488" dirty="0" err="1" smtClean="0"/>
              <a:t>rottura</a:t>
            </a:r>
            <a:r>
              <a:rPr lang="en-US" sz="1488" dirty="0" smtClean="0"/>
              <a:t> a </a:t>
            </a:r>
            <a:r>
              <a:rPr lang="en-US" sz="1488" dirty="0" err="1" smtClean="0"/>
              <a:t>fatica</a:t>
            </a:r>
            <a:r>
              <a:rPr lang="en-US" sz="1488" dirty="0" smtClean="0"/>
              <a:t> </a:t>
            </a:r>
            <a:r>
              <a:rPr lang="en-US" sz="1488" dirty="0" err="1" smtClean="0"/>
              <a:t>delle</a:t>
            </a:r>
            <a:r>
              <a:rPr lang="en-US" sz="1488" dirty="0" smtClean="0"/>
              <a:t> </a:t>
            </a:r>
            <a:r>
              <a:rPr lang="en-US" sz="1488" dirty="0" err="1" smtClean="0"/>
              <a:t>parti</a:t>
            </a:r>
            <a:endParaRPr lang="en-US" sz="1488" dirty="0"/>
          </a:p>
        </p:txBody>
      </p:sp>
    </p:spTree>
    <p:extLst>
      <p:ext uri="{BB962C8B-B14F-4D97-AF65-F5344CB8AC3E}">
        <p14:creationId xmlns:p14="http://schemas.microsoft.com/office/powerpoint/2010/main" val="77583095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uppo 28"/>
          <p:cNvGrpSpPr/>
          <p:nvPr/>
        </p:nvGrpSpPr>
        <p:grpSpPr>
          <a:xfrm>
            <a:off x="2159891" y="1303446"/>
            <a:ext cx="3416281" cy="3853887"/>
            <a:chOff x="4760807" y="1484784"/>
            <a:chExt cx="4131673" cy="4660916"/>
          </a:xfrm>
        </p:grpSpPr>
        <p:pic>
          <p:nvPicPr>
            <p:cNvPr id="30" name="Immagine 29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60807" y="1484784"/>
              <a:ext cx="4131673" cy="4660916"/>
            </a:xfrm>
            <a:prstGeom prst="rect">
              <a:avLst/>
            </a:prstGeom>
          </p:spPr>
        </p:pic>
        <p:pic>
          <p:nvPicPr>
            <p:cNvPr id="32" name="Immagine 31"/>
            <p:cNvPicPr>
              <a:picLocks noChangeAspect="1"/>
            </p:cNvPicPr>
            <p:nvPr/>
          </p:nvPicPr>
          <p:blipFill>
            <a:blip r:embed="rId4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94441" y="1704780"/>
              <a:ext cx="1041886" cy="945720"/>
            </a:xfrm>
            <a:prstGeom prst="rect">
              <a:avLst/>
            </a:prstGeom>
          </p:spPr>
        </p:pic>
        <p:pic>
          <p:nvPicPr>
            <p:cNvPr id="45" name="Immagine 44"/>
            <p:cNvPicPr>
              <a:picLocks noChangeAspect="1"/>
            </p:cNvPicPr>
            <p:nvPr/>
          </p:nvPicPr>
          <p:blipFill>
            <a:blip r:embed="rId6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88471" y="1812286"/>
              <a:ext cx="855137" cy="1080000"/>
            </a:xfrm>
            <a:prstGeom prst="rect">
              <a:avLst/>
            </a:prstGeom>
          </p:spPr>
        </p:pic>
        <p:pic>
          <p:nvPicPr>
            <p:cNvPr id="47" name="Immagine 46"/>
            <p:cNvPicPr>
              <a:picLocks noChangeAspect="1"/>
            </p:cNvPicPr>
            <p:nvPr/>
          </p:nvPicPr>
          <p:blipFill>
            <a:blip r:embed="rId8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rightnessContrast contrast="2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29972" y="1685709"/>
              <a:ext cx="867592" cy="919758"/>
            </a:xfrm>
            <a:prstGeom prst="rect">
              <a:avLst/>
            </a:prstGeom>
          </p:spPr>
        </p:pic>
        <p:pic>
          <p:nvPicPr>
            <p:cNvPr id="48" name="Immagine 47"/>
            <p:cNvPicPr>
              <a:picLocks noChangeAspect="1"/>
            </p:cNvPicPr>
            <p:nvPr/>
          </p:nvPicPr>
          <p:blipFill>
            <a:blip r:embed="rId10" cstate="email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colorTemperature colorTemp="3500"/>
                      </a14:imgEffect>
                      <a14:imgEffect>
                        <a14:saturation sat="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51165" y="4061354"/>
              <a:ext cx="720412" cy="671275"/>
            </a:xfrm>
            <a:prstGeom prst="rect">
              <a:avLst/>
            </a:prstGeom>
          </p:spPr>
        </p:pic>
        <p:pic>
          <p:nvPicPr>
            <p:cNvPr id="49" name="Immagine 48"/>
            <p:cNvPicPr>
              <a:picLocks noChangeAspect="1"/>
            </p:cNvPicPr>
            <p:nvPr/>
          </p:nvPicPr>
          <p:blipFill>
            <a:blip r:embed="rId12" cstate="email">
              <a:grayscl/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colorTemperature colorTemp="7500"/>
                      </a14:imgEffect>
                      <a14:imgEffect>
                        <a14:saturation sat="168000"/>
                      </a14:imgEffect>
                      <a14:imgEffect>
                        <a14:brightnessContrast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72716" y="3889157"/>
              <a:ext cx="1174892" cy="900000"/>
            </a:xfrm>
            <a:prstGeom prst="rect">
              <a:avLst/>
            </a:prstGeom>
          </p:spPr>
        </p:pic>
        <p:sp>
          <p:nvSpPr>
            <p:cNvPr id="50" name="Ovale 49"/>
            <p:cNvSpPr/>
            <p:nvPr/>
          </p:nvSpPr>
          <p:spPr>
            <a:xfrm>
              <a:off x="7768278" y="3937410"/>
              <a:ext cx="209478" cy="128825"/>
            </a:xfrm>
            <a:prstGeom prst="ellipse">
              <a:avLst/>
            </a:prstGeom>
            <a:solidFill>
              <a:srgbClr val="E62C0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/>
            </a:p>
          </p:txBody>
        </p:sp>
        <p:sp>
          <p:nvSpPr>
            <p:cNvPr id="51" name="Ovale 50"/>
            <p:cNvSpPr/>
            <p:nvPr/>
          </p:nvSpPr>
          <p:spPr>
            <a:xfrm>
              <a:off x="7467985" y="4131448"/>
              <a:ext cx="209478" cy="128825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/>
            </a:p>
          </p:txBody>
        </p:sp>
        <p:sp>
          <p:nvSpPr>
            <p:cNvPr id="52" name="Ovale 51"/>
            <p:cNvSpPr/>
            <p:nvPr/>
          </p:nvSpPr>
          <p:spPr>
            <a:xfrm>
              <a:off x="7306457" y="4308798"/>
              <a:ext cx="209478" cy="128825"/>
            </a:xfrm>
            <a:prstGeom prst="ellipse">
              <a:avLst/>
            </a:prstGeom>
            <a:solidFill>
              <a:srgbClr val="0070C0"/>
            </a:solidFill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/>
            </a:p>
          </p:txBody>
        </p:sp>
      </p:grpSp>
      <p:sp>
        <p:nvSpPr>
          <p:cNvPr id="67" name="Titolo 6"/>
          <p:cNvSpPr>
            <a:spLocks noGrp="1"/>
          </p:cNvSpPr>
          <p:nvPr>
            <p:ph type="title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5607" tIns="37804" rIns="75607" bIns="37804" numCol="1" rtlCol="0" anchor="t" anchorCtr="0" compatLnSpc="1">
            <a:prstTxWarp prst="textNoShape">
              <a:avLst/>
            </a:prstTxWarp>
            <a:normAutofit/>
          </a:bodyPr>
          <a:lstStyle/>
          <a:p>
            <a:pPr defTabSz="378059"/>
            <a:r>
              <a:rPr lang="en-US" dirty="0">
                <a:solidFill>
                  <a:srgbClr val="E4002B"/>
                </a:solidFill>
              </a:rPr>
              <a:t>Boeing 787 - </a:t>
            </a:r>
            <a:r>
              <a:rPr lang="it-IT" dirty="0">
                <a:solidFill>
                  <a:srgbClr val="E4002B"/>
                </a:solidFill>
              </a:rPr>
              <a:t>The </a:t>
            </a:r>
            <a:r>
              <a:rPr lang="en-US" dirty="0">
                <a:solidFill>
                  <a:srgbClr val="E4002B"/>
                </a:solidFill>
              </a:rPr>
              <a:t>Aerostructure Division’s</a:t>
            </a:r>
            <a:r>
              <a:rPr lang="it-IT" dirty="0">
                <a:solidFill>
                  <a:srgbClr val="E4002B"/>
                </a:solidFill>
              </a:rPr>
              <a:t> </a:t>
            </a:r>
            <a:r>
              <a:rPr lang="en-US" dirty="0">
                <a:solidFill>
                  <a:srgbClr val="E4002B"/>
                </a:solidFill>
              </a:rPr>
              <a:t>role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Rettangolo 5"/>
          <p:cNvSpPr/>
          <p:nvPr/>
        </p:nvSpPr>
        <p:spPr>
          <a:xfrm>
            <a:off x="5613099" y="2522209"/>
            <a:ext cx="1766933" cy="610766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23" b="1" dirty="0">
                <a:solidFill>
                  <a:schemeClr val="tx1"/>
                </a:solidFill>
              </a:rPr>
              <a:t>Foggia  </a:t>
            </a:r>
            <a:r>
              <a:rPr lang="en-US" sz="1158" b="1" dirty="0">
                <a:solidFill>
                  <a:schemeClr val="tx1"/>
                </a:solidFill>
              </a:rPr>
              <a:t>                    </a:t>
            </a:r>
          </a:p>
          <a:p>
            <a:r>
              <a:rPr lang="en-US" sz="1158" dirty="0">
                <a:solidFill>
                  <a:schemeClr val="tx1"/>
                </a:solidFill>
              </a:rPr>
              <a:t>Horizontal </a:t>
            </a:r>
          </a:p>
          <a:p>
            <a:r>
              <a:rPr lang="en-US" sz="1158" dirty="0">
                <a:solidFill>
                  <a:schemeClr val="tx1"/>
                </a:solidFill>
              </a:rPr>
              <a:t>stabilizer</a:t>
            </a:r>
          </a:p>
        </p:txBody>
      </p:sp>
      <p:sp>
        <p:nvSpPr>
          <p:cNvPr id="59" name="Rettangolo 58"/>
          <p:cNvSpPr/>
          <p:nvPr/>
        </p:nvSpPr>
        <p:spPr>
          <a:xfrm>
            <a:off x="5530193" y="4196696"/>
            <a:ext cx="1932745" cy="575863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defTabSz="756117"/>
            <a:r>
              <a:rPr lang="en-US" sz="1158" b="1" dirty="0" err="1">
                <a:solidFill>
                  <a:prstClr val="black"/>
                </a:solidFill>
              </a:rPr>
              <a:t>Grottaglie</a:t>
            </a:r>
            <a:r>
              <a:rPr lang="en-US" sz="1158" b="1" dirty="0">
                <a:solidFill>
                  <a:prstClr val="black"/>
                </a:solidFill>
              </a:rPr>
              <a:t>     </a:t>
            </a:r>
            <a:r>
              <a:rPr lang="en-US" sz="992" b="1" dirty="0">
                <a:solidFill>
                  <a:prstClr val="black"/>
                </a:solidFill>
              </a:rPr>
              <a:t>               </a:t>
            </a:r>
          </a:p>
          <a:p>
            <a:pPr defTabSz="756117"/>
            <a:r>
              <a:rPr lang="en-US" sz="992" dirty="0">
                <a:solidFill>
                  <a:prstClr val="black"/>
                </a:solidFill>
              </a:rPr>
              <a:t>Section 44</a:t>
            </a:r>
          </a:p>
          <a:p>
            <a:pPr defTabSz="756117"/>
            <a:r>
              <a:rPr lang="en-US" sz="992" dirty="0">
                <a:solidFill>
                  <a:prstClr val="black"/>
                </a:solidFill>
              </a:rPr>
              <a:t>and 46  </a:t>
            </a:r>
          </a:p>
        </p:txBody>
      </p:sp>
      <p:pic>
        <p:nvPicPr>
          <p:cNvPr id="55" name="Picture 33"/>
          <p:cNvPicPr>
            <a:picLocks noChangeAspect="1" noChangeArrowheads="1"/>
          </p:cNvPicPr>
          <p:nvPr/>
        </p:nvPicPr>
        <p:blipFill rotWithShape="1"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96566" y="2594618"/>
            <a:ext cx="778969" cy="35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33"/>
          <p:cNvPicPr>
            <a:picLocks noChangeAspect="1" noChangeArrowheads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69271" y="4323774"/>
            <a:ext cx="774019" cy="354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2" name="Rettangolo 61"/>
          <p:cNvSpPr/>
          <p:nvPr/>
        </p:nvSpPr>
        <p:spPr>
          <a:xfrm>
            <a:off x="1625305" y="4553936"/>
            <a:ext cx="1033409" cy="575863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defTabSz="756117"/>
            <a:r>
              <a:rPr lang="en-US" sz="1158" b="1" dirty="0">
                <a:solidFill>
                  <a:prstClr val="black"/>
                </a:solidFill>
              </a:rPr>
              <a:t>Nola </a:t>
            </a:r>
            <a:r>
              <a:rPr lang="en-US" sz="992" b="1" dirty="0">
                <a:solidFill>
                  <a:prstClr val="black"/>
                </a:solidFill>
              </a:rPr>
              <a:t>                    </a:t>
            </a:r>
          </a:p>
          <a:p>
            <a:pPr defTabSz="756117"/>
            <a:r>
              <a:rPr lang="en-US" sz="992" dirty="0">
                <a:solidFill>
                  <a:prstClr val="black"/>
                </a:solidFill>
              </a:rPr>
              <a:t>Machined parts fabrication</a:t>
            </a:r>
          </a:p>
        </p:txBody>
      </p:sp>
      <p:cxnSp>
        <p:nvCxnSpPr>
          <p:cNvPr id="10" name="Connettore 4 9"/>
          <p:cNvCxnSpPr>
            <a:stCxn id="62" idx="3"/>
            <a:endCxn id="51" idx="4"/>
          </p:cNvCxnSpPr>
          <p:nvPr/>
        </p:nvCxnSpPr>
        <p:spPr>
          <a:xfrm flipV="1">
            <a:off x="2658714" y="3598365"/>
            <a:ext cx="1826215" cy="1243503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4 11"/>
          <p:cNvCxnSpPr>
            <a:stCxn id="6" idx="1"/>
            <a:endCxn id="50" idx="0"/>
          </p:cNvCxnSpPr>
          <p:nvPr/>
        </p:nvCxnSpPr>
        <p:spPr>
          <a:xfrm rot="10800000" flipV="1">
            <a:off x="4733227" y="2827592"/>
            <a:ext cx="879873" cy="503812"/>
          </a:xfrm>
          <a:prstGeom prst="bentConnector2">
            <a:avLst/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Connettore 4 13"/>
          <p:cNvCxnSpPr/>
          <p:nvPr/>
        </p:nvCxnSpPr>
        <p:spPr>
          <a:xfrm rot="16200000" flipV="1">
            <a:off x="5621804" y="3339181"/>
            <a:ext cx="426029" cy="1323496"/>
          </a:xfrm>
          <a:prstGeom prst="bentConnector3">
            <a:avLst>
              <a:gd name="adj1" fmla="val 50000"/>
            </a:avLst>
          </a:prstGeom>
          <a:ln w="9525">
            <a:solidFill>
              <a:schemeClr val="tx1">
                <a:lumMod val="75000"/>
                <a:lumOff val="25000"/>
              </a:schemeClr>
            </a:solidFill>
            <a:tailEnd type="arrow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Callout 2 30"/>
          <p:cNvSpPr/>
          <p:nvPr/>
        </p:nvSpPr>
        <p:spPr bwMode="auto">
          <a:xfrm>
            <a:off x="1424792" y="3011192"/>
            <a:ext cx="1259020" cy="677878"/>
          </a:xfrm>
          <a:prstGeom prst="borderCallout2">
            <a:avLst>
              <a:gd name="adj1" fmla="val 42279"/>
              <a:gd name="adj2" fmla="val 104630"/>
              <a:gd name="adj3" fmla="val 40579"/>
              <a:gd name="adj4" fmla="val 119575"/>
              <a:gd name="adj5" fmla="val 108436"/>
              <a:gd name="adj6" fmla="val 236821"/>
            </a:avLst>
          </a:prstGeom>
          <a:solidFill>
            <a:schemeClr val="bg1">
              <a:lumMod val="75000"/>
            </a:schemeClr>
          </a:solidFill>
          <a:ln w="6350">
            <a:solidFill>
              <a:schemeClr val="tx1">
                <a:lumMod val="85000"/>
                <a:lumOff val="1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anchor="ctr">
            <a:spAutoFit/>
          </a:bodyPr>
          <a:lstStyle/>
          <a:p>
            <a:pPr defTabSz="756117">
              <a:defRPr/>
            </a:pPr>
            <a:r>
              <a:rPr lang="en-US" sz="1158" b="1" dirty="0" err="1">
                <a:solidFill>
                  <a:prstClr val="black"/>
                </a:solidFill>
              </a:rPr>
              <a:t>Pomigliano</a:t>
            </a:r>
            <a:endParaRPr lang="en-US" sz="1158" b="1" dirty="0">
              <a:solidFill>
                <a:prstClr val="black"/>
              </a:solidFill>
            </a:endParaRPr>
          </a:p>
          <a:p>
            <a:pPr defTabSz="756117">
              <a:defRPr/>
            </a:pPr>
            <a:r>
              <a:rPr lang="en-US" sz="910" dirty="0">
                <a:solidFill>
                  <a:prstClr val="black"/>
                </a:solidFill>
              </a:rPr>
              <a:t>Frame and shear ties  fabrication</a:t>
            </a:r>
          </a:p>
          <a:p>
            <a:pPr defTabSz="756117">
              <a:defRPr/>
            </a:pPr>
            <a:endParaRPr lang="en-US" sz="827" dirty="0">
              <a:solidFill>
                <a:prstClr val="black"/>
              </a:solidFill>
            </a:endParaRPr>
          </a:p>
        </p:txBody>
      </p:sp>
      <p:pic>
        <p:nvPicPr>
          <p:cNvPr id="44" name="Picture 2"/>
          <p:cNvPicPr>
            <a:picLocks noChangeAspect="1" noChangeArrowheads="1"/>
          </p:cNvPicPr>
          <p:nvPr/>
        </p:nvPicPr>
        <p:blipFill rotWithShape="1"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053608" y="3454732"/>
            <a:ext cx="619996" cy="2157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0179" name="Picture 3" descr="C:\Users\uaa19h1\Desktop\untitled1.pn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1269" y="1533080"/>
            <a:ext cx="2236717" cy="1394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3" name="Ovale 52"/>
          <p:cNvSpPr/>
          <p:nvPr/>
        </p:nvSpPr>
        <p:spPr>
          <a:xfrm>
            <a:off x="5105265" y="3668835"/>
            <a:ext cx="173207" cy="106519"/>
          </a:xfrm>
          <a:prstGeom prst="ellipse">
            <a:avLst/>
          </a:prstGeom>
          <a:solidFill>
            <a:srgbClr val="E62C00"/>
          </a:solidFill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88"/>
          </a:p>
        </p:txBody>
      </p:sp>
    </p:spTree>
    <p:extLst>
      <p:ext uri="{BB962C8B-B14F-4D97-AF65-F5344CB8AC3E}">
        <p14:creationId xmlns:p14="http://schemas.microsoft.com/office/powerpoint/2010/main" val="2871083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211687444"/>
              </p:ext>
            </p:extLst>
          </p:nvPr>
        </p:nvGraphicFramePr>
        <p:xfrm>
          <a:off x="152400" y="1507067"/>
          <a:ext cx="9779000" cy="3568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7" name="Titolo 4"/>
          <p:cNvSpPr txBox="1">
            <a:spLocks/>
          </p:cNvSpPr>
          <p:nvPr/>
        </p:nvSpPr>
        <p:spPr>
          <a:xfrm>
            <a:off x="550370" y="626926"/>
            <a:ext cx="8979886" cy="58555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2500" lnSpcReduction="20000"/>
          </a:bodyPr>
          <a:lstStyle>
            <a:lvl1pPr algn="ctr" defTabSz="756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/>
              <a:t>Obiettivi 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403422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a 2"/>
          <p:cNvGraphicFramePr/>
          <p:nvPr>
            <p:extLst>
              <p:ext uri="{D42A27DB-BD31-4B8C-83A1-F6EECF244321}">
                <p14:modId xmlns:p14="http://schemas.microsoft.com/office/powerpoint/2010/main" val="2399541911"/>
              </p:ext>
            </p:extLst>
          </p:nvPr>
        </p:nvGraphicFramePr>
        <p:xfrm>
          <a:off x="152400" y="1507067"/>
          <a:ext cx="3048000" cy="35683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7" name="Titolo 4"/>
          <p:cNvSpPr txBox="1">
            <a:spLocks/>
          </p:cNvSpPr>
          <p:nvPr/>
        </p:nvSpPr>
        <p:spPr>
          <a:xfrm>
            <a:off x="550370" y="626926"/>
            <a:ext cx="8979886" cy="58555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2500" lnSpcReduction="20000"/>
          </a:bodyPr>
          <a:lstStyle>
            <a:lvl1pPr algn="ctr" defTabSz="756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/>
              <a:t>Obiettivo 1 - Studio </a:t>
            </a:r>
            <a:endParaRPr lang="en-GB" dirty="0"/>
          </a:p>
        </p:txBody>
      </p:sp>
      <p:grpSp>
        <p:nvGrpSpPr>
          <p:cNvPr id="4" name="Group 14"/>
          <p:cNvGrpSpPr/>
          <p:nvPr/>
        </p:nvGrpSpPr>
        <p:grpSpPr>
          <a:xfrm>
            <a:off x="3200400" y="1212480"/>
            <a:ext cx="6027930" cy="1531186"/>
            <a:chOff x="246112" y="4889180"/>
            <a:chExt cx="7333165" cy="2035930"/>
          </a:xfrm>
        </p:grpSpPr>
        <p:pic>
          <p:nvPicPr>
            <p:cNvPr id="5" name="Picture 7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246112" y="4889180"/>
              <a:ext cx="4925805" cy="2035930"/>
            </a:xfrm>
            <a:prstGeom prst="rect">
              <a:avLst/>
            </a:prstGeom>
          </p:spPr>
        </p:pic>
        <p:pic>
          <p:nvPicPr>
            <p:cNvPr id="6" name="Picture 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5358680" y="5129022"/>
              <a:ext cx="2220597" cy="1402482"/>
            </a:xfrm>
            <a:prstGeom prst="rect">
              <a:avLst/>
            </a:prstGeom>
          </p:spPr>
        </p:pic>
      </p:grpSp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9"/>
          <a:srcRect l="7290" t="20989" r="24685"/>
          <a:stretch/>
        </p:blipFill>
        <p:spPr>
          <a:xfrm>
            <a:off x="4338637" y="2628023"/>
            <a:ext cx="3819525" cy="2379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19832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olo 4"/>
          <p:cNvSpPr txBox="1">
            <a:spLocks/>
          </p:cNvSpPr>
          <p:nvPr/>
        </p:nvSpPr>
        <p:spPr>
          <a:xfrm>
            <a:off x="550370" y="626926"/>
            <a:ext cx="8979886" cy="58555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2500" lnSpcReduction="20000"/>
          </a:bodyPr>
          <a:lstStyle>
            <a:lvl1pPr algn="ctr" defTabSz="756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/>
              <a:t>Obiettivo 2 - Misura 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/>
          <a:srcRect l="25276" r="48959"/>
          <a:stretch/>
        </p:blipFill>
        <p:spPr>
          <a:xfrm>
            <a:off x="161925" y="1212480"/>
            <a:ext cx="2543175" cy="3572566"/>
          </a:xfrm>
          <a:prstGeom prst="rect">
            <a:avLst/>
          </a:prstGeom>
        </p:spPr>
      </p:pic>
      <p:pic>
        <p:nvPicPr>
          <p:cNvPr id="5" name="Immagine 4"/>
          <p:cNvPicPr>
            <a:picLocks noChangeAspect="1"/>
          </p:cNvPicPr>
          <p:nvPr/>
        </p:nvPicPr>
        <p:blipFill rotWithShape="1">
          <a:blip r:embed="rId3"/>
          <a:srcRect r="32713"/>
          <a:stretch/>
        </p:blipFill>
        <p:spPr>
          <a:xfrm>
            <a:off x="2946875" y="1353484"/>
            <a:ext cx="684229" cy="1064445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15755" y="2825535"/>
            <a:ext cx="3589395" cy="1743421"/>
          </a:xfrm>
          <a:prstGeom prst="rect">
            <a:avLst/>
          </a:prstGeom>
        </p:spPr>
      </p:pic>
      <p:grpSp>
        <p:nvGrpSpPr>
          <p:cNvPr id="7" name="Gruppo 6"/>
          <p:cNvGrpSpPr/>
          <p:nvPr/>
        </p:nvGrpSpPr>
        <p:grpSpPr>
          <a:xfrm>
            <a:off x="4550768" y="1477784"/>
            <a:ext cx="2117361" cy="900124"/>
            <a:chOff x="179512" y="-551834"/>
            <a:chExt cx="9384407" cy="5748435"/>
          </a:xfrm>
        </p:grpSpPr>
        <p:pic>
          <p:nvPicPr>
            <p:cNvPr id="8" name="Immagine 7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735" b="89381" l="543" r="99023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0640552" flipV="1">
              <a:off x="179512" y="-551834"/>
              <a:ext cx="8772525" cy="2560346"/>
            </a:xfrm>
            <a:prstGeom prst="rect">
              <a:avLst/>
            </a:prstGeom>
          </p:spPr>
        </p:pic>
        <p:pic>
          <p:nvPicPr>
            <p:cNvPr id="9" name="Immagine 8"/>
            <p:cNvPicPr>
              <a:picLocks noChangeAspect="1"/>
            </p:cNvPicPr>
            <p:nvPr/>
          </p:nvPicPr>
          <p:blipFill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1873" b="100000" l="0" r="100000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0640552" flipV="1">
              <a:off x="467544" y="984408"/>
              <a:ext cx="9096375" cy="2543176"/>
            </a:xfrm>
            <a:prstGeom prst="rect">
              <a:avLst/>
            </a:prstGeom>
          </p:spPr>
        </p:pic>
        <p:pic>
          <p:nvPicPr>
            <p:cNvPr id="10" name="Immagine 9"/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ackgroundRemoval t="9735" b="89381" l="543" r="99023"/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 rot="20640552" flipV="1">
              <a:off x="629468" y="2739117"/>
              <a:ext cx="8772525" cy="2457484"/>
            </a:xfrm>
            <a:prstGeom prst="rect">
              <a:avLst/>
            </a:prstGeom>
          </p:spPr>
        </p:pic>
      </p:grpSp>
      <p:cxnSp>
        <p:nvCxnSpPr>
          <p:cNvPr id="11" name="Connettore diritto 10"/>
          <p:cNvCxnSpPr/>
          <p:nvPr/>
        </p:nvCxnSpPr>
        <p:spPr>
          <a:xfrm>
            <a:off x="3335368" y="1646458"/>
            <a:ext cx="3057019" cy="69243"/>
          </a:xfrm>
          <a:prstGeom prst="line">
            <a:avLst/>
          </a:prstGeom>
          <a:ln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Connettore diritto 11"/>
          <p:cNvCxnSpPr/>
          <p:nvPr/>
        </p:nvCxnSpPr>
        <p:spPr>
          <a:xfrm>
            <a:off x="3335367" y="1673266"/>
            <a:ext cx="2161948" cy="512071"/>
          </a:xfrm>
          <a:prstGeom prst="line">
            <a:avLst/>
          </a:prstGeom>
          <a:ln>
            <a:solidFill>
              <a:srgbClr val="FF0000"/>
            </a:solidFill>
            <a:headEnd type="none"/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" name="Immagine 12"/>
          <p:cNvPicPr>
            <a:picLocks noChangeAspect="1"/>
          </p:cNvPicPr>
          <p:nvPr/>
        </p:nvPicPr>
        <p:blipFill rotWithShape="1"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61954" r="100000"/>
                    </a14:imgEffect>
                  </a14:imgLayer>
                </a14:imgProps>
              </a:ext>
            </a:extLst>
          </a:blip>
          <a:srcRect l="64711"/>
          <a:stretch/>
        </p:blipFill>
        <p:spPr>
          <a:xfrm rot="18524022">
            <a:off x="4355856" y="1290546"/>
            <a:ext cx="354967" cy="1076071"/>
          </a:xfrm>
          <a:prstGeom prst="rect">
            <a:avLst/>
          </a:prstGeom>
        </p:spPr>
      </p:pic>
      <p:sp>
        <p:nvSpPr>
          <p:cNvPr id="14" name="Freccia a destra 13"/>
          <p:cNvSpPr/>
          <p:nvPr/>
        </p:nvSpPr>
        <p:spPr>
          <a:xfrm rot="3297984">
            <a:off x="5966592" y="2374011"/>
            <a:ext cx="583556" cy="308654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88"/>
          </a:p>
        </p:txBody>
      </p:sp>
    </p:spTree>
    <p:extLst>
      <p:ext uri="{BB962C8B-B14F-4D97-AF65-F5344CB8AC3E}">
        <p14:creationId xmlns:p14="http://schemas.microsoft.com/office/powerpoint/2010/main" val="61205379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Immagine 36"/>
          <p:cNvPicPr/>
          <p:nvPr/>
        </p:nvPicPr>
        <p:blipFill>
          <a:blip r:embed="rId2"/>
          <a:stretch/>
        </p:blipFill>
        <p:spPr>
          <a:xfrm>
            <a:off x="8422" y="-18000"/>
            <a:ext cx="10079280" cy="492480"/>
          </a:xfrm>
          <a:prstGeom prst="rect">
            <a:avLst/>
          </a:prstGeom>
          <a:ln w="0">
            <a:noFill/>
          </a:ln>
        </p:spPr>
      </p:pic>
      <p:pic>
        <p:nvPicPr>
          <p:cNvPr id="38" name="Immagine 37"/>
          <p:cNvPicPr/>
          <p:nvPr/>
        </p:nvPicPr>
        <p:blipFill>
          <a:blip r:embed="rId3"/>
          <a:stretch/>
        </p:blipFill>
        <p:spPr>
          <a:xfrm>
            <a:off x="318382" y="5097960"/>
            <a:ext cx="9384480" cy="517680"/>
          </a:xfrm>
          <a:prstGeom prst="rect">
            <a:avLst/>
          </a:prstGeom>
          <a:ln w="0">
            <a:noFill/>
          </a:ln>
        </p:spPr>
      </p:pic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Progetto ISAF</a:t>
            </a:r>
            <a:endParaRPr lang="en-GB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Soluzioni tecnologiche oggetto di studi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859520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/>
          <p:cNvSpPr txBox="1">
            <a:spLocks/>
          </p:cNvSpPr>
          <p:nvPr/>
        </p:nvSpPr>
        <p:spPr>
          <a:xfrm>
            <a:off x="408059" y="2379966"/>
            <a:ext cx="2399010" cy="1008225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err="1" smtClean="0"/>
              <a:t>Utilizzo</a:t>
            </a:r>
            <a:r>
              <a:rPr lang="en-US" sz="1488" dirty="0" smtClean="0"/>
              <a:t> di </a:t>
            </a:r>
            <a:r>
              <a:rPr lang="en-US" sz="1488" dirty="0" err="1" smtClean="0"/>
              <a:t>materiale</a:t>
            </a:r>
            <a:r>
              <a:rPr lang="en-US" sz="1488" dirty="0" smtClean="0"/>
              <a:t> </a:t>
            </a:r>
            <a:r>
              <a:rPr lang="en-US" sz="1488" dirty="0" err="1" smtClean="0"/>
              <a:t>sacrificale</a:t>
            </a:r>
            <a:r>
              <a:rPr lang="en-US" sz="1488" dirty="0" smtClean="0"/>
              <a:t> </a:t>
            </a:r>
            <a:r>
              <a:rPr lang="en-US" sz="1488" dirty="0" err="1" smtClean="0"/>
              <a:t>sulla</a:t>
            </a:r>
            <a:r>
              <a:rPr lang="en-US" sz="1488" dirty="0" smtClean="0"/>
              <a:t> parte in </a:t>
            </a:r>
            <a:r>
              <a:rPr lang="en-US" sz="1488" dirty="0" err="1" smtClean="0"/>
              <a:t>composito</a:t>
            </a:r>
            <a:r>
              <a:rPr lang="en-US" sz="1488" dirty="0" smtClean="0"/>
              <a:t> da </a:t>
            </a:r>
            <a:r>
              <a:rPr lang="en-US" sz="1488" dirty="0" err="1" smtClean="0"/>
              <a:t>fresare</a:t>
            </a:r>
            <a:r>
              <a:rPr lang="en-US" sz="1488" dirty="0" smtClean="0"/>
              <a:t> a </a:t>
            </a:r>
            <a:r>
              <a:rPr lang="en-US" sz="1488" dirty="0" err="1" smtClean="0"/>
              <a:t>controllo</a:t>
            </a:r>
            <a:r>
              <a:rPr lang="en-US" sz="1488" dirty="0" smtClean="0"/>
              <a:t> </a:t>
            </a:r>
            <a:r>
              <a:rPr lang="en-US" sz="1488" dirty="0" err="1" smtClean="0"/>
              <a:t>numerico</a:t>
            </a:r>
            <a:endParaRPr lang="en-US" sz="1488" dirty="0"/>
          </a:p>
        </p:txBody>
      </p:sp>
      <p:grpSp>
        <p:nvGrpSpPr>
          <p:cNvPr id="3" name="Gruppo 2"/>
          <p:cNvGrpSpPr/>
          <p:nvPr/>
        </p:nvGrpSpPr>
        <p:grpSpPr>
          <a:xfrm>
            <a:off x="3307055" y="1533380"/>
            <a:ext cx="5930931" cy="3212754"/>
            <a:chOff x="-12980562" y="-1826190"/>
            <a:chExt cx="6910233" cy="4379742"/>
          </a:xfrm>
        </p:grpSpPr>
        <p:grpSp>
          <p:nvGrpSpPr>
            <p:cNvPr id="52" name="Gruppo 51"/>
            <p:cNvGrpSpPr/>
            <p:nvPr/>
          </p:nvGrpSpPr>
          <p:grpSpPr>
            <a:xfrm rot="10800000">
              <a:off x="-12094792" y="1159321"/>
              <a:ext cx="742171" cy="1167837"/>
              <a:chOff x="4483749" y="1737794"/>
              <a:chExt cx="1924057" cy="3027583"/>
            </a:xfrm>
          </p:grpSpPr>
          <p:sp>
            <p:nvSpPr>
              <p:cNvPr id="53" name="Rettangolo 52"/>
              <p:cNvSpPr/>
              <p:nvPr/>
            </p:nvSpPr>
            <p:spPr>
              <a:xfrm>
                <a:off x="5877454" y="2028177"/>
                <a:ext cx="530352" cy="2686089"/>
              </a:xfrm>
              <a:prstGeom prst="rect">
                <a:avLst/>
              </a:prstGeom>
              <a:pattFill prst="wdUpDiag">
                <a:fgClr>
                  <a:srgbClr val="EE7713"/>
                </a:fgClr>
                <a:bgClr>
                  <a:srgbClr val="FFFF00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grpSp>
            <p:nvGrpSpPr>
              <p:cNvPr id="55" name="Gruppo 54"/>
              <p:cNvGrpSpPr/>
              <p:nvPr/>
            </p:nvGrpSpPr>
            <p:grpSpPr>
              <a:xfrm flipV="1">
                <a:off x="4483749" y="1737794"/>
                <a:ext cx="1685054" cy="3027583"/>
                <a:chOff x="810767" y="5116878"/>
                <a:chExt cx="1392606" cy="1847865"/>
              </a:xfrm>
            </p:grpSpPr>
            <p:sp>
              <p:nvSpPr>
                <p:cNvPr id="56" name="Rettangolo 55"/>
                <p:cNvSpPr/>
                <p:nvPr/>
              </p:nvSpPr>
              <p:spPr>
                <a:xfrm>
                  <a:off x="1464184" y="5116878"/>
                  <a:ext cx="739189" cy="1013354"/>
                </a:xfrm>
                <a:prstGeom prst="rect">
                  <a:avLst/>
                </a:prstGeom>
                <a:solidFill>
                  <a:schemeClr val="bg1">
                    <a:alpha val="9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1200" dirty="0"/>
                </a:p>
              </p:txBody>
            </p:sp>
            <p:grpSp>
              <p:nvGrpSpPr>
                <p:cNvPr id="57" name="Gruppo 56"/>
                <p:cNvGrpSpPr/>
                <p:nvPr/>
              </p:nvGrpSpPr>
              <p:grpSpPr>
                <a:xfrm>
                  <a:off x="810767" y="5675864"/>
                  <a:ext cx="1391508" cy="688975"/>
                  <a:chOff x="865631" y="5438120"/>
                  <a:chExt cx="1391508" cy="688975"/>
                </a:xfrm>
              </p:grpSpPr>
              <p:sp>
                <p:nvSpPr>
                  <p:cNvPr id="59" name="Rettangolo arrotondato 58"/>
                  <p:cNvSpPr/>
                  <p:nvPr/>
                </p:nvSpPr>
                <p:spPr>
                  <a:xfrm>
                    <a:off x="1225994" y="5573009"/>
                    <a:ext cx="1031145" cy="412321"/>
                  </a:xfrm>
                  <a:prstGeom prst="roundRect">
                    <a:avLst>
                      <a:gd name="adj" fmla="val 36626"/>
                    </a:avLst>
                  </a:prstGeom>
                  <a:pattFill prst="wdDnDiag">
                    <a:fgClr>
                      <a:schemeClr val="bg1">
                        <a:lumMod val="50000"/>
                      </a:schemeClr>
                    </a:fgClr>
                    <a:bgClr>
                      <a:schemeClr val="bg1"/>
                    </a:bgClr>
                  </a:pattFill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200" dirty="0"/>
                  </a:p>
                </p:txBody>
              </p:sp>
              <p:sp>
                <p:nvSpPr>
                  <p:cNvPr id="60" name="Rectangle 113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732281" y="5631795"/>
                    <a:ext cx="688975" cy="301625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200" dirty="0"/>
                  </a:p>
                </p:txBody>
              </p:sp>
              <p:sp>
                <p:nvSpPr>
                  <p:cNvPr id="61" name="AutoShape 114"/>
                  <p:cNvSpPr>
                    <a:spLocks noChangeArrowheads="1"/>
                  </p:cNvSpPr>
                  <p:nvPr/>
                </p:nvSpPr>
                <p:spPr bwMode="auto">
                  <a:xfrm rot="16200000">
                    <a:off x="981519" y="5682595"/>
                    <a:ext cx="688975" cy="200025"/>
                  </a:xfrm>
                  <a:custGeom>
                    <a:avLst/>
                    <a:gdLst>
                      <a:gd name="G0" fmla="+- 2746 0 0"/>
                      <a:gd name="G1" fmla="+- 21600 0 2746"/>
                      <a:gd name="G2" fmla="*/ 2746 1 2"/>
                      <a:gd name="G3" fmla="+- 21600 0 G2"/>
                      <a:gd name="G4" fmla="+/ 2746 21600 2"/>
                      <a:gd name="G5" fmla="+/ G1 0 2"/>
                      <a:gd name="G6" fmla="*/ 21600 21600 2746"/>
                      <a:gd name="G7" fmla="*/ G6 1 2"/>
                      <a:gd name="G8" fmla="+- 21600 0 G7"/>
                      <a:gd name="G9" fmla="*/ 21600 1 2"/>
                      <a:gd name="G10" fmla="+- 2746 0 G9"/>
                      <a:gd name="G11" fmla="?: G10 G8 0"/>
                      <a:gd name="G12" fmla="?: G10 G7 21600"/>
                      <a:gd name="T0" fmla="*/ 20227 w 21600"/>
                      <a:gd name="T1" fmla="*/ 10800 h 21600"/>
                      <a:gd name="T2" fmla="*/ 10800 w 21600"/>
                      <a:gd name="T3" fmla="*/ 21600 h 21600"/>
                      <a:gd name="T4" fmla="*/ 1373 w 21600"/>
                      <a:gd name="T5" fmla="*/ 10800 h 21600"/>
                      <a:gd name="T6" fmla="*/ 10800 w 21600"/>
                      <a:gd name="T7" fmla="*/ 0 h 21600"/>
                      <a:gd name="T8" fmla="*/ 3173 w 21600"/>
                      <a:gd name="T9" fmla="*/ 3173 h 21600"/>
                      <a:gd name="T10" fmla="*/ 18427 w 21600"/>
                      <a:gd name="T11" fmla="*/ 1842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746" y="21600"/>
                        </a:lnTo>
                        <a:lnTo>
                          <a:pt x="18854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200" dirty="0"/>
                  </a:p>
                </p:txBody>
              </p:sp>
              <p:sp>
                <p:nvSpPr>
                  <p:cNvPr id="62" name="Line 115"/>
                  <p:cNvSpPr>
                    <a:spLocks noChangeShapeType="1"/>
                  </p:cNvSpPr>
                  <p:nvPr/>
                </p:nvSpPr>
                <p:spPr bwMode="auto">
                  <a:xfrm rot="10816890">
                    <a:off x="865631" y="5779433"/>
                    <a:ext cx="1387475" cy="0"/>
                  </a:xfrm>
                  <a:prstGeom prst="line">
                    <a:avLst/>
                  </a:prstGeom>
                  <a:noFill/>
                  <a:ln w="9525">
                    <a:solidFill>
                      <a:srgbClr val="000000"/>
                    </a:solidFill>
                    <a:prstDash val="lgDashDot"/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it-IT" sz="1200" dirty="0"/>
                  </a:p>
                </p:txBody>
              </p:sp>
            </p:grpSp>
            <p:sp>
              <p:nvSpPr>
                <p:cNvPr id="58" name="AutoShape 31"/>
                <p:cNvSpPr>
                  <a:spLocks noChangeArrowheads="1"/>
                </p:cNvSpPr>
                <p:nvPr/>
              </p:nvSpPr>
              <p:spPr bwMode="auto">
                <a:xfrm rot="16200000">
                  <a:off x="1146711" y="6209093"/>
                  <a:ext cx="766763" cy="744537"/>
                </a:xfrm>
                <a:prstGeom prst="leftArrow">
                  <a:avLst>
                    <a:gd name="adj1" fmla="val 59620"/>
                    <a:gd name="adj2" fmla="val 44541"/>
                  </a:avLst>
                </a:prstGeom>
                <a:gradFill rotWithShape="1">
                  <a:gsLst>
                    <a:gs pos="0">
                      <a:srgbClr val="92D050"/>
                    </a:gs>
                    <a:gs pos="100000">
                      <a:srgbClr val="33CC33">
                        <a:gamma/>
                        <a:shade val="46275"/>
                        <a:invGamma/>
                        <a:alpha val="0"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</p:spPr>
              <p:txBody>
                <a:bodyPr rot="10800000" vert="eaVert" wrap="none" anchor="ctr"/>
                <a:lstStyle/>
                <a:p>
                  <a:pPr algn="ctr" eaLnBrk="1" hangingPunct="1"/>
                  <a:endParaRPr lang="en-US" sz="1200" dirty="0">
                    <a:latin typeface="Arial Narrow" pitchFamily="34" charset="0"/>
                  </a:endParaRPr>
                </a:p>
              </p:txBody>
            </p:sp>
          </p:grpSp>
        </p:grpSp>
        <p:sp>
          <p:nvSpPr>
            <p:cNvPr id="24" name="Titolo 1"/>
            <p:cNvSpPr txBox="1">
              <a:spLocks/>
            </p:cNvSpPr>
            <p:nvPr/>
          </p:nvSpPr>
          <p:spPr>
            <a:xfrm>
              <a:off x="-11210141" y="-1683634"/>
              <a:ext cx="1448595" cy="1111875"/>
            </a:xfrm>
            <a:prstGeom prst="rect">
              <a:avLst/>
            </a:prstGeom>
            <a:solidFill>
              <a:srgbClr val="CCFF33"/>
            </a:solidFill>
          </p:spPr>
          <p:txBody>
            <a:bodyPr wrap="square">
              <a:spAutoFit/>
            </a:bodyPr>
            <a:lstStyle>
              <a:defPPr>
                <a:defRPr lang="it-IT"/>
              </a:defPPr>
              <a:lvl1pPr eaLnBrk="0" hangingPunct="0">
                <a:defRPr sz="1800" b="1" i="0">
                  <a:latin typeface="Arial Narrow" panose="020B0606020202030204" pitchFamily="34" charset="0"/>
                  <a:ea typeface="ＭＳ Ｐゴシック" charset="0"/>
                  <a:cs typeface="Arial"/>
                </a:defRPr>
              </a:lvl1pPr>
              <a:lvl2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r>
                <a:rPr lang="en-US" sz="1050" dirty="0"/>
                <a:t>1</a:t>
              </a:r>
              <a:r>
                <a:rPr lang="en-US" sz="1050" dirty="0"/>
                <a:t>. Bond GFRP </a:t>
              </a:r>
              <a:r>
                <a:rPr lang="en-US" sz="1050" dirty="0"/>
                <a:t>sacrificial material on </a:t>
              </a:r>
              <a:r>
                <a:rPr lang="en-US" sz="1050" dirty="0"/>
                <a:t>mating area</a:t>
              </a:r>
              <a:endParaRPr lang="en-US" sz="1050" dirty="0"/>
            </a:p>
          </p:txBody>
        </p:sp>
        <p:sp>
          <p:nvSpPr>
            <p:cNvPr id="25" name="Titolo 1"/>
            <p:cNvSpPr txBox="1">
              <a:spLocks/>
            </p:cNvSpPr>
            <p:nvPr/>
          </p:nvSpPr>
          <p:spPr>
            <a:xfrm>
              <a:off x="-7692619" y="-1681505"/>
              <a:ext cx="1484799" cy="868652"/>
            </a:xfrm>
            <a:prstGeom prst="rect">
              <a:avLst/>
            </a:prstGeom>
            <a:solidFill>
              <a:srgbClr val="CCFF33"/>
            </a:solidFill>
          </p:spPr>
          <p:txBody>
            <a:bodyPr wrap="square">
              <a:spAutoFit/>
            </a:bodyPr>
            <a:lstStyle>
              <a:defPPr>
                <a:defRPr lang="it-IT"/>
              </a:defPPr>
              <a:lvl1pPr eaLnBrk="0" hangingPunct="0">
                <a:defRPr sz="1400" b="1" i="0">
                  <a:latin typeface="Arial Narrow" panose="020B0606020202030204" pitchFamily="34" charset="0"/>
                  <a:ea typeface="ＭＳ Ｐゴシック" charset="0"/>
                  <a:cs typeface="Arial"/>
                </a:defRPr>
              </a:lvl1pPr>
              <a:lvl2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r>
                <a:rPr lang="en-US" sz="1050" dirty="0"/>
                <a:t>2. Machine sacrificial </a:t>
              </a:r>
              <a:r>
                <a:rPr lang="en-US" sz="1050" dirty="0"/>
                <a:t>material on Rib</a:t>
              </a:r>
              <a:endParaRPr lang="en-US" sz="1050" dirty="0"/>
            </a:p>
          </p:txBody>
        </p:sp>
        <p:grpSp>
          <p:nvGrpSpPr>
            <p:cNvPr id="2" name="Gruppo 1"/>
            <p:cNvGrpSpPr/>
            <p:nvPr/>
          </p:nvGrpSpPr>
          <p:grpSpPr>
            <a:xfrm>
              <a:off x="-9251969" y="-1523928"/>
              <a:ext cx="1741600" cy="1338894"/>
              <a:chOff x="4483749" y="1737794"/>
              <a:chExt cx="4515044" cy="3471041"/>
            </a:xfrm>
          </p:grpSpPr>
          <p:sp>
            <p:nvSpPr>
              <p:cNvPr id="28" name="Rettangolo 27"/>
              <p:cNvSpPr/>
              <p:nvPr/>
            </p:nvSpPr>
            <p:spPr>
              <a:xfrm>
                <a:off x="5877454" y="2028177"/>
                <a:ext cx="530352" cy="2686089"/>
              </a:xfrm>
              <a:prstGeom prst="rect">
                <a:avLst/>
              </a:prstGeom>
              <a:pattFill prst="wdUpDiag">
                <a:fgClr>
                  <a:srgbClr val="EE7713"/>
                </a:fgClr>
                <a:bgClr>
                  <a:srgbClr val="FFFF00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29" name="Freccia curva 2"/>
              <p:cNvSpPr/>
              <p:nvPr/>
            </p:nvSpPr>
            <p:spPr>
              <a:xfrm flipV="1">
                <a:off x="6268320" y="2028739"/>
                <a:ext cx="2730473" cy="3180096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51444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866756" y="0"/>
                      <a:pt x="1957243" y="0"/>
                    </a:cubicBezTo>
                    <a:lnTo>
                      <a:pt x="1881071" y="145914"/>
                    </a:lnTo>
                    <a:lnTo>
                      <a:pt x="2051444" y="26893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grpSp>
            <p:nvGrpSpPr>
              <p:cNvPr id="94" name="Gruppo 93"/>
              <p:cNvGrpSpPr/>
              <p:nvPr/>
            </p:nvGrpSpPr>
            <p:grpSpPr>
              <a:xfrm flipV="1">
                <a:off x="4483749" y="1737794"/>
                <a:ext cx="1685054" cy="3027583"/>
                <a:chOff x="810767" y="5116878"/>
                <a:chExt cx="1392606" cy="1847865"/>
              </a:xfrm>
            </p:grpSpPr>
            <p:sp>
              <p:nvSpPr>
                <p:cNvPr id="98" name="Rettangolo 97"/>
                <p:cNvSpPr/>
                <p:nvPr/>
              </p:nvSpPr>
              <p:spPr>
                <a:xfrm>
                  <a:off x="1464184" y="5116878"/>
                  <a:ext cx="739189" cy="1013354"/>
                </a:xfrm>
                <a:prstGeom prst="rect">
                  <a:avLst/>
                </a:prstGeom>
                <a:solidFill>
                  <a:schemeClr val="bg1">
                    <a:alpha val="9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1200" dirty="0"/>
                </a:p>
              </p:txBody>
            </p:sp>
            <p:grpSp>
              <p:nvGrpSpPr>
                <p:cNvPr id="99" name="Gruppo 98"/>
                <p:cNvGrpSpPr/>
                <p:nvPr/>
              </p:nvGrpSpPr>
              <p:grpSpPr>
                <a:xfrm>
                  <a:off x="810767" y="5675864"/>
                  <a:ext cx="1391508" cy="688975"/>
                  <a:chOff x="865631" y="5438120"/>
                  <a:chExt cx="1391508" cy="688975"/>
                </a:xfrm>
              </p:grpSpPr>
              <p:sp>
                <p:nvSpPr>
                  <p:cNvPr id="101" name="Rettangolo arrotondato 100"/>
                  <p:cNvSpPr/>
                  <p:nvPr/>
                </p:nvSpPr>
                <p:spPr>
                  <a:xfrm>
                    <a:off x="1225994" y="5573009"/>
                    <a:ext cx="1031145" cy="412321"/>
                  </a:xfrm>
                  <a:prstGeom prst="roundRect">
                    <a:avLst>
                      <a:gd name="adj" fmla="val 36626"/>
                    </a:avLst>
                  </a:prstGeom>
                  <a:pattFill prst="wdDnDiag">
                    <a:fgClr>
                      <a:schemeClr val="bg1">
                        <a:lumMod val="50000"/>
                      </a:schemeClr>
                    </a:fgClr>
                    <a:bgClr>
                      <a:schemeClr val="bg1"/>
                    </a:bgClr>
                  </a:pattFill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200" dirty="0"/>
                  </a:p>
                </p:txBody>
              </p:sp>
              <p:sp>
                <p:nvSpPr>
                  <p:cNvPr id="102" name="Rectangle 113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732281" y="5631795"/>
                    <a:ext cx="688975" cy="301625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200" dirty="0"/>
                  </a:p>
                </p:txBody>
              </p:sp>
              <p:sp>
                <p:nvSpPr>
                  <p:cNvPr id="103" name="AutoShape 114"/>
                  <p:cNvSpPr>
                    <a:spLocks noChangeArrowheads="1"/>
                  </p:cNvSpPr>
                  <p:nvPr/>
                </p:nvSpPr>
                <p:spPr bwMode="auto">
                  <a:xfrm rot="16200000">
                    <a:off x="981519" y="5682595"/>
                    <a:ext cx="688975" cy="200025"/>
                  </a:xfrm>
                  <a:custGeom>
                    <a:avLst/>
                    <a:gdLst>
                      <a:gd name="G0" fmla="+- 2746 0 0"/>
                      <a:gd name="G1" fmla="+- 21600 0 2746"/>
                      <a:gd name="G2" fmla="*/ 2746 1 2"/>
                      <a:gd name="G3" fmla="+- 21600 0 G2"/>
                      <a:gd name="G4" fmla="+/ 2746 21600 2"/>
                      <a:gd name="G5" fmla="+/ G1 0 2"/>
                      <a:gd name="G6" fmla="*/ 21600 21600 2746"/>
                      <a:gd name="G7" fmla="*/ G6 1 2"/>
                      <a:gd name="G8" fmla="+- 21600 0 G7"/>
                      <a:gd name="G9" fmla="*/ 21600 1 2"/>
                      <a:gd name="G10" fmla="+- 2746 0 G9"/>
                      <a:gd name="G11" fmla="?: G10 G8 0"/>
                      <a:gd name="G12" fmla="?: G10 G7 21600"/>
                      <a:gd name="T0" fmla="*/ 20227 w 21600"/>
                      <a:gd name="T1" fmla="*/ 10800 h 21600"/>
                      <a:gd name="T2" fmla="*/ 10800 w 21600"/>
                      <a:gd name="T3" fmla="*/ 21600 h 21600"/>
                      <a:gd name="T4" fmla="*/ 1373 w 21600"/>
                      <a:gd name="T5" fmla="*/ 10800 h 21600"/>
                      <a:gd name="T6" fmla="*/ 10800 w 21600"/>
                      <a:gd name="T7" fmla="*/ 0 h 21600"/>
                      <a:gd name="T8" fmla="*/ 3173 w 21600"/>
                      <a:gd name="T9" fmla="*/ 3173 h 21600"/>
                      <a:gd name="T10" fmla="*/ 18427 w 21600"/>
                      <a:gd name="T11" fmla="*/ 1842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746" y="21600"/>
                        </a:lnTo>
                        <a:lnTo>
                          <a:pt x="18854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200" dirty="0"/>
                  </a:p>
                </p:txBody>
              </p:sp>
              <p:sp>
                <p:nvSpPr>
                  <p:cNvPr id="104" name="Line 115"/>
                  <p:cNvSpPr>
                    <a:spLocks noChangeShapeType="1"/>
                  </p:cNvSpPr>
                  <p:nvPr/>
                </p:nvSpPr>
                <p:spPr bwMode="auto">
                  <a:xfrm rot="10816890">
                    <a:off x="865631" y="5779433"/>
                    <a:ext cx="1387475" cy="0"/>
                  </a:xfrm>
                  <a:prstGeom prst="line">
                    <a:avLst/>
                  </a:prstGeom>
                  <a:noFill/>
                  <a:ln w="9525">
                    <a:solidFill>
                      <a:srgbClr val="000000"/>
                    </a:solidFill>
                    <a:prstDash val="lgDashDot"/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it-IT" sz="1200" dirty="0"/>
                  </a:p>
                </p:txBody>
              </p:sp>
            </p:grpSp>
            <p:sp>
              <p:nvSpPr>
                <p:cNvPr id="100" name="AutoShape 31"/>
                <p:cNvSpPr>
                  <a:spLocks noChangeArrowheads="1"/>
                </p:cNvSpPr>
                <p:nvPr/>
              </p:nvSpPr>
              <p:spPr bwMode="auto">
                <a:xfrm rot="16200000">
                  <a:off x="1146711" y="6209093"/>
                  <a:ext cx="766763" cy="744537"/>
                </a:xfrm>
                <a:prstGeom prst="leftArrow">
                  <a:avLst>
                    <a:gd name="adj1" fmla="val 59620"/>
                    <a:gd name="adj2" fmla="val 44541"/>
                  </a:avLst>
                </a:prstGeom>
                <a:gradFill rotWithShape="1">
                  <a:gsLst>
                    <a:gs pos="0">
                      <a:srgbClr val="92D050"/>
                    </a:gs>
                    <a:gs pos="100000">
                      <a:srgbClr val="33CC33">
                        <a:gamma/>
                        <a:shade val="46275"/>
                        <a:invGamma/>
                        <a:alpha val="0"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</p:spPr>
              <p:txBody>
                <a:bodyPr rot="10800000" vert="eaVert" wrap="none" anchor="ctr"/>
                <a:lstStyle/>
                <a:p>
                  <a:pPr algn="ctr" eaLnBrk="1" hangingPunct="1"/>
                  <a:endParaRPr lang="en-US" sz="1200" dirty="0">
                    <a:latin typeface="Arial Narrow" pitchFamily="34" charset="0"/>
                  </a:endParaRPr>
                </a:p>
              </p:txBody>
            </p:sp>
          </p:grpSp>
        </p:grpSp>
        <p:sp>
          <p:nvSpPr>
            <p:cNvPr id="23" name="Rettangolo 6"/>
            <p:cNvSpPr/>
            <p:nvPr/>
          </p:nvSpPr>
          <p:spPr>
            <a:xfrm>
              <a:off x="-12195358" y="665899"/>
              <a:ext cx="154342" cy="1554823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621" h="3028426">
                  <a:moveTo>
                    <a:pt x="0" y="60154"/>
                  </a:moveTo>
                  <a:cubicBezTo>
                    <a:pt x="42672" y="57106"/>
                    <a:pt x="85296" y="106648"/>
                    <a:pt x="127968" y="103600"/>
                  </a:cubicBezTo>
                  <a:lnTo>
                    <a:pt x="283139" y="0"/>
                  </a:lnTo>
                  <a:cubicBezTo>
                    <a:pt x="285782" y="195136"/>
                    <a:pt x="272026" y="86821"/>
                    <a:pt x="278376" y="313040"/>
                  </a:cubicBezTo>
                  <a:cubicBezTo>
                    <a:pt x="284726" y="539259"/>
                    <a:pt x="297426" y="589265"/>
                    <a:pt x="292664" y="732140"/>
                  </a:cubicBezTo>
                  <a:cubicBezTo>
                    <a:pt x="287902" y="875015"/>
                    <a:pt x="262503" y="1053609"/>
                    <a:pt x="259328" y="1160765"/>
                  </a:cubicBezTo>
                  <a:cubicBezTo>
                    <a:pt x="257208" y="1534494"/>
                    <a:pt x="259327" y="1236966"/>
                    <a:pt x="264089" y="1384603"/>
                  </a:cubicBezTo>
                  <a:cubicBezTo>
                    <a:pt x="268851" y="1532240"/>
                    <a:pt x="287903" y="1887840"/>
                    <a:pt x="287903" y="2046590"/>
                  </a:cubicBezTo>
                  <a:cubicBezTo>
                    <a:pt x="293459" y="2255346"/>
                    <a:pt x="273614" y="2237884"/>
                    <a:pt x="273614" y="2327578"/>
                  </a:cubicBezTo>
                  <a:cubicBezTo>
                    <a:pt x="273614" y="2417272"/>
                    <a:pt x="275203" y="2502203"/>
                    <a:pt x="268853" y="2565703"/>
                  </a:cubicBezTo>
                  <a:cubicBezTo>
                    <a:pt x="262503" y="2629203"/>
                    <a:pt x="270702" y="2726708"/>
                    <a:pt x="273615" y="2794303"/>
                  </a:cubicBezTo>
                  <a:lnTo>
                    <a:pt x="300621" y="3028426"/>
                  </a:lnTo>
                  <a:lnTo>
                    <a:pt x="6870" y="3018901"/>
                  </a:lnTo>
                  <a:lnTo>
                    <a:pt x="0" y="60154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grpSp>
          <p:nvGrpSpPr>
            <p:cNvPr id="26" name="Gruppo 25"/>
            <p:cNvGrpSpPr/>
            <p:nvPr/>
          </p:nvGrpSpPr>
          <p:grpSpPr>
            <a:xfrm>
              <a:off x="-8949376" y="682646"/>
              <a:ext cx="1453181" cy="1710921"/>
              <a:chOff x="4954196" y="1007789"/>
              <a:chExt cx="3767328" cy="4435511"/>
            </a:xfrm>
          </p:grpSpPr>
          <p:sp>
            <p:nvSpPr>
              <p:cNvPr id="31" name="Freccia curva 2"/>
              <p:cNvSpPr/>
              <p:nvPr/>
            </p:nvSpPr>
            <p:spPr>
              <a:xfrm flipV="1">
                <a:off x="5913015" y="2263204"/>
                <a:ext cx="222042" cy="2679542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33889 w 2039979"/>
                  <a:gd name="connsiteY0" fmla="*/ 2389253 h 2389253"/>
                  <a:gd name="connsiteX1" fmla="*/ 61003 w 2039979"/>
                  <a:gd name="connsiteY1" fmla="*/ 2095501 h 2389253"/>
                  <a:gd name="connsiteX2" fmla="*/ 22903 w 2039979"/>
                  <a:gd name="connsiteY2" fmla="*/ 1900238 h 2389253"/>
                  <a:gd name="connsiteX3" fmla="*/ 65766 w 2039979"/>
                  <a:gd name="connsiteY3" fmla="*/ 1319213 h 2389253"/>
                  <a:gd name="connsiteX4" fmla="*/ 13378 w 2039979"/>
                  <a:gd name="connsiteY4" fmla="*/ 952501 h 2389253"/>
                  <a:gd name="connsiteX5" fmla="*/ 551 w 2039979"/>
                  <a:gd name="connsiteY5" fmla="*/ 583866 h 2389253"/>
                  <a:gd name="connsiteX6" fmla="*/ 92699 w 2039979"/>
                  <a:gd name="connsiteY6" fmla="*/ 378976 h 2389253"/>
                  <a:gd name="connsiteX7" fmla="*/ 180067 w 2039979"/>
                  <a:gd name="connsiteY7" fmla="*/ 252413 h 2389253"/>
                  <a:gd name="connsiteX8" fmla="*/ 341992 w 2039979"/>
                  <a:gd name="connsiteY8" fmla="*/ 123826 h 2389253"/>
                  <a:gd name="connsiteX9" fmla="*/ 609745 w 2039979"/>
                  <a:gd name="connsiteY9" fmla="*/ 12772 h 2389253"/>
                  <a:gd name="connsiteX10" fmla="*/ 1327829 w 2039979"/>
                  <a:gd name="connsiteY10" fmla="*/ 33338 h 2389253"/>
                  <a:gd name="connsiteX11" fmla="*/ 1589767 w 2039979"/>
                  <a:gd name="connsiteY11" fmla="*/ 14288 h 2389253"/>
                  <a:gd name="connsiteX12" fmla="*/ 1945778 w 2039979"/>
                  <a:gd name="connsiteY12" fmla="*/ 0 h 2389253"/>
                  <a:gd name="connsiteX13" fmla="*/ 1869606 w 2039979"/>
                  <a:gd name="connsiteY13" fmla="*/ 145914 h 2389253"/>
                  <a:gd name="connsiteX14" fmla="*/ 2039979 w 2039979"/>
                  <a:gd name="connsiteY14" fmla="*/ 268939 h 2389253"/>
                  <a:gd name="connsiteX15" fmla="*/ 609745 w 2039979"/>
                  <a:gd name="connsiteY15" fmla="*/ 271213 h 2389253"/>
                  <a:gd name="connsiteX16" fmla="*/ 292329 w 2039979"/>
                  <a:gd name="connsiteY16" fmla="*/ 588629 h 2389253"/>
                  <a:gd name="connsiteX17" fmla="*/ 292330 w 2039979"/>
                  <a:gd name="connsiteY17" fmla="*/ 2389253 h 2389253"/>
                  <a:gd name="connsiteX18" fmla="*/ 33889 w 2039979"/>
                  <a:gd name="connsiteY18" fmla="*/ 2389253 h 2389253"/>
                  <a:gd name="connsiteX0" fmla="*/ 114279 w 2120369"/>
                  <a:gd name="connsiteY0" fmla="*/ 2389253 h 2389253"/>
                  <a:gd name="connsiteX1" fmla="*/ 141393 w 2120369"/>
                  <a:gd name="connsiteY1" fmla="*/ 2095501 h 2389253"/>
                  <a:gd name="connsiteX2" fmla="*/ 103293 w 2120369"/>
                  <a:gd name="connsiteY2" fmla="*/ 1900238 h 2389253"/>
                  <a:gd name="connsiteX3" fmla="*/ 146156 w 2120369"/>
                  <a:gd name="connsiteY3" fmla="*/ 1319213 h 2389253"/>
                  <a:gd name="connsiteX4" fmla="*/ 93768 w 2120369"/>
                  <a:gd name="connsiteY4" fmla="*/ 952501 h 2389253"/>
                  <a:gd name="connsiteX5" fmla="*/ 80941 w 2120369"/>
                  <a:gd name="connsiteY5" fmla="*/ 583866 h 2389253"/>
                  <a:gd name="connsiteX6" fmla="*/ 173089 w 2120369"/>
                  <a:gd name="connsiteY6" fmla="*/ 378976 h 2389253"/>
                  <a:gd name="connsiteX7" fmla="*/ 6266 w 2120369"/>
                  <a:gd name="connsiteY7" fmla="*/ 376074 h 2389253"/>
                  <a:gd name="connsiteX8" fmla="*/ 422382 w 2120369"/>
                  <a:gd name="connsiteY8" fmla="*/ 123826 h 2389253"/>
                  <a:gd name="connsiteX9" fmla="*/ 690135 w 2120369"/>
                  <a:gd name="connsiteY9" fmla="*/ 12772 h 2389253"/>
                  <a:gd name="connsiteX10" fmla="*/ 1408219 w 2120369"/>
                  <a:gd name="connsiteY10" fmla="*/ 33338 h 2389253"/>
                  <a:gd name="connsiteX11" fmla="*/ 1670157 w 2120369"/>
                  <a:gd name="connsiteY11" fmla="*/ 14288 h 2389253"/>
                  <a:gd name="connsiteX12" fmla="*/ 2026168 w 2120369"/>
                  <a:gd name="connsiteY12" fmla="*/ 0 h 2389253"/>
                  <a:gd name="connsiteX13" fmla="*/ 1949996 w 2120369"/>
                  <a:gd name="connsiteY13" fmla="*/ 145914 h 2389253"/>
                  <a:gd name="connsiteX14" fmla="*/ 2120369 w 2120369"/>
                  <a:gd name="connsiteY14" fmla="*/ 268939 h 2389253"/>
                  <a:gd name="connsiteX15" fmla="*/ 690135 w 2120369"/>
                  <a:gd name="connsiteY15" fmla="*/ 271213 h 2389253"/>
                  <a:gd name="connsiteX16" fmla="*/ 372719 w 2120369"/>
                  <a:gd name="connsiteY16" fmla="*/ 588629 h 2389253"/>
                  <a:gd name="connsiteX17" fmla="*/ 372720 w 2120369"/>
                  <a:gd name="connsiteY17" fmla="*/ 2389253 h 2389253"/>
                  <a:gd name="connsiteX18" fmla="*/ 114279 w 2120369"/>
                  <a:gd name="connsiteY18" fmla="*/ 2389253 h 2389253"/>
                  <a:gd name="connsiteX0" fmla="*/ 114998 w 2121088"/>
                  <a:gd name="connsiteY0" fmla="*/ 2389253 h 2389253"/>
                  <a:gd name="connsiteX1" fmla="*/ 142112 w 2121088"/>
                  <a:gd name="connsiteY1" fmla="*/ 2095501 h 2389253"/>
                  <a:gd name="connsiteX2" fmla="*/ 104012 w 2121088"/>
                  <a:gd name="connsiteY2" fmla="*/ 1900238 h 2389253"/>
                  <a:gd name="connsiteX3" fmla="*/ 146875 w 2121088"/>
                  <a:gd name="connsiteY3" fmla="*/ 1319213 h 2389253"/>
                  <a:gd name="connsiteX4" fmla="*/ 94487 w 2121088"/>
                  <a:gd name="connsiteY4" fmla="*/ 952501 h 2389253"/>
                  <a:gd name="connsiteX5" fmla="*/ 81660 w 2121088"/>
                  <a:gd name="connsiteY5" fmla="*/ 583866 h 2389253"/>
                  <a:gd name="connsiteX6" fmla="*/ 173808 w 2121088"/>
                  <a:gd name="connsiteY6" fmla="*/ 378976 h 2389253"/>
                  <a:gd name="connsiteX7" fmla="*/ 6985 w 2121088"/>
                  <a:gd name="connsiteY7" fmla="*/ 376074 h 2389253"/>
                  <a:gd name="connsiteX8" fmla="*/ 24639 w 2121088"/>
                  <a:gd name="connsiteY8" fmla="*/ 2377193 h 2389253"/>
                  <a:gd name="connsiteX9" fmla="*/ 690854 w 2121088"/>
                  <a:gd name="connsiteY9" fmla="*/ 12772 h 2389253"/>
                  <a:gd name="connsiteX10" fmla="*/ 1408938 w 2121088"/>
                  <a:gd name="connsiteY10" fmla="*/ 33338 h 2389253"/>
                  <a:gd name="connsiteX11" fmla="*/ 1670876 w 2121088"/>
                  <a:gd name="connsiteY11" fmla="*/ 14288 h 2389253"/>
                  <a:gd name="connsiteX12" fmla="*/ 2026887 w 2121088"/>
                  <a:gd name="connsiteY12" fmla="*/ 0 h 2389253"/>
                  <a:gd name="connsiteX13" fmla="*/ 1950715 w 2121088"/>
                  <a:gd name="connsiteY13" fmla="*/ 145914 h 2389253"/>
                  <a:gd name="connsiteX14" fmla="*/ 2121088 w 2121088"/>
                  <a:gd name="connsiteY14" fmla="*/ 268939 h 2389253"/>
                  <a:gd name="connsiteX15" fmla="*/ 690854 w 2121088"/>
                  <a:gd name="connsiteY15" fmla="*/ 271213 h 2389253"/>
                  <a:gd name="connsiteX16" fmla="*/ 373438 w 2121088"/>
                  <a:gd name="connsiteY16" fmla="*/ 588629 h 2389253"/>
                  <a:gd name="connsiteX17" fmla="*/ 373439 w 2121088"/>
                  <a:gd name="connsiteY17" fmla="*/ 2389253 h 2389253"/>
                  <a:gd name="connsiteX18" fmla="*/ 114998 w 2121088"/>
                  <a:gd name="connsiteY18" fmla="*/ 2389253 h 2389253"/>
                  <a:gd name="connsiteX0" fmla="*/ 188246 w 2194336"/>
                  <a:gd name="connsiteY0" fmla="*/ 2389253 h 2389253"/>
                  <a:gd name="connsiteX1" fmla="*/ 215360 w 2194336"/>
                  <a:gd name="connsiteY1" fmla="*/ 2095501 h 2389253"/>
                  <a:gd name="connsiteX2" fmla="*/ 177260 w 2194336"/>
                  <a:gd name="connsiteY2" fmla="*/ 1900238 h 2389253"/>
                  <a:gd name="connsiteX3" fmla="*/ 220123 w 2194336"/>
                  <a:gd name="connsiteY3" fmla="*/ 1319213 h 2389253"/>
                  <a:gd name="connsiteX4" fmla="*/ 167735 w 2194336"/>
                  <a:gd name="connsiteY4" fmla="*/ 952501 h 2389253"/>
                  <a:gd name="connsiteX5" fmla="*/ 154908 w 2194336"/>
                  <a:gd name="connsiteY5" fmla="*/ 583866 h 2389253"/>
                  <a:gd name="connsiteX6" fmla="*/ 247056 w 2194336"/>
                  <a:gd name="connsiteY6" fmla="*/ 378976 h 2389253"/>
                  <a:gd name="connsiteX7" fmla="*/ 80233 w 2194336"/>
                  <a:gd name="connsiteY7" fmla="*/ 376074 h 2389253"/>
                  <a:gd name="connsiteX8" fmla="*/ 97887 w 2194336"/>
                  <a:gd name="connsiteY8" fmla="*/ 2377193 h 2389253"/>
                  <a:gd name="connsiteX9" fmla="*/ 1482186 w 2194336"/>
                  <a:gd name="connsiteY9" fmla="*/ 33338 h 2389253"/>
                  <a:gd name="connsiteX10" fmla="*/ 1744124 w 2194336"/>
                  <a:gd name="connsiteY10" fmla="*/ 14288 h 2389253"/>
                  <a:gd name="connsiteX11" fmla="*/ 2100135 w 2194336"/>
                  <a:gd name="connsiteY11" fmla="*/ 0 h 2389253"/>
                  <a:gd name="connsiteX12" fmla="*/ 2023963 w 2194336"/>
                  <a:gd name="connsiteY12" fmla="*/ 145914 h 2389253"/>
                  <a:gd name="connsiteX13" fmla="*/ 2194336 w 2194336"/>
                  <a:gd name="connsiteY13" fmla="*/ 268939 h 2389253"/>
                  <a:gd name="connsiteX14" fmla="*/ 764102 w 2194336"/>
                  <a:gd name="connsiteY14" fmla="*/ 271213 h 2389253"/>
                  <a:gd name="connsiteX15" fmla="*/ 446686 w 2194336"/>
                  <a:gd name="connsiteY15" fmla="*/ 588629 h 2389253"/>
                  <a:gd name="connsiteX16" fmla="*/ 446687 w 2194336"/>
                  <a:gd name="connsiteY16" fmla="*/ 2389253 h 2389253"/>
                  <a:gd name="connsiteX17" fmla="*/ 188246 w 2194336"/>
                  <a:gd name="connsiteY17" fmla="*/ 2389253 h 2389253"/>
                  <a:gd name="connsiteX0" fmla="*/ 188246 w 2194336"/>
                  <a:gd name="connsiteY0" fmla="*/ 2389253 h 2389253"/>
                  <a:gd name="connsiteX1" fmla="*/ 215360 w 2194336"/>
                  <a:gd name="connsiteY1" fmla="*/ 2095501 h 2389253"/>
                  <a:gd name="connsiteX2" fmla="*/ 177260 w 2194336"/>
                  <a:gd name="connsiteY2" fmla="*/ 1900238 h 2389253"/>
                  <a:gd name="connsiteX3" fmla="*/ 220123 w 2194336"/>
                  <a:gd name="connsiteY3" fmla="*/ 1319213 h 2389253"/>
                  <a:gd name="connsiteX4" fmla="*/ 167735 w 2194336"/>
                  <a:gd name="connsiteY4" fmla="*/ 952501 h 2389253"/>
                  <a:gd name="connsiteX5" fmla="*/ 154908 w 2194336"/>
                  <a:gd name="connsiteY5" fmla="*/ 583866 h 2389253"/>
                  <a:gd name="connsiteX6" fmla="*/ 247056 w 2194336"/>
                  <a:gd name="connsiteY6" fmla="*/ 378976 h 2389253"/>
                  <a:gd name="connsiteX7" fmla="*/ 80233 w 2194336"/>
                  <a:gd name="connsiteY7" fmla="*/ 376074 h 2389253"/>
                  <a:gd name="connsiteX8" fmla="*/ 97887 w 2194336"/>
                  <a:gd name="connsiteY8" fmla="*/ 2377193 h 2389253"/>
                  <a:gd name="connsiteX9" fmla="*/ 1482186 w 2194336"/>
                  <a:gd name="connsiteY9" fmla="*/ 33338 h 2389253"/>
                  <a:gd name="connsiteX10" fmla="*/ 1744124 w 2194336"/>
                  <a:gd name="connsiteY10" fmla="*/ 14288 h 2389253"/>
                  <a:gd name="connsiteX11" fmla="*/ 2100135 w 2194336"/>
                  <a:gd name="connsiteY11" fmla="*/ 0 h 2389253"/>
                  <a:gd name="connsiteX12" fmla="*/ 2023963 w 2194336"/>
                  <a:gd name="connsiteY12" fmla="*/ 145914 h 2389253"/>
                  <a:gd name="connsiteX13" fmla="*/ 2194336 w 2194336"/>
                  <a:gd name="connsiteY13" fmla="*/ 268939 h 2389253"/>
                  <a:gd name="connsiteX14" fmla="*/ 446686 w 2194336"/>
                  <a:gd name="connsiteY14" fmla="*/ 588629 h 2389253"/>
                  <a:gd name="connsiteX15" fmla="*/ 446687 w 2194336"/>
                  <a:gd name="connsiteY15" fmla="*/ 2389253 h 2389253"/>
                  <a:gd name="connsiteX16" fmla="*/ 188246 w 2194336"/>
                  <a:gd name="connsiteY16" fmla="*/ 2389253 h 2389253"/>
                  <a:gd name="connsiteX0" fmla="*/ 188246 w 2194336"/>
                  <a:gd name="connsiteY0" fmla="*/ 2389253 h 2389253"/>
                  <a:gd name="connsiteX1" fmla="*/ 215360 w 2194336"/>
                  <a:gd name="connsiteY1" fmla="*/ 2095501 h 2389253"/>
                  <a:gd name="connsiteX2" fmla="*/ 177260 w 2194336"/>
                  <a:gd name="connsiteY2" fmla="*/ 1900238 h 2389253"/>
                  <a:gd name="connsiteX3" fmla="*/ 220123 w 2194336"/>
                  <a:gd name="connsiteY3" fmla="*/ 1319213 h 2389253"/>
                  <a:gd name="connsiteX4" fmla="*/ 167735 w 2194336"/>
                  <a:gd name="connsiteY4" fmla="*/ 952501 h 2389253"/>
                  <a:gd name="connsiteX5" fmla="*/ 154908 w 2194336"/>
                  <a:gd name="connsiteY5" fmla="*/ 583866 h 2389253"/>
                  <a:gd name="connsiteX6" fmla="*/ 247056 w 2194336"/>
                  <a:gd name="connsiteY6" fmla="*/ 378976 h 2389253"/>
                  <a:gd name="connsiteX7" fmla="*/ 80233 w 2194336"/>
                  <a:gd name="connsiteY7" fmla="*/ 376074 h 2389253"/>
                  <a:gd name="connsiteX8" fmla="*/ 97887 w 2194336"/>
                  <a:gd name="connsiteY8" fmla="*/ 2377193 h 2389253"/>
                  <a:gd name="connsiteX9" fmla="*/ 1482186 w 2194336"/>
                  <a:gd name="connsiteY9" fmla="*/ 33338 h 2389253"/>
                  <a:gd name="connsiteX10" fmla="*/ 1744124 w 2194336"/>
                  <a:gd name="connsiteY10" fmla="*/ 14288 h 2389253"/>
                  <a:gd name="connsiteX11" fmla="*/ 2100135 w 2194336"/>
                  <a:gd name="connsiteY11" fmla="*/ 0 h 2389253"/>
                  <a:gd name="connsiteX12" fmla="*/ 2023963 w 2194336"/>
                  <a:gd name="connsiteY12" fmla="*/ 145914 h 2389253"/>
                  <a:gd name="connsiteX13" fmla="*/ 2194336 w 2194336"/>
                  <a:gd name="connsiteY13" fmla="*/ 268939 h 2389253"/>
                  <a:gd name="connsiteX14" fmla="*/ 446687 w 2194336"/>
                  <a:gd name="connsiteY14" fmla="*/ 2389253 h 2389253"/>
                  <a:gd name="connsiteX15" fmla="*/ 188246 w 2194336"/>
                  <a:gd name="connsiteY15" fmla="*/ 2389253 h 2389253"/>
                  <a:gd name="connsiteX0" fmla="*/ 207614 w 2213704"/>
                  <a:gd name="connsiteY0" fmla="*/ 2389253 h 2389253"/>
                  <a:gd name="connsiteX1" fmla="*/ 234728 w 2213704"/>
                  <a:gd name="connsiteY1" fmla="*/ 2095501 h 2389253"/>
                  <a:gd name="connsiteX2" fmla="*/ 196628 w 2213704"/>
                  <a:gd name="connsiteY2" fmla="*/ 1900238 h 2389253"/>
                  <a:gd name="connsiteX3" fmla="*/ 239491 w 2213704"/>
                  <a:gd name="connsiteY3" fmla="*/ 1319213 h 2389253"/>
                  <a:gd name="connsiteX4" fmla="*/ 187103 w 2213704"/>
                  <a:gd name="connsiteY4" fmla="*/ 952501 h 2389253"/>
                  <a:gd name="connsiteX5" fmla="*/ 174276 w 2213704"/>
                  <a:gd name="connsiteY5" fmla="*/ 583866 h 2389253"/>
                  <a:gd name="connsiteX6" fmla="*/ 266424 w 2213704"/>
                  <a:gd name="connsiteY6" fmla="*/ 378976 h 2389253"/>
                  <a:gd name="connsiteX7" fmla="*/ 99601 w 2213704"/>
                  <a:gd name="connsiteY7" fmla="*/ 376074 h 2389253"/>
                  <a:gd name="connsiteX8" fmla="*/ 117255 w 2213704"/>
                  <a:gd name="connsiteY8" fmla="*/ 2377193 h 2389253"/>
                  <a:gd name="connsiteX9" fmla="*/ 1763492 w 2213704"/>
                  <a:gd name="connsiteY9" fmla="*/ 14288 h 2389253"/>
                  <a:gd name="connsiteX10" fmla="*/ 2119503 w 2213704"/>
                  <a:gd name="connsiteY10" fmla="*/ 0 h 2389253"/>
                  <a:gd name="connsiteX11" fmla="*/ 2043331 w 2213704"/>
                  <a:gd name="connsiteY11" fmla="*/ 145914 h 2389253"/>
                  <a:gd name="connsiteX12" fmla="*/ 2213704 w 2213704"/>
                  <a:gd name="connsiteY12" fmla="*/ 268939 h 2389253"/>
                  <a:gd name="connsiteX13" fmla="*/ 466055 w 2213704"/>
                  <a:gd name="connsiteY13" fmla="*/ 2389253 h 2389253"/>
                  <a:gd name="connsiteX14" fmla="*/ 207614 w 2213704"/>
                  <a:gd name="connsiteY14" fmla="*/ 2389253 h 2389253"/>
                  <a:gd name="connsiteX0" fmla="*/ 233952 w 2240042"/>
                  <a:gd name="connsiteY0" fmla="*/ 2389253 h 2389253"/>
                  <a:gd name="connsiteX1" fmla="*/ 261066 w 2240042"/>
                  <a:gd name="connsiteY1" fmla="*/ 2095501 h 2389253"/>
                  <a:gd name="connsiteX2" fmla="*/ 222966 w 2240042"/>
                  <a:gd name="connsiteY2" fmla="*/ 1900238 h 2389253"/>
                  <a:gd name="connsiteX3" fmla="*/ 265829 w 2240042"/>
                  <a:gd name="connsiteY3" fmla="*/ 1319213 h 2389253"/>
                  <a:gd name="connsiteX4" fmla="*/ 213441 w 2240042"/>
                  <a:gd name="connsiteY4" fmla="*/ 952501 h 2389253"/>
                  <a:gd name="connsiteX5" fmla="*/ 200614 w 2240042"/>
                  <a:gd name="connsiteY5" fmla="*/ 583866 h 2389253"/>
                  <a:gd name="connsiteX6" fmla="*/ 292762 w 2240042"/>
                  <a:gd name="connsiteY6" fmla="*/ 378976 h 2389253"/>
                  <a:gd name="connsiteX7" fmla="*/ 125939 w 2240042"/>
                  <a:gd name="connsiteY7" fmla="*/ 376074 h 2389253"/>
                  <a:gd name="connsiteX8" fmla="*/ 143593 w 2240042"/>
                  <a:gd name="connsiteY8" fmla="*/ 2377193 h 2389253"/>
                  <a:gd name="connsiteX9" fmla="*/ 2145841 w 2240042"/>
                  <a:gd name="connsiteY9" fmla="*/ 0 h 2389253"/>
                  <a:gd name="connsiteX10" fmla="*/ 2069669 w 2240042"/>
                  <a:gd name="connsiteY10" fmla="*/ 145914 h 2389253"/>
                  <a:gd name="connsiteX11" fmla="*/ 2240042 w 2240042"/>
                  <a:gd name="connsiteY11" fmla="*/ 268939 h 2389253"/>
                  <a:gd name="connsiteX12" fmla="*/ 492393 w 2240042"/>
                  <a:gd name="connsiteY12" fmla="*/ 2389253 h 2389253"/>
                  <a:gd name="connsiteX13" fmla="*/ 233952 w 2240042"/>
                  <a:gd name="connsiteY13" fmla="*/ 2389253 h 2389253"/>
                  <a:gd name="connsiteX0" fmla="*/ 228317 w 2234407"/>
                  <a:gd name="connsiteY0" fmla="*/ 2243339 h 2243339"/>
                  <a:gd name="connsiteX1" fmla="*/ 255431 w 2234407"/>
                  <a:gd name="connsiteY1" fmla="*/ 1949587 h 2243339"/>
                  <a:gd name="connsiteX2" fmla="*/ 217331 w 2234407"/>
                  <a:gd name="connsiteY2" fmla="*/ 1754324 h 2243339"/>
                  <a:gd name="connsiteX3" fmla="*/ 260194 w 2234407"/>
                  <a:gd name="connsiteY3" fmla="*/ 1173299 h 2243339"/>
                  <a:gd name="connsiteX4" fmla="*/ 207806 w 2234407"/>
                  <a:gd name="connsiteY4" fmla="*/ 806587 h 2243339"/>
                  <a:gd name="connsiteX5" fmla="*/ 194979 w 2234407"/>
                  <a:gd name="connsiteY5" fmla="*/ 437952 h 2243339"/>
                  <a:gd name="connsiteX6" fmla="*/ 287127 w 2234407"/>
                  <a:gd name="connsiteY6" fmla="*/ 233062 h 2243339"/>
                  <a:gd name="connsiteX7" fmla="*/ 120304 w 2234407"/>
                  <a:gd name="connsiteY7" fmla="*/ 230160 h 2243339"/>
                  <a:gd name="connsiteX8" fmla="*/ 137958 w 2234407"/>
                  <a:gd name="connsiteY8" fmla="*/ 2231279 h 2243339"/>
                  <a:gd name="connsiteX9" fmla="*/ 2064034 w 2234407"/>
                  <a:gd name="connsiteY9" fmla="*/ 0 h 2243339"/>
                  <a:gd name="connsiteX10" fmla="*/ 2234407 w 2234407"/>
                  <a:gd name="connsiteY10" fmla="*/ 123025 h 2243339"/>
                  <a:gd name="connsiteX11" fmla="*/ 486758 w 2234407"/>
                  <a:gd name="connsiteY11" fmla="*/ 2243339 h 2243339"/>
                  <a:gd name="connsiteX12" fmla="*/ 228317 w 2234407"/>
                  <a:gd name="connsiteY12" fmla="*/ 2243339 h 2243339"/>
                  <a:gd name="connsiteX0" fmla="*/ 240923 w 2247013"/>
                  <a:gd name="connsiteY0" fmla="*/ 2120316 h 2120316"/>
                  <a:gd name="connsiteX1" fmla="*/ 268037 w 2247013"/>
                  <a:gd name="connsiteY1" fmla="*/ 1826564 h 2120316"/>
                  <a:gd name="connsiteX2" fmla="*/ 229937 w 2247013"/>
                  <a:gd name="connsiteY2" fmla="*/ 1631301 h 2120316"/>
                  <a:gd name="connsiteX3" fmla="*/ 272800 w 2247013"/>
                  <a:gd name="connsiteY3" fmla="*/ 1050276 h 2120316"/>
                  <a:gd name="connsiteX4" fmla="*/ 220412 w 2247013"/>
                  <a:gd name="connsiteY4" fmla="*/ 683564 h 2120316"/>
                  <a:gd name="connsiteX5" fmla="*/ 207585 w 2247013"/>
                  <a:gd name="connsiteY5" fmla="*/ 314929 h 2120316"/>
                  <a:gd name="connsiteX6" fmla="*/ 299733 w 2247013"/>
                  <a:gd name="connsiteY6" fmla="*/ 110039 h 2120316"/>
                  <a:gd name="connsiteX7" fmla="*/ 132910 w 2247013"/>
                  <a:gd name="connsiteY7" fmla="*/ 107137 h 2120316"/>
                  <a:gd name="connsiteX8" fmla="*/ 150564 w 2247013"/>
                  <a:gd name="connsiteY8" fmla="*/ 2108256 h 2120316"/>
                  <a:gd name="connsiteX9" fmla="*/ 2247013 w 2247013"/>
                  <a:gd name="connsiteY9" fmla="*/ 2 h 2120316"/>
                  <a:gd name="connsiteX10" fmla="*/ 499364 w 2247013"/>
                  <a:gd name="connsiteY10" fmla="*/ 2120316 h 2120316"/>
                  <a:gd name="connsiteX11" fmla="*/ 240923 w 2247013"/>
                  <a:gd name="connsiteY11" fmla="*/ 2120316 h 2120316"/>
                  <a:gd name="connsiteX0" fmla="*/ 114280 w 372721"/>
                  <a:gd name="connsiteY0" fmla="*/ 2027025 h 2166819"/>
                  <a:gd name="connsiteX1" fmla="*/ 141394 w 372721"/>
                  <a:gd name="connsiteY1" fmla="*/ 1733273 h 2166819"/>
                  <a:gd name="connsiteX2" fmla="*/ 103294 w 372721"/>
                  <a:gd name="connsiteY2" fmla="*/ 1538010 h 2166819"/>
                  <a:gd name="connsiteX3" fmla="*/ 146157 w 372721"/>
                  <a:gd name="connsiteY3" fmla="*/ 956985 h 2166819"/>
                  <a:gd name="connsiteX4" fmla="*/ 93769 w 372721"/>
                  <a:gd name="connsiteY4" fmla="*/ 590273 h 2166819"/>
                  <a:gd name="connsiteX5" fmla="*/ 80942 w 372721"/>
                  <a:gd name="connsiteY5" fmla="*/ 221638 h 2166819"/>
                  <a:gd name="connsiteX6" fmla="*/ 173090 w 372721"/>
                  <a:gd name="connsiteY6" fmla="*/ 16748 h 2166819"/>
                  <a:gd name="connsiteX7" fmla="*/ 6267 w 372721"/>
                  <a:gd name="connsiteY7" fmla="*/ 13846 h 2166819"/>
                  <a:gd name="connsiteX8" fmla="*/ 23921 w 372721"/>
                  <a:gd name="connsiteY8" fmla="*/ 2014965 h 2166819"/>
                  <a:gd name="connsiteX9" fmla="*/ 372721 w 372721"/>
                  <a:gd name="connsiteY9" fmla="*/ 2027025 h 2166819"/>
                  <a:gd name="connsiteX10" fmla="*/ 114280 w 372721"/>
                  <a:gd name="connsiteY10" fmla="*/ 2027025 h 2166819"/>
                  <a:gd name="connsiteX0" fmla="*/ 114280 w 176270"/>
                  <a:gd name="connsiteY0" fmla="*/ 2027025 h 2178676"/>
                  <a:gd name="connsiteX1" fmla="*/ 141394 w 176270"/>
                  <a:gd name="connsiteY1" fmla="*/ 1733273 h 2178676"/>
                  <a:gd name="connsiteX2" fmla="*/ 103294 w 176270"/>
                  <a:gd name="connsiteY2" fmla="*/ 1538010 h 2178676"/>
                  <a:gd name="connsiteX3" fmla="*/ 146157 w 176270"/>
                  <a:gd name="connsiteY3" fmla="*/ 956985 h 2178676"/>
                  <a:gd name="connsiteX4" fmla="*/ 93769 w 176270"/>
                  <a:gd name="connsiteY4" fmla="*/ 590273 h 2178676"/>
                  <a:gd name="connsiteX5" fmla="*/ 80942 w 176270"/>
                  <a:gd name="connsiteY5" fmla="*/ 221638 h 2178676"/>
                  <a:gd name="connsiteX6" fmla="*/ 173090 w 176270"/>
                  <a:gd name="connsiteY6" fmla="*/ 16748 h 2178676"/>
                  <a:gd name="connsiteX7" fmla="*/ 6267 w 176270"/>
                  <a:gd name="connsiteY7" fmla="*/ 13846 h 2178676"/>
                  <a:gd name="connsiteX8" fmla="*/ 23921 w 176270"/>
                  <a:gd name="connsiteY8" fmla="*/ 2014965 h 2178676"/>
                  <a:gd name="connsiteX9" fmla="*/ 114280 w 176270"/>
                  <a:gd name="connsiteY9" fmla="*/ 2027025 h 2178676"/>
                  <a:gd name="connsiteX0" fmla="*/ 114280 w 176270"/>
                  <a:gd name="connsiteY0" fmla="*/ 2027025 h 2027025"/>
                  <a:gd name="connsiteX1" fmla="*/ 141394 w 176270"/>
                  <a:gd name="connsiteY1" fmla="*/ 1733273 h 2027025"/>
                  <a:gd name="connsiteX2" fmla="*/ 103294 w 176270"/>
                  <a:gd name="connsiteY2" fmla="*/ 1538010 h 2027025"/>
                  <a:gd name="connsiteX3" fmla="*/ 146157 w 176270"/>
                  <a:gd name="connsiteY3" fmla="*/ 956985 h 2027025"/>
                  <a:gd name="connsiteX4" fmla="*/ 93769 w 176270"/>
                  <a:gd name="connsiteY4" fmla="*/ 590273 h 2027025"/>
                  <a:gd name="connsiteX5" fmla="*/ 80942 w 176270"/>
                  <a:gd name="connsiteY5" fmla="*/ 221638 h 2027025"/>
                  <a:gd name="connsiteX6" fmla="*/ 173090 w 176270"/>
                  <a:gd name="connsiteY6" fmla="*/ 16748 h 2027025"/>
                  <a:gd name="connsiteX7" fmla="*/ 6267 w 176270"/>
                  <a:gd name="connsiteY7" fmla="*/ 13846 h 2027025"/>
                  <a:gd name="connsiteX8" fmla="*/ 23921 w 176270"/>
                  <a:gd name="connsiteY8" fmla="*/ 2014965 h 2027025"/>
                  <a:gd name="connsiteX9" fmla="*/ 114280 w 176270"/>
                  <a:gd name="connsiteY9" fmla="*/ 2027025 h 2027025"/>
                  <a:gd name="connsiteX0" fmla="*/ 114280 w 176270"/>
                  <a:gd name="connsiteY0" fmla="*/ 2027025 h 2027025"/>
                  <a:gd name="connsiteX1" fmla="*/ 141394 w 176270"/>
                  <a:gd name="connsiteY1" fmla="*/ 1733273 h 2027025"/>
                  <a:gd name="connsiteX2" fmla="*/ 103294 w 176270"/>
                  <a:gd name="connsiteY2" fmla="*/ 1538010 h 2027025"/>
                  <a:gd name="connsiteX3" fmla="*/ 146157 w 176270"/>
                  <a:gd name="connsiteY3" fmla="*/ 956985 h 2027025"/>
                  <a:gd name="connsiteX4" fmla="*/ 93769 w 176270"/>
                  <a:gd name="connsiteY4" fmla="*/ 590273 h 2027025"/>
                  <a:gd name="connsiteX5" fmla="*/ 80942 w 176270"/>
                  <a:gd name="connsiteY5" fmla="*/ 221638 h 2027025"/>
                  <a:gd name="connsiteX6" fmla="*/ 173090 w 176270"/>
                  <a:gd name="connsiteY6" fmla="*/ 16748 h 2027025"/>
                  <a:gd name="connsiteX7" fmla="*/ 6267 w 176270"/>
                  <a:gd name="connsiteY7" fmla="*/ 13846 h 2027025"/>
                  <a:gd name="connsiteX8" fmla="*/ 23921 w 176270"/>
                  <a:gd name="connsiteY8" fmla="*/ 2014965 h 2027025"/>
                  <a:gd name="connsiteX9" fmla="*/ 114280 w 176270"/>
                  <a:gd name="connsiteY9" fmla="*/ 2027025 h 2027025"/>
                  <a:gd name="connsiteX0" fmla="*/ 114280 w 176270"/>
                  <a:gd name="connsiteY0" fmla="*/ 2027025 h 2027025"/>
                  <a:gd name="connsiteX1" fmla="*/ 141394 w 176270"/>
                  <a:gd name="connsiteY1" fmla="*/ 1733273 h 2027025"/>
                  <a:gd name="connsiteX2" fmla="*/ 103294 w 176270"/>
                  <a:gd name="connsiteY2" fmla="*/ 1538010 h 2027025"/>
                  <a:gd name="connsiteX3" fmla="*/ 146157 w 176270"/>
                  <a:gd name="connsiteY3" fmla="*/ 956985 h 2027025"/>
                  <a:gd name="connsiteX4" fmla="*/ 93769 w 176270"/>
                  <a:gd name="connsiteY4" fmla="*/ 590273 h 2027025"/>
                  <a:gd name="connsiteX5" fmla="*/ 80942 w 176270"/>
                  <a:gd name="connsiteY5" fmla="*/ 221638 h 2027025"/>
                  <a:gd name="connsiteX6" fmla="*/ 173090 w 176270"/>
                  <a:gd name="connsiteY6" fmla="*/ 16748 h 2027025"/>
                  <a:gd name="connsiteX7" fmla="*/ 6267 w 176270"/>
                  <a:gd name="connsiteY7" fmla="*/ 13846 h 2027025"/>
                  <a:gd name="connsiteX8" fmla="*/ 8037 w 176270"/>
                  <a:gd name="connsiteY8" fmla="*/ 2026878 h 2027025"/>
                  <a:gd name="connsiteX9" fmla="*/ 114280 w 176270"/>
                  <a:gd name="connsiteY9" fmla="*/ 2027025 h 2027025"/>
                  <a:gd name="connsiteX0" fmla="*/ 108013 w 166823"/>
                  <a:gd name="connsiteY0" fmla="*/ 2162103 h 2162103"/>
                  <a:gd name="connsiteX1" fmla="*/ 135127 w 166823"/>
                  <a:gd name="connsiteY1" fmla="*/ 1868351 h 2162103"/>
                  <a:gd name="connsiteX2" fmla="*/ 97027 w 166823"/>
                  <a:gd name="connsiteY2" fmla="*/ 1673088 h 2162103"/>
                  <a:gd name="connsiteX3" fmla="*/ 139890 w 166823"/>
                  <a:gd name="connsiteY3" fmla="*/ 1092063 h 2162103"/>
                  <a:gd name="connsiteX4" fmla="*/ 87502 w 166823"/>
                  <a:gd name="connsiteY4" fmla="*/ 725351 h 2162103"/>
                  <a:gd name="connsiteX5" fmla="*/ 74675 w 166823"/>
                  <a:gd name="connsiteY5" fmla="*/ 356716 h 2162103"/>
                  <a:gd name="connsiteX6" fmla="*/ 166823 w 166823"/>
                  <a:gd name="connsiteY6" fmla="*/ 151826 h 2162103"/>
                  <a:gd name="connsiteX7" fmla="*/ 56287 w 166823"/>
                  <a:gd name="connsiteY7" fmla="*/ 150698 h 2162103"/>
                  <a:gd name="connsiteX8" fmla="*/ 0 w 166823"/>
                  <a:gd name="connsiteY8" fmla="*/ 148924 h 2162103"/>
                  <a:gd name="connsiteX9" fmla="*/ 1770 w 166823"/>
                  <a:gd name="connsiteY9" fmla="*/ 2161956 h 2162103"/>
                  <a:gd name="connsiteX10" fmla="*/ 108013 w 166823"/>
                  <a:gd name="connsiteY10" fmla="*/ 2162103 h 2162103"/>
                  <a:gd name="connsiteX0" fmla="*/ 108013 w 166823"/>
                  <a:gd name="connsiteY0" fmla="*/ 2169259 h 2169259"/>
                  <a:gd name="connsiteX1" fmla="*/ 135127 w 166823"/>
                  <a:gd name="connsiteY1" fmla="*/ 1875507 h 2169259"/>
                  <a:gd name="connsiteX2" fmla="*/ 97027 w 166823"/>
                  <a:gd name="connsiteY2" fmla="*/ 1680244 h 2169259"/>
                  <a:gd name="connsiteX3" fmla="*/ 139890 w 166823"/>
                  <a:gd name="connsiteY3" fmla="*/ 1099219 h 2169259"/>
                  <a:gd name="connsiteX4" fmla="*/ 87502 w 166823"/>
                  <a:gd name="connsiteY4" fmla="*/ 732507 h 2169259"/>
                  <a:gd name="connsiteX5" fmla="*/ 74675 w 166823"/>
                  <a:gd name="connsiteY5" fmla="*/ 363872 h 2169259"/>
                  <a:gd name="connsiteX6" fmla="*/ 166823 w 166823"/>
                  <a:gd name="connsiteY6" fmla="*/ 158982 h 2169259"/>
                  <a:gd name="connsiteX7" fmla="*/ 0 w 166823"/>
                  <a:gd name="connsiteY7" fmla="*/ 156080 h 2169259"/>
                  <a:gd name="connsiteX8" fmla="*/ 1770 w 166823"/>
                  <a:gd name="connsiteY8" fmla="*/ 2169112 h 2169259"/>
                  <a:gd name="connsiteX9" fmla="*/ 108013 w 166823"/>
                  <a:gd name="connsiteY9" fmla="*/ 2169259 h 2169259"/>
                  <a:gd name="connsiteX0" fmla="*/ 108013 w 166823"/>
                  <a:gd name="connsiteY0" fmla="*/ 2013179 h 2013179"/>
                  <a:gd name="connsiteX1" fmla="*/ 135127 w 166823"/>
                  <a:gd name="connsiteY1" fmla="*/ 1719427 h 2013179"/>
                  <a:gd name="connsiteX2" fmla="*/ 97027 w 166823"/>
                  <a:gd name="connsiteY2" fmla="*/ 1524164 h 2013179"/>
                  <a:gd name="connsiteX3" fmla="*/ 139890 w 166823"/>
                  <a:gd name="connsiteY3" fmla="*/ 943139 h 2013179"/>
                  <a:gd name="connsiteX4" fmla="*/ 87502 w 166823"/>
                  <a:gd name="connsiteY4" fmla="*/ 576427 h 2013179"/>
                  <a:gd name="connsiteX5" fmla="*/ 74675 w 166823"/>
                  <a:gd name="connsiteY5" fmla="*/ 207792 h 2013179"/>
                  <a:gd name="connsiteX6" fmla="*/ 166823 w 166823"/>
                  <a:gd name="connsiteY6" fmla="*/ 2902 h 2013179"/>
                  <a:gd name="connsiteX7" fmla="*/ 0 w 166823"/>
                  <a:gd name="connsiteY7" fmla="*/ 0 h 2013179"/>
                  <a:gd name="connsiteX8" fmla="*/ 1770 w 166823"/>
                  <a:gd name="connsiteY8" fmla="*/ 2013032 h 2013179"/>
                  <a:gd name="connsiteX9" fmla="*/ 108013 w 166823"/>
                  <a:gd name="connsiteY9" fmla="*/ 2013179 h 2013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823" h="2013179">
                    <a:moveTo>
                      <a:pt x="108013" y="2013179"/>
                    </a:moveTo>
                    <a:cubicBezTo>
                      <a:pt x="107526" y="1916849"/>
                      <a:pt x="135614" y="1815757"/>
                      <a:pt x="135127" y="1719427"/>
                    </a:cubicBezTo>
                    <a:cubicBezTo>
                      <a:pt x="135127" y="1682914"/>
                      <a:pt x="97027" y="1560677"/>
                      <a:pt x="97027" y="1524164"/>
                    </a:cubicBezTo>
                    <a:cubicBezTo>
                      <a:pt x="100202" y="1335252"/>
                      <a:pt x="136715" y="1132051"/>
                      <a:pt x="139890" y="943139"/>
                    </a:cubicBezTo>
                    <a:cubicBezTo>
                      <a:pt x="136715" y="825664"/>
                      <a:pt x="90677" y="693902"/>
                      <a:pt x="87502" y="576427"/>
                    </a:cubicBezTo>
                    <a:cubicBezTo>
                      <a:pt x="127676" y="431323"/>
                      <a:pt x="67838" y="329083"/>
                      <a:pt x="74675" y="207792"/>
                    </a:cubicBezTo>
                    <a:cubicBezTo>
                      <a:pt x="76263" y="123655"/>
                      <a:pt x="65291" y="98084"/>
                      <a:pt x="166823" y="2902"/>
                    </a:cubicBezTo>
                    <a:lnTo>
                      <a:pt x="0" y="0"/>
                    </a:lnTo>
                    <a:lnTo>
                      <a:pt x="1770" y="2013032"/>
                    </a:lnTo>
                    <a:lnTo>
                      <a:pt x="108013" y="2013179"/>
                    </a:lnTo>
                    <a:close/>
                  </a:path>
                </a:pathLst>
              </a:custGeom>
              <a:pattFill prst="wdUpDiag">
                <a:fgClr>
                  <a:srgbClr val="EE7713"/>
                </a:fgClr>
                <a:bgClr>
                  <a:srgbClr val="FFFF00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27" name="Rettangolo 6"/>
              <p:cNvSpPr/>
              <p:nvPr/>
            </p:nvSpPr>
            <p:spPr>
              <a:xfrm>
                <a:off x="5743871" y="2263204"/>
                <a:ext cx="183058" cy="2718082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  <a:gd name="connsiteX0" fmla="*/ 0 w 403981"/>
                  <a:gd name="connsiteY0" fmla="*/ 60154 h 3028426"/>
                  <a:gd name="connsiteX1" fmla="*/ 127968 w 403981"/>
                  <a:gd name="connsiteY1" fmla="*/ 103600 h 3028426"/>
                  <a:gd name="connsiteX2" fmla="*/ 283139 w 403981"/>
                  <a:gd name="connsiteY2" fmla="*/ 0 h 3028426"/>
                  <a:gd name="connsiteX3" fmla="*/ 278376 w 403981"/>
                  <a:gd name="connsiteY3" fmla="*/ 313040 h 3028426"/>
                  <a:gd name="connsiteX4" fmla="*/ 292664 w 403981"/>
                  <a:gd name="connsiteY4" fmla="*/ 732140 h 3028426"/>
                  <a:gd name="connsiteX5" fmla="*/ 259328 w 403981"/>
                  <a:gd name="connsiteY5" fmla="*/ 1160765 h 3028426"/>
                  <a:gd name="connsiteX6" fmla="*/ 264089 w 403981"/>
                  <a:gd name="connsiteY6" fmla="*/ 1384603 h 3028426"/>
                  <a:gd name="connsiteX7" fmla="*/ 287903 w 403981"/>
                  <a:gd name="connsiteY7" fmla="*/ 2046590 h 3028426"/>
                  <a:gd name="connsiteX8" fmla="*/ 273614 w 403981"/>
                  <a:gd name="connsiteY8" fmla="*/ 2327578 h 3028426"/>
                  <a:gd name="connsiteX9" fmla="*/ 268853 w 403981"/>
                  <a:gd name="connsiteY9" fmla="*/ 2565703 h 3028426"/>
                  <a:gd name="connsiteX10" fmla="*/ 273615 w 403981"/>
                  <a:gd name="connsiteY10" fmla="*/ 2794303 h 3028426"/>
                  <a:gd name="connsiteX11" fmla="*/ 300621 w 403981"/>
                  <a:gd name="connsiteY11" fmla="*/ 3028426 h 3028426"/>
                  <a:gd name="connsiteX12" fmla="*/ 403981 w 403981"/>
                  <a:gd name="connsiteY12" fmla="*/ 3018901 h 3028426"/>
                  <a:gd name="connsiteX13" fmla="*/ 0 w 403981"/>
                  <a:gd name="connsiteY13" fmla="*/ 60154 h 3028426"/>
                  <a:gd name="connsiteX0" fmla="*/ 0 w 403981"/>
                  <a:gd name="connsiteY0" fmla="*/ 60154 h 3028426"/>
                  <a:gd name="connsiteX1" fmla="*/ 127968 w 403981"/>
                  <a:gd name="connsiteY1" fmla="*/ 103600 h 3028426"/>
                  <a:gd name="connsiteX2" fmla="*/ 283139 w 403981"/>
                  <a:gd name="connsiteY2" fmla="*/ 0 h 3028426"/>
                  <a:gd name="connsiteX3" fmla="*/ 278376 w 403981"/>
                  <a:gd name="connsiteY3" fmla="*/ 313040 h 3028426"/>
                  <a:gd name="connsiteX4" fmla="*/ 272809 w 403981"/>
                  <a:gd name="connsiteY4" fmla="*/ 986291 h 3028426"/>
                  <a:gd name="connsiteX5" fmla="*/ 259328 w 403981"/>
                  <a:gd name="connsiteY5" fmla="*/ 1160765 h 3028426"/>
                  <a:gd name="connsiteX6" fmla="*/ 264089 w 403981"/>
                  <a:gd name="connsiteY6" fmla="*/ 1384603 h 3028426"/>
                  <a:gd name="connsiteX7" fmla="*/ 287903 w 403981"/>
                  <a:gd name="connsiteY7" fmla="*/ 2046590 h 3028426"/>
                  <a:gd name="connsiteX8" fmla="*/ 273614 w 403981"/>
                  <a:gd name="connsiteY8" fmla="*/ 2327578 h 3028426"/>
                  <a:gd name="connsiteX9" fmla="*/ 268853 w 403981"/>
                  <a:gd name="connsiteY9" fmla="*/ 2565703 h 3028426"/>
                  <a:gd name="connsiteX10" fmla="*/ 273615 w 403981"/>
                  <a:gd name="connsiteY10" fmla="*/ 2794303 h 3028426"/>
                  <a:gd name="connsiteX11" fmla="*/ 300621 w 403981"/>
                  <a:gd name="connsiteY11" fmla="*/ 3028426 h 3028426"/>
                  <a:gd name="connsiteX12" fmla="*/ 403981 w 403981"/>
                  <a:gd name="connsiteY12" fmla="*/ 3018901 h 3028426"/>
                  <a:gd name="connsiteX13" fmla="*/ 0 w 403981"/>
                  <a:gd name="connsiteY13" fmla="*/ 60154 h 3028426"/>
                  <a:gd name="connsiteX0" fmla="*/ 0 w 403981"/>
                  <a:gd name="connsiteY0" fmla="*/ 60154 h 3028426"/>
                  <a:gd name="connsiteX1" fmla="*/ 127968 w 403981"/>
                  <a:gd name="connsiteY1" fmla="*/ 103600 h 3028426"/>
                  <a:gd name="connsiteX2" fmla="*/ 283139 w 403981"/>
                  <a:gd name="connsiteY2" fmla="*/ 0 h 3028426"/>
                  <a:gd name="connsiteX3" fmla="*/ 272809 w 403981"/>
                  <a:gd name="connsiteY3" fmla="*/ 986291 h 3028426"/>
                  <a:gd name="connsiteX4" fmla="*/ 259328 w 403981"/>
                  <a:gd name="connsiteY4" fmla="*/ 1160765 h 3028426"/>
                  <a:gd name="connsiteX5" fmla="*/ 264089 w 403981"/>
                  <a:gd name="connsiteY5" fmla="*/ 1384603 h 3028426"/>
                  <a:gd name="connsiteX6" fmla="*/ 287903 w 403981"/>
                  <a:gd name="connsiteY6" fmla="*/ 2046590 h 3028426"/>
                  <a:gd name="connsiteX7" fmla="*/ 273614 w 403981"/>
                  <a:gd name="connsiteY7" fmla="*/ 2327578 h 3028426"/>
                  <a:gd name="connsiteX8" fmla="*/ 268853 w 403981"/>
                  <a:gd name="connsiteY8" fmla="*/ 2565703 h 3028426"/>
                  <a:gd name="connsiteX9" fmla="*/ 273615 w 403981"/>
                  <a:gd name="connsiteY9" fmla="*/ 2794303 h 3028426"/>
                  <a:gd name="connsiteX10" fmla="*/ 300621 w 403981"/>
                  <a:gd name="connsiteY10" fmla="*/ 3028426 h 3028426"/>
                  <a:gd name="connsiteX11" fmla="*/ 403981 w 403981"/>
                  <a:gd name="connsiteY11" fmla="*/ 3018901 h 3028426"/>
                  <a:gd name="connsiteX12" fmla="*/ 0 w 403981"/>
                  <a:gd name="connsiteY12" fmla="*/ 60154 h 3028426"/>
                  <a:gd name="connsiteX0" fmla="*/ 276013 w 276013"/>
                  <a:gd name="connsiteY0" fmla="*/ 3018901 h 3028426"/>
                  <a:gd name="connsiteX1" fmla="*/ 0 w 276013"/>
                  <a:gd name="connsiteY1" fmla="*/ 103600 h 3028426"/>
                  <a:gd name="connsiteX2" fmla="*/ 155171 w 276013"/>
                  <a:gd name="connsiteY2" fmla="*/ 0 h 3028426"/>
                  <a:gd name="connsiteX3" fmla="*/ 144841 w 276013"/>
                  <a:gd name="connsiteY3" fmla="*/ 986291 h 3028426"/>
                  <a:gd name="connsiteX4" fmla="*/ 131360 w 276013"/>
                  <a:gd name="connsiteY4" fmla="*/ 1160765 h 3028426"/>
                  <a:gd name="connsiteX5" fmla="*/ 136121 w 276013"/>
                  <a:gd name="connsiteY5" fmla="*/ 1384603 h 3028426"/>
                  <a:gd name="connsiteX6" fmla="*/ 159935 w 276013"/>
                  <a:gd name="connsiteY6" fmla="*/ 2046590 h 3028426"/>
                  <a:gd name="connsiteX7" fmla="*/ 145646 w 276013"/>
                  <a:gd name="connsiteY7" fmla="*/ 2327578 h 3028426"/>
                  <a:gd name="connsiteX8" fmla="*/ 140885 w 276013"/>
                  <a:gd name="connsiteY8" fmla="*/ 2565703 h 3028426"/>
                  <a:gd name="connsiteX9" fmla="*/ 145647 w 276013"/>
                  <a:gd name="connsiteY9" fmla="*/ 2794303 h 3028426"/>
                  <a:gd name="connsiteX10" fmla="*/ 172653 w 276013"/>
                  <a:gd name="connsiteY10" fmla="*/ 3028426 h 3028426"/>
                  <a:gd name="connsiteX11" fmla="*/ 276013 w 276013"/>
                  <a:gd name="connsiteY11" fmla="*/ 3018901 h 3028426"/>
                  <a:gd name="connsiteX0" fmla="*/ 280983 w 280983"/>
                  <a:gd name="connsiteY0" fmla="*/ 3018901 h 3028426"/>
                  <a:gd name="connsiteX1" fmla="*/ 0 w 280983"/>
                  <a:gd name="connsiteY1" fmla="*/ 119162 h 3028426"/>
                  <a:gd name="connsiteX2" fmla="*/ 4970 w 280983"/>
                  <a:gd name="connsiteY2" fmla="*/ 103600 h 3028426"/>
                  <a:gd name="connsiteX3" fmla="*/ 160141 w 280983"/>
                  <a:gd name="connsiteY3" fmla="*/ 0 h 3028426"/>
                  <a:gd name="connsiteX4" fmla="*/ 149811 w 280983"/>
                  <a:gd name="connsiteY4" fmla="*/ 986291 h 3028426"/>
                  <a:gd name="connsiteX5" fmla="*/ 136330 w 280983"/>
                  <a:gd name="connsiteY5" fmla="*/ 1160765 h 3028426"/>
                  <a:gd name="connsiteX6" fmla="*/ 141091 w 280983"/>
                  <a:gd name="connsiteY6" fmla="*/ 1384603 h 3028426"/>
                  <a:gd name="connsiteX7" fmla="*/ 164905 w 280983"/>
                  <a:gd name="connsiteY7" fmla="*/ 2046590 h 3028426"/>
                  <a:gd name="connsiteX8" fmla="*/ 150616 w 280983"/>
                  <a:gd name="connsiteY8" fmla="*/ 2327578 h 3028426"/>
                  <a:gd name="connsiteX9" fmla="*/ 145855 w 280983"/>
                  <a:gd name="connsiteY9" fmla="*/ 2565703 h 3028426"/>
                  <a:gd name="connsiteX10" fmla="*/ 150617 w 280983"/>
                  <a:gd name="connsiteY10" fmla="*/ 2794303 h 3028426"/>
                  <a:gd name="connsiteX11" fmla="*/ 177623 w 280983"/>
                  <a:gd name="connsiteY11" fmla="*/ 3028426 h 3028426"/>
                  <a:gd name="connsiteX12" fmla="*/ 280983 w 280983"/>
                  <a:gd name="connsiteY12" fmla="*/ 3018901 h 3028426"/>
                  <a:gd name="connsiteX0" fmla="*/ 280983 w 280983"/>
                  <a:gd name="connsiteY0" fmla="*/ 3018901 h 3028426"/>
                  <a:gd name="connsiteX1" fmla="*/ 0 w 280983"/>
                  <a:gd name="connsiteY1" fmla="*/ 119162 h 3028426"/>
                  <a:gd name="connsiteX2" fmla="*/ 160141 w 280983"/>
                  <a:gd name="connsiteY2" fmla="*/ 0 h 3028426"/>
                  <a:gd name="connsiteX3" fmla="*/ 149811 w 280983"/>
                  <a:gd name="connsiteY3" fmla="*/ 986291 h 3028426"/>
                  <a:gd name="connsiteX4" fmla="*/ 136330 w 280983"/>
                  <a:gd name="connsiteY4" fmla="*/ 1160765 h 3028426"/>
                  <a:gd name="connsiteX5" fmla="*/ 141091 w 280983"/>
                  <a:gd name="connsiteY5" fmla="*/ 1384603 h 3028426"/>
                  <a:gd name="connsiteX6" fmla="*/ 164905 w 280983"/>
                  <a:gd name="connsiteY6" fmla="*/ 2046590 h 3028426"/>
                  <a:gd name="connsiteX7" fmla="*/ 150616 w 280983"/>
                  <a:gd name="connsiteY7" fmla="*/ 2327578 h 3028426"/>
                  <a:gd name="connsiteX8" fmla="*/ 145855 w 280983"/>
                  <a:gd name="connsiteY8" fmla="*/ 2565703 h 3028426"/>
                  <a:gd name="connsiteX9" fmla="*/ 150617 w 280983"/>
                  <a:gd name="connsiteY9" fmla="*/ 2794303 h 3028426"/>
                  <a:gd name="connsiteX10" fmla="*/ 177623 w 280983"/>
                  <a:gd name="connsiteY10" fmla="*/ 3028426 h 3028426"/>
                  <a:gd name="connsiteX11" fmla="*/ 280983 w 280983"/>
                  <a:gd name="connsiteY11" fmla="*/ 3018901 h 3028426"/>
                  <a:gd name="connsiteX0" fmla="*/ 145476 w 145476"/>
                  <a:gd name="connsiteY0" fmla="*/ 3018901 h 3028426"/>
                  <a:gd name="connsiteX1" fmla="*/ 24634 w 145476"/>
                  <a:gd name="connsiteY1" fmla="*/ 0 h 3028426"/>
                  <a:gd name="connsiteX2" fmla="*/ 14304 w 145476"/>
                  <a:gd name="connsiteY2" fmla="*/ 986291 h 3028426"/>
                  <a:gd name="connsiteX3" fmla="*/ 823 w 145476"/>
                  <a:gd name="connsiteY3" fmla="*/ 1160765 h 3028426"/>
                  <a:gd name="connsiteX4" fmla="*/ 5584 w 145476"/>
                  <a:gd name="connsiteY4" fmla="*/ 1384603 h 3028426"/>
                  <a:gd name="connsiteX5" fmla="*/ 29398 w 145476"/>
                  <a:gd name="connsiteY5" fmla="*/ 2046590 h 3028426"/>
                  <a:gd name="connsiteX6" fmla="*/ 15109 w 145476"/>
                  <a:gd name="connsiteY6" fmla="*/ 2327578 h 3028426"/>
                  <a:gd name="connsiteX7" fmla="*/ 10348 w 145476"/>
                  <a:gd name="connsiteY7" fmla="*/ 2565703 h 3028426"/>
                  <a:gd name="connsiteX8" fmla="*/ 15110 w 145476"/>
                  <a:gd name="connsiteY8" fmla="*/ 2794303 h 3028426"/>
                  <a:gd name="connsiteX9" fmla="*/ 42116 w 145476"/>
                  <a:gd name="connsiteY9" fmla="*/ 3028426 h 3028426"/>
                  <a:gd name="connsiteX10" fmla="*/ 145476 w 145476"/>
                  <a:gd name="connsiteY10" fmla="*/ 3018901 h 3028426"/>
                  <a:gd name="connsiteX0" fmla="*/ 145476 w 145476"/>
                  <a:gd name="connsiteY0" fmla="*/ 2032610 h 2042135"/>
                  <a:gd name="connsiteX1" fmla="*/ 14304 w 145476"/>
                  <a:gd name="connsiteY1" fmla="*/ 0 h 2042135"/>
                  <a:gd name="connsiteX2" fmla="*/ 823 w 145476"/>
                  <a:gd name="connsiteY2" fmla="*/ 174474 h 2042135"/>
                  <a:gd name="connsiteX3" fmla="*/ 5584 w 145476"/>
                  <a:gd name="connsiteY3" fmla="*/ 398312 h 2042135"/>
                  <a:gd name="connsiteX4" fmla="*/ 29398 w 145476"/>
                  <a:gd name="connsiteY4" fmla="*/ 1060299 h 2042135"/>
                  <a:gd name="connsiteX5" fmla="*/ 15109 w 145476"/>
                  <a:gd name="connsiteY5" fmla="*/ 1341287 h 2042135"/>
                  <a:gd name="connsiteX6" fmla="*/ 10348 w 145476"/>
                  <a:gd name="connsiteY6" fmla="*/ 1579412 h 2042135"/>
                  <a:gd name="connsiteX7" fmla="*/ 15110 w 145476"/>
                  <a:gd name="connsiteY7" fmla="*/ 1808012 h 2042135"/>
                  <a:gd name="connsiteX8" fmla="*/ 42116 w 145476"/>
                  <a:gd name="connsiteY8" fmla="*/ 2042135 h 2042135"/>
                  <a:gd name="connsiteX9" fmla="*/ 145476 w 145476"/>
                  <a:gd name="connsiteY9" fmla="*/ 2032610 h 2042135"/>
                  <a:gd name="connsiteX0" fmla="*/ 145476 w 145476"/>
                  <a:gd name="connsiteY0" fmla="*/ 2032610 h 2042135"/>
                  <a:gd name="connsiteX1" fmla="*/ 130558 w 145476"/>
                  <a:gd name="connsiteY1" fmla="*/ 2544 h 2042135"/>
                  <a:gd name="connsiteX2" fmla="*/ 14304 w 145476"/>
                  <a:gd name="connsiteY2" fmla="*/ 0 h 2042135"/>
                  <a:gd name="connsiteX3" fmla="*/ 823 w 145476"/>
                  <a:gd name="connsiteY3" fmla="*/ 174474 h 2042135"/>
                  <a:gd name="connsiteX4" fmla="*/ 5584 w 145476"/>
                  <a:gd name="connsiteY4" fmla="*/ 398312 h 2042135"/>
                  <a:gd name="connsiteX5" fmla="*/ 29398 w 145476"/>
                  <a:gd name="connsiteY5" fmla="*/ 1060299 h 2042135"/>
                  <a:gd name="connsiteX6" fmla="*/ 15109 w 145476"/>
                  <a:gd name="connsiteY6" fmla="*/ 1341287 h 2042135"/>
                  <a:gd name="connsiteX7" fmla="*/ 10348 w 145476"/>
                  <a:gd name="connsiteY7" fmla="*/ 1579412 h 2042135"/>
                  <a:gd name="connsiteX8" fmla="*/ 15110 w 145476"/>
                  <a:gd name="connsiteY8" fmla="*/ 1808012 h 2042135"/>
                  <a:gd name="connsiteX9" fmla="*/ 42116 w 145476"/>
                  <a:gd name="connsiteY9" fmla="*/ 2042135 h 2042135"/>
                  <a:gd name="connsiteX10" fmla="*/ 145476 w 145476"/>
                  <a:gd name="connsiteY10" fmla="*/ 2032610 h 2042135"/>
                  <a:gd name="connsiteX0" fmla="*/ 145476 w 145476"/>
                  <a:gd name="connsiteY0" fmla="*/ 2032610 h 2042135"/>
                  <a:gd name="connsiteX1" fmla="*/ 130558 w 145476"/>
                  <a:gd name="connsiteY1" fmla="*/ 2544 h 2042135"/>
                  <a:gd name="connsiteX2" fmla="*/ 14304 w 145476"/>
                  <a:gd name="connsiteY2" fmla="*/ 0 h 2042135"/>
                  <a:gd name="connsiteX3" fmla="*/ 823 w 145476"/>
                  <a:gd name="connsiteY3" fmla="*/ 174474 h 2042135"/>
                  <a:gd name="connsiteX4" fmla="*/ 5584 w 145476"/>
                  <a:gd name="connsiteY4" fmla="*/ 398312 h 2042135"/>
                  <a:gd name="connsiteX5" fmla="*/ 29398 w 145476"/>
                  <a:gd name="connsiteY5" fmla="*/ 1060299 h 2042135"/>
                  <a:gd name="connsiteX6" fmla="*/ 15109 w 145476"/>
                  <a:gd name="connsiteY6" fmla="*/ 1341287 h 2042135"/>
                  <a:gd name="connsiteX7" fmla="*/ 10348 w 145476"/>
                  <a:gd name="connsiteY7" fmla="*/ 1579412 h 2042135"/>
                  <a:gd name="connsiteX8" fmla="*/ 15110 w 145476"/>
                  <a:gd name="connsiteY8" fmla="*/ 1808012 h 2042135"/>
                  <a:gd name="connsiteX9" fmla="*/ 42116 w 145476"/>
                  <a:gd name="connsiteY9" fmla="*/ 2042135 h 2042135"/>
                  <a:gd name="connsiteX10" fmla="*/ 145476 w 145476"/>
                  <a:gd name="connsiteY10" fmla="*/ 2032610 h 2042135"/>
                  <a:gd name="connsiteX0" fmla="*/ 137534 w 137534"/>
                  <a:gd name="connsiteY0" fmla="*/ 2040552 h 2042135"/>
                  <a:gd name="connsiteX1" fmla="*/ 130558 w 137534"/>
                  <a:gd name="connsiteY1" fmla="*/ 2544 h 2042135"/>
                  <a:gd name="connsiteX2" fmla="*/ 14304 w 137534"/>
                  <a:gd name="connsiteY2" fmla="*/ 0 h 2042135"/>
                  <a:gd name="connsiteX3" fmla="*/ 823 w 137534"/>
                  <a:gd name="connsiteY3" fmla="*/ 174474 h 2042135"/>
                  <a:gd name="connsiteX4" fmla="*/ 5584 w 137534"/>
                  <a:gd name="connsiteY4" fmla="*/ 398312 h 2042135"/>
                  <a:gd name="connsiteX5" fmla="*/ 29398 w 137534"/>
                  <a:gd name="connsiteY5" fmla="*/ 1060299 h 2042135"/>
                  <a:gd name="connsiteX6" fmla="*/ 15109 w 137534"/>
                  <a:gd name="connsiteY6" fmla="*/ 1341287 h 2042135"/>
                  <a:gd name="connsiteX7" fmla="*/ 10348 w 137534"/>
                  <a:gd name="connsiteY7" fmla="*/ 1579412 h 2042135"/>
                  <a:gd name="connsiteX8" fmla="*/ 15110 w 137534"/>
                  <a:gd name="connsiteY8" fmla="*/ 1808012 h 2042135"/>
                  <a:gd name="connsiteX9" fmla="*/ 42116 w 137534"/>
                  <a:gd name="connsiteY9" fmla="*/ 2042135 h 2042135"/>
                  <a:gd name="connsiteX10" fmla="*/ 137534 w 137534"/>
                  <a:gd name="connsiteY10" fmla="*/ 2040552 h 204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7534" h="2042135">
                    <a:moveTo>
                      <a:pt x="137534" y="2040552"/>
                    </a:moveTo>
                    <a:cubicBezTo>
                      <a:pt x="135209" y="1361216"/>
                      <a:pt x="132883" y="681880"/>
                      <a:pt x="130558" y="2544"/>
                    </a:cubicBezTo>
                    <a:lnTo>
                      <a:pt x="14304" y="0"/>
                    </a:lnTo>
                    <a:cubicBezTo>
                      <a:pt x="9542" y="142875"/>
                      <a:pt x="3998" y="67318"/>
                      <a:pt x="823" y="174474"/>
                    </a:cubicBezTo>
                    <a:cubicBezTo>
                      <a:pt x="-1297" y="548203"/>
                      <a:pt x="822" y="250675"/>
                      <a:pt x="5584" y="398312"/>
                    </a:cubicBezTo>
                    <a:cubicBezTo>
                      <a:pt x="10346" y="545949"/>
                      <a:pt x="29398" y="901549"/>
                      <a:pt x="29398" y="1060299"/>
                    </a:cubicBezTo>
                    <a:cubicBezTo>
                      <a:pt x="34954" y="1269055"/>
                      <a:pt x="15109" y="1251593"/>
                      <a:pt x="15109" y="1341287"/>
                    </a:cubicBezTo>
                    <a:cubicBezTo>
                      <a:pt x="15109" y="1430981"/>
                      <a:pt x="16698" y="1515912"/>
                      <a:pt x="10348" y="1579412"/>
                    </a:cubicBezTo>
                    <a:cubicBezTo>
                      <a:pt x="3998" y="1642912"/>
                      <a:pt x="12197" y="1740417"/>
                      <a:pt x="15110" y="1808012"/>
                    </a:cubicBezTo>
                    <a:lnTo>
                      <a:pt x="42116" y="2042135"/>
                    </a:lnTo>
                    <a:lnTo>
                      <a:pt x="137534" y="2040552"/>
                    </a:lnTo>
                    <a:close/>
                  </a:path>
                </a:pathLst>
              </a:custGeom>
              <a:pattFill prst="wdDnDiag">
                <a:fgClr>
                  <a:srgbClr val="FFFF00"/>
                </a:fgClr>
                <a:bgClr>
                  <a:srgbClr val="EE7713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grpSp>
            <p:nvGrpSpPr>
              <p:cNvPr id="30" name="Gruppo 29"/>
              <p:cNvGrpSpPr/>
              <p:nvPr/>
            </p:nvGrpSpPr>
            <p:grpSpPr>
              <a:xfrm>
                <a:off x="5444417" y="1007789"/>
                <a:ext cx="3277107" cy="4435511"/>
                <a:chOff x="5674120" y="1790653"/>
                <a:chExt cx="2462139" cy="3332465"/>
              </a:xfrm>
            </p:grpSpPr>
            <p:sp>
              <p:nvSpPr>
                <p:cNvPr id="40" name="Freccia curva 2"/>
                <p:cNvSpPr/>
                <p:nvPr/>
              </p:nvSpPr>
              <p:spPr>
                <a:xfrm flipV="1">
                  <a:off x="6084815" y="2733865"/>
                  <a:ext cx="2051444" cy="2389253"/>
                </a:xfrm>
                <a:custGeom>
                  <a:avLst/>
                  <a:gdLst>
                    <a:gd name="connsiteX0" fmla="*/ 0 w 4432678"/>
                    <a:gd name="connsiteY0" fmla="*/ 2651760 h 2651760"/>
                    <a:gd name="connsiteX1" fmla="*/ 0 w 4432678"/>
                    <a:gd name="connsiteY1" fmla="*/ 851135 h 2651760"/>
                    <a:gd name="connsiteX2" fmla="*/ 575856 w 4432678"/>
                    <a:gd name="connsiteY2" fmla="*/ 275279 h 2651760"/>
                    <a:gd name="connsiteX3" fmla="*/ 4432678 w 4432678"/>
                    <a:gd name="connsiteY3" fmla="*/ 275279 h 2651760"/>
                    <a:gd name="connsiteX4" fmla="*/ 4432678 w 4432678"/>
                    <a:gd name="connsiteY4" fmla="*/ 0 h 2651760"/>
                    <a:gd name="connsiteX5" fmla="*/ 4432678 w 4432678"/>
                    <a:gd name="connsiteY5" fmla="*/ 404499 h 2651760"/>
                    <a:gd name="connsiteX6" fmla="*/ 4432678 w 4432678"/>
                    <a:gd name="connsiteY6" fmla="*/ 808999 h 2651760"/>
                    <a:gd name="connsiteX7" fmla="*/ 4432678 w 4432678"/>
                    <a:gd name="connsiteY7" fmla="*/ 533720 h 2651760"/>
                    <a:gd name="connsiteX8" fmla="*/ 575856 w 4432678"/>
                    <a:gd name="connsiteY8" fmla="*/ 533720 h 2651760"/>
                    <a:gd name="connsiteX9" fmla="*/ 258440 w 4432678"/>
                    <a:gd name="connsiteY9" fmla="*/ 851136 h 2651760"/>
                    <a:gd name="connsiteX10" fmla="*/ 258441 w 4432678"/>
                    <a:gd name="connsiteY10" fmla="*/ 2651760 h 2651760"/>
                    <a:gd name="connsiteX11" fmla="*/ 0 w 4432678"/>
                    <a:gd name="connsiteY11" fmla="*/ 2651760 h 2651760"/>
                    <a:gd name="connsiteX0" fmla="*/ 0 w 4432678"/>
                    <a:gd name="connsiteY0" fmla="*/ 2651760 h 2651760"/>
                    <a:gd name="connsiteX1" fmla="*/ 0 w 4432678"/>
                    <a:gd name="connsiteY1" fmla="*/ 851135 h 2651760"/>
                    <a:gd name="connsiteX2" fmla="*/ 575856 w 4432678"/>
                    <a:gd name="connsiteY2" fmla="*/ 275279 h 2651760"/>
                    <a:gd name="connsiteX3" fmla="*/ 4432678 w 4432678"/>
                    <a:gd name="connsiteY3" fmla="*/ 275279 h 2651760"/>
                    <a:gd name="connsiteX4" fmla="*/ 4432678 w 4432678"/>
                    <a:gd name="connsiteY4" fmla="*/ 0 h 2651760"/>
                    <a:gd name="connsiteX5" fmla="*/ 4432678 w 4432678"/>
                    <a:gd name="connsiteY5" fmla="*/ 808999 h 2651760"/>
                    <a:gd name="connsiteX6" fmla="*/ 4432678 w 4432678"/>
                    <a:gd name="connsiteY6" fmla="*/ 533720 h 2651760"/>
                    <a:gd name="connsiteX7" fmla="*/ 575856 w 4432678"/>
                    <a:gd name="connsiteY7" fmla="*/ 533720 h 2651760"/>
                    <a:gd name="connsiteX8" fmla="*/ 258440 w 4432678"/>
                    <a:gd name="connsiteY8" fmla="*/ 851136 h 2651760"/>
                    <a:gd name="connsiteX9" fmla="*/ 258441 w 4432678"/>
                    <a:gd name="connsiteY9" fmla="*/ 2651760 h 2651760"/>
                    <a:gd name="connsiteX10" fmla="*/ 0 w 4432678"/>
                    <a:gd name="connsiteY10" fmla="*/ 2651760 h 2651760"/>
                    <a:gd name="connsiteX0" fmla="*/ 0 w 4432678"/>
                    <a:gd name="connsiteY0" fmla="*/ 2651760 h 2651760"/>
                    <a:gd name="connsiteX1" fmla="*/ 0 w 4432678"/>
                    <a:gd name="connsiteY1" fmla="*/ 851135 h 2651760"/>
                    <a:gd name="connsiteX2" fmla="*/ 575856 w 4432678"/>
                    <a:gd name="connsiteY2" fmla="*/ 275279 h 2651760"/>
                    <a:gd name="connsiteX3" fmla="*/ 4432678 w 4432678"/>
                    <a:gd name="connsiteY3" fmla="*/ 275279 h 2651760"/>
                    <a:gd name="connsiteX4" fmla="*/ 4432678 w 4432678"/>
                    <a:gd name="connsiteY4" fmla="*/ 0 h 2651760"/>
                    <a:gd name="connsiteX5" fmla="*/ 4432678 w 4432678"/>
                    <a:gd name="connsiteY5" fmla="*/ 533720 h 2651760"/>
                    <a:gd name="connsiteX6" fmla="*/ 575856 w 4432678"/>
                    <a:gd name="connsiteY6" fmla="*/ 533720 h 2651760"/>
                    <a:gd name="connsiteX7" fmla="*/ 258440 w 4432678"/>
                    <a:gd name="connsiteY7" fmla="*/ 851136 h 2651760"/>
                    <a:gd name="connsiteX8" fmla="*/ 258441 w 4432678"/>
                    <a:gd name="connsiteY8" fmla="*/ 2651760 h 2651760"/>
                    <a:gd name="connsiteX9" fmla="*/ 0 w 4432678"/>
                    <a:gd name="connsiteY9" fmla="*/ 2651760 h 2651760"/>
                    <a:gd name="connsiteX0" fmla="*/ 0 w 4432678"/>
                    <a:gd name="connsiteY0" fmla="*/ 2376481 h 2376481"/>
                    <a:gd name="connsiteX1" fmla="*/ 0 w 4432678"/>
                    <a:gd name="connsiteY1" fmla="*/ 575856 h 2376481"/>
                    <a:gd name="connsiteX2" fmla="*/ 575856 w 4432678"/>
                    <a:gd name="connsiteY2" fmla="*/ 0 h 2376481"/>
                    <a:gd name="connsiteX3" fmla="*/ 4432678 w 4432678"/>
                    <a:gd name="connsiteY3" fmla="*/ 0 h 2376481"/>
                    <a:gd name="connsiteX4" fmla="*/ 4432678 w 4432678"/>
                    <a:gd name="connsiteY4" fmla="*/ 258441 h 2376481"/>
                    <a:gd name="connsiteX5" fmla="*/ 575856 w 4432678"/>
                    <a:gd name="connsiteY5" fmla="*/ 258441 h 2376481"/>
                    <a:gd name="connsiteX6" fmla="*/ 258440 w 4432678"/>
                    <a:gd name="connsiteY6" fmla="*/ 575857 h 2376481"/>
                    <a:gd name="connsiteX7" fmla="*/ 258441 w 4432678"/>
                    <a:gd name="connsiteY7" fmla="*/ 2376481 h 2376481"/>
                    <a:gd name="connsiteX8" fmla="*/ 0 w 4432678"/>
                    <a:gd name="connsiteY8" fmla="*/ 2376481 h 2376481"/>
                    <a:gd name="connsiteX0" fmla="*/ 0 w 4432703"/>
                    <a:gd name="connsiteY0" fmla="*/ 2376481 h 2376481"/>
                    <a:gd name="connsiteX1" fmla="*/ 0 w 4432703"/>
                    <a:gd name="connsiteY1" fmla="*/ 575856 h 2376481"/>
                    <a:gd name="connsiteX2" fmla="*/ 575856 w 4432703"/>
                    <a:gd name="connsiteY2" fmla="*/ 0 h 2376481"/>
                    <a:gd name="connsiteX3" fmla="*/ 4432678 w 4432703"/>
                    <a:gd name="connsiteY3" fmla="*/ 0 h 2376481"/>
                    <a:gd name="connsiteX4" fmla="*/ 4390707 w 4432703"/>
                    <a:gd name="connsiteY4" fmla="*/ 154488 h 2376481"/>
                    <a:gd name="connsiteX5" fmla="*/ 4432678 w 4432703"/>
                    <a:gd name="connsiteY5" fmla="*/ 258441 h 2376481"/>
                    <a:gd name="connsiteX6" fmla="*/ 575856 w 4432703"/>
                    <a:gd name="connsiteY6" fmla="*/ 258441 h 2376481"/>
                    <a:gd name="connsiteX7" fmla="*/ 258440 w 4432703"/>
                    <a:gd name="connsiteY7" fmla="*/ 575857 h 2376481"/>
                    <a:gd name="connsiteX8" fmla="*/ 258441 w 4432703"/>
                    <a:gd name="connsiteY8" fmla="*/ 2376481 h 2376481"/>
                    <a:gd name="connsiteX9" fmla="*/ 0 w 4432703"/>
                    <a:gd name="connsiteY9" fmla="*/ 2376481 h 2376481"/>
                    <a:gd name="connsiteX0" fmla="*/ 0 w 4432678"/>
                    <a:gd name="connsiteY0" fmla="*/ 2376481 h 2376481"/>
                    <a:gd name="connsiteX1" fmla="*/ 0 w 4432678"/>
                    <a:gd name="connsiteY1" fmla="*/ 575856 h 2376481"/>
                    <a:gd name="connsiteX2" fmla="*/ 575856 w 4432678"/>
                    <a:gd name="connsiteY2" fmla="*/ 0 h 2376481"/>
                    <a:gd name="connsiteX3" fmla="*/ 2567302 w 4432678"/>
                    <a:gd name="connsiteY3" fmla="*/ 0 h 2376481"/>
                    <a:gd name="connsiteX4" fmla="*/ 4390707 w 4432678"/>
                    <a:gd name="connsiteY4" fmla="*/ 154488 h 2376481"/>
                    <a:gd name="connsiteX5" fmla="*/ 4432678 w 4432678"/>
                    <a:gd name="connsiteY5" fmla="*/ 258441 h 2376481"/>
                    <a:gd name="connsiteX6" fmla="*/ 575856 w 4432678"/>
                    <a:gd name="connsiteY6" fmla="*/ 258441 h 2376481"/>
                    <a:gd name="connsiteX7" fmla="*/ 258440 w 4432678"/>
                    <a:gd name="connsiteY7" fmla="*/ 575857 h 2376481"/>
                    <a:gd name="connsiteX8" fmla="*/ 258441 w 4432678"/>
                    <a:gd name="connsiteY8" fmla="*/ 2376481 h 2376481"/>
                    <a:gd name="connsiteX9" fmla="*/ 0 w 4432678"/>
                    <a:gd name="connsiteY9" fmla="*/ 2376481 h 2376481"/>
                    <a:gd name="connsiteX0" fmla="*/ 0 w 4432678"/>
                    <a:gd name="connsiteY0" fmla="*/ 2376481 h 2376481"/>
                    <a:gd name="connsiteX1" fmla="*/ 0 w 4432678"/>
                    <a:gd name="connsiteY1" fmla="*/ 575856 h 2376481"/>
                    <a:gd name="connsiteX2" fmla="*/ 575856 w 4432678"/>
                    <a:gd name="connsiteY2" fmla="*/ 0 h 2376481"/>
                    <a:gd name="connsiteX3" fmla="*/ 2567302 w 4432678"/>
                    <a:gd name="connsiteY3" fmla="*/ 0 h 2376481"/>
                    <a:gd name="connsiteX4" fmla="*/ 2561907 w 4432678"/>
                    <a:gd name="connsiteY4" fmla="*/ 154488 h 2376481"/>
                    <a:gd name="connsiteX5" fmla="*/ 4432678 w 4432678"/>
                    <a:gd name="connsiteY5" fmla="*/ 258441 h 2376481"/>
                    <a:gd name="connsiteX6" fmla="*/ 575856 w 4432678"/>
                    <a:gd name="connsiteY6" fmla="*/ 258441 h 2376481"/>
                    <a:gd name="connsiteX7" fmla="*/ 258440 w 4432678"/>
                    <a:gd name="connsiteY7" fmla="*/ 575857 h 2376481"/>
                    <a:gd name="connsiteX8" fmla="*/ 258441 w 4432678"/>
                    <a:gd name="connsiteY8" fmla="*/ 2376481 h 2376481"/>
                    <a:gd name="connsiteX9" fmla="*/ 0 w 4432678"/>
                    <a:gd name="connsiteY9" fmla="*/ 2376481 h 2376481"/>
                    <a:gd name="connsiteX0" fmla="*/ 0 w 2658742"/>
                    <a:gd name="connsiteY0" fmla="*/ 2376481 h 2376481"/>
                    <a:gd name="connsiteX1" fmla="*/ 0 w 2658742"/>
                    <a:gd name="connsiteY1" fmla="*/ 575856 h 2376481"/>
                    <a:gd name="connsiteX2" fmla="*/ 575856 w 2658742"/>
                    <a:gd name="connsiteY2" fmla="*/ 0 h 2376481"/>
                    <a:gd name="connsiteX3" fmla="*/ 2567302 w 2658742"/>
                    <a:gd name="connsiteY3" fmla="*/ 0 h 2376481"/>
                    <a:gd name="connsiteX4" fmla="*/ 2561907 w 2658742"/>
                    <a:gd name="connsiteY4" fmla="*/ 154488 h 2376481"/>
                    <a:gd name="connsiteX5" fmla="*/ 2658742 w 2658742"/>
                    <a:gd name="connsiteY5" fmla="*/ 249297 h 2376481"/>
                    <a:gd name="connsiteX6" fmla="*/ 575856 w 2658742"/>
                    <a:gd name="connsiteY6" fmla="*/ 258441 h 2376481"/>
                    <a:gd name="connsiteX7" fmla="*/ 258440 w 2658742"/>
                    <a:gd name="connsiteY7" fmla="*/ 575857 h 2376481"/>
                    <a:gd name="connsiteX8" fmla="*/ 258441 w 2658742"/>
                    <a:gd name="connsiteY8" fmla="*/ 2376481 h 2376481"/>
                    <a:gd name="connsiteX9" fmla="*/ 0 w 2658742"/>
                    <a:gd name="connsiteY9" fmla="*/ 2376481 h 2376481"/>
                    <a:gd name="connsiteX0" fmla="*/ 6 w 2658748"/>
                    <a:gd name="connsiteY0" fmla="*/ 2376481 h 2376481"/>
                    <a:gd name="connsiteX1" fmla="*/ 27120 w 2658748"/>
                    <a:gd name="connsiteY1" fmla="*/ 2082729 h 2376481"/>
                    <a:gd name="connsiteX2" fmla="*/ 6 w 2658748"/>
                    <a:gd name="connsiteY2" fmla="*/ 575856 h 2376481"/>
                    <a:gd name="connsiteX3" fmla="*/ 575862 w 2658748"/>
                    <a:gd name="connsiteY3" fmla="*/ 0 h 2376481"/>
                    <a:gd name="connsiteX4" fmla="*/ 2567308 w 2658748"/>
                    <a:gd name="connsiteY4" fmla="*/ 0 h 2376481"/>
                    <a:gd name="connsiteX5" fmla="*/ 2561913 w 2658748"/>
                    <a:gd name="connsiteY5" fmla="*/ 154488 h 2376481"/>
                    <a:gd name="connsiteX6" fmla="*/ 2658748 w 2658748"/>
                    <a:gd name="connsiteY6" fmla="*/ 249297 h 2376481"/>
                    <a:gd name="connsiteX7" fmla="*/ 575862 w 2658748"/>
                    <a:gd name="connsiteY7" fmla="*/ 258441 h 2376481"/>
                    <a:gd name="connsiteX8" fmla="*/ 258446 w 2658748"/>
                    <a:gd name="connsiteY8" fmla="*/ 575857 h 2376481"/>
                    <a:gd name="connsiteX9" fmla="*/ 258447 w 2658748"/>
                    <a:gd name="connsiteY9" fmla="*/ 2376481 h 2376481"/>
                    <a:gd name="connsiteX10" fmla="*/ 6 w 2658748"/>
                    <a:gd name="connsiteY10" fmla="*/ 2376481 h 2376481"/>
                    <a:gd name="connsiteX0" fmla="*/ 10986 w 2669728"/>
                    <a:gd name="connsiteY0" fmla="*/ 2376481 h 2376481"/>
                    <a:gd name="connsiteX1" fmla="*/ 38100 w 2669728"/>
                    <a:gd name="connsiteY1" fmla="*/ 2082729 h 2376481"/>
                    <a:gd name="connsiteX2" fmla="*/ 0 w 2669728"/>
                    <a:gd name="connsiteY2" fmla="*/ 1887466 h 2376481"/>
                    <a:gd name="connsiteX3" fmla="*/ 10986 w 2669728"/>
                    <a:gd name="connsiteY3" fmla="*/ 575856 h 2376481"/>
                    <a:gd name="connsiteX4" fmla="*/ 586842 w 2669728"/>
                    <a:gd name="connsiteY4" fmla="*/ 0 h 2376481"/>
                    <a:gd name="connsiteX5" fmla="*/ 2578288 w 2669728"/>
                    <a:gd name="connsiteY5" fmla="*/ 0 h 2376481"/>
                    <a:gd name="connsiteX6" fmla="*/ 2572893 w 2669728"/>
                    <a:gd name="connsiteY6" fmla="*/ 154488 h 2376481"/>
                    <a:gd name="connsiteX7" fmla="*/ 2669728 w 2669728"/>
                    <a:gd name="connsiteY7" fmla="*/ 249297 h 2376481"/>
                    <a:gd name="connsiteX8" fmla="*/ 586842 w 2669728"/>
                    <a:gd name="connsiteY8" fmla="*/ 258441 h 2376481"/>
                    <a:gd name="connsiteX9" fmla="*/ 269426 w 2669728"/>
                    <a:gd name="connsiteY9" fmla="*/ 575857 h 2376481"/>
                    <a:gd name="connsiteX10" fmla="*/ 269427 w 2669728"/>
                    <a:gd name="connsiteY10" fmla="*/ 2376481 h 2376481"/>
                    <a:gd name="connsiteX11" fmla="*/ 10986 w 2669728"/>
                    <a:gd name="connsiteY11" fmla="*/ 2376481 h 2376481"/>
                    <a:gd name="connsiteX0" fmla="*/ 10986 w 2669728"/>
                    <a:gd name="connsiteY0" fmla="*/ 2376481 h 2376481"/>
                    <a:gd name="connsiteX1" fmla="*/ 38100 w 2669728"/>
                    <a:gd name="connsiteY1" fmla="*/ 2082729 h 2376481"/>
                    <a:gd name="connsiteX2" fmla="*/ 0 w 2669728"/>
                    <a:gd name="connsiteY2" fmla="*/ 1887466 h 2376481"/>
                    <a:gd name="connsiteX3" fmla="*/ 42863 w 2669728"/>
                    <a:gd name="connsiteY3" fmla="*/ 1306441 h 2376481"/>
                    <a:gd name="connsiteX4" fmla="*/ 10986 w 2669728"/>
                    <a:gd name="connsiteY4" fmla="*/ 575856 h 2376481"/>
                    <a:gd name="connsiteX5" fmla="*/ 586842 w 2669728"/>
                    <a:gd name="connsiteY5" fmla="*/ 0 h 2376481"/>
                    <a:gd name="connsiteX6" fmla="*/ 2578288 w 2669728"/>
                    <a:gd name="connsiteY6" fmla="*/ 0 h 2376481"/>
                    <a:gd name="connsiteX7" fmla="*/ 2572893 w 2669728"/>
                    <a:gd name="connsiteY7" fmla="*/ 154488 h 2376481"/>
                    <a:gd name="connsiteX8" fmla="*/ 2669728 w 2669728"/>
                    <a:gd name="connsiteY8" fmla="*/ 249297 h 2376481"/>
                    <a:gd name="connsiteX9" fmla="*/ 586842 w 2669728"/>
                    <a:gd name="connsiteY9" fmla="*/ 258441 h 2376481"/>
                    <a:gd name="connsiteX10" fmla="*/ 269426 w 2669728"/>
                    <a:gd name="connsiteY10" fmla="*/ 575857 h 2376481"/>
                    <a:gd name="connsiteX11" fmla="*/ 269427 w 2669728"/>
                    <a:gd name="connsiteY11" fmla="*/ 2376481 h 2376481"/>
                    <a:gd name="connsiteX12" fmla="*/ 10986 w 2669728"/>
                    <a:gd name="connsiteY12" fmla="*/ 2376481 h 2376481"/>
                    <a:gd name="connsiteX0" fmla="*/ 20511 w 2679253"/>
                    <a:gd name="connsiteY0" fmla="*/ 2376481 h 2376481"/>
                    <a:gd name="connsiteX1" fmla="*/ 47625 w 2679253"/>
                    <a:gd name="connsiteY1" fmla="*/ 2082729 h 2376481"/>
                    <a:gd name="connsiteX2" fmla="*/ 9525 w 2679253"/>
                    <a:gd name="connsiteY2" fmla="*/ 1887466 h 2376481"/>
                    <a:gd name="connsiteX3" fmla="*/ 52388 w 2679253"/>
                    <a:gd name="connsiteY3" fmla="*/ 1306441 h 2376481"/>
                    <a:gd name="connsiteX4" fmla="*/ 0 w 2679253"/>
                    <a:gd name="connsiteY4" fmla="*/ 939729 h 2376481"/>
                    <a:gd name="connsiteX5" fmla="*/ 20511 w 2679253"/>
                    <a:gd name="connsiteY5" fmla="*/ 575856 h 2376481"/>
                    <a:gd name="connsiteX6" fmla="*/ 596367 w 2679253"/>
                    <a:gd name="connsiteY6" fmla="*/ 0 h 2376481"/>
                    <a:gd name="connsiteX7" fmla="*/ 2587813 w 2679253"/>
                    <a:gd name="connsiteY7" fmla="*/ 0 h 2376481"/>
                    <a:gd name="connsiteX8" fmla="*/ 2582418 w 2679253"/>
                    <a:gd name="connsiteY8" fmla="*/ 154488 h 2376481"/>
                    <a:gd name="connsiteX9" fmla="*/ 2679253 w 2679253"/>
                    <a:gd name="connsiteY9" fmla="*/ 249297 h 2376481"/>
                    <a:gd name="connsiteX10" fmla="*/ 596367 w 2679253"/>
                    <a:gd name="connsiteY10" fmla="*/ 258441 h 2376481"/>
                    <a:gd name="connsiteX11" fmla="*/ 278951 w 2679253"/>
                    <a:gd name="connsiteY11" fmla="*/ 575857 h 2376481"/>
                    <a:gd name="connsiteX12" fmla="*/ 278952 w 2679253"/>
                    <a:gd name="connsiteY12" fmla="*/ 2376481 h 2376481"/>
                    <a:gd name="connsiteX13" fmla="*/ 20511 w 2679253"/>
                    <a:gd name="connsiteY13" fmla="*/ 2376481 h 2376481"/>
                    <a:gd name="connsiteX0" fmla="*/ 20511 w 2679253"/>
                    <a:gd name="connsiteY0" fmla="*/ 2376481 h 2376481"/>
                    <a:gd name="connsiteX1" fmla="*/ 47625 w 2679253"/>
                    <a:gd name="connsiteY1" fmla="*/ 2082729 h 2376481"/>
                    <a:gd name="connsiteX2" fmla="*/ 9525 w 2679253"/>
                    <a:gd name="connsiteY2" fmla="*/ 1887466 h 2376481"/>
                    <a:gd name="connsiteX3" fmla="*/ 52388 w 2679253"/>
                    <a:gd name="connsiteY3" fmla="*/ 1306441 h 2376481"/>
                    <a:gd name="connsiteX4" fmla="*/ 0 w 2679253"/>
                    <a:gd name="connsiteY4" fmla="*/ 939729 h 2376481"/>
                    <a:gd name="connsiteX5" fmla="*/ 20511 w 2679253"/>
                    <a:gd name="connsiteY5" fmla="*/ 575856 h 2376481"/>
                    <a:gd name="connsiteX6" fmla="*/ 596367 w 2679253"/>
                    <a:gd name="connsiteY6" fmla="*/ 0 h 2376481"/>
                    <a:gd name="connsiteX7" fmla="*/ 2587813 w 2679253"/>
                    <a:gd name="connsiteY7" fmla="*/ 0 h 2376481"/>
                    <a:gd name="connsiteX8" fmla="*/ 2582418 w 2679253"/>
                    <a:gd name="connsiteY8" fmla="*/ 154488 h 2376481"/>
                    <a:gd name="connsiteX9" fmla="*/ 2679253 w 2679253"/>
                    <a:gd name="connsiteY9" fmla="*/ 249297 h 2376481"/>
                    <a:gd name="connsiteX10" fmla="*/ 596367 w 2679253"/>
                    <a:gd name="connsiteY10" fmla="*/ 258441 h 2376481"/>
                    <a:gd name="connsiteX11" fmla="*/ 278951 w 2679253"/>
                    <a:gd name="connsiteY11" fmla="*/ 575857 h 2376481"/>
                    <a:gd name="connsiteX12" fmla="*/ 278952 w 2679253"/>
                    <a:gd name="connsiteY12" fmla="*/ 2376481 h 2376481"/>
                    <a:gd name="connsiteX13" fmla="*/ 20511 w 2679253"/>
                    <a:gd name="connsiteY13" fmla="*/ 2376481 h 2376481"/>
                    <a:gd name="connsiteX0" fmla="*/ 33888 w 2692630"/>
                    <a:gd name="connsiteY0" fmla="*/ 2376481 h 2376481"/>
                    <a:gd name="connsiteX1" fmla="*/ 61002 w 2692630"/>
                    <a:gd name="connsiteY1" fmla="*/ 2082729 h 2376481"/>
                    <a:gd name="connsiteX2" fmla="*/ 22902 w 2692630"/>
                    <a:gd name="connsiteY2" fmla="*/ 1887466 h 2376481"/>
                    <a:gd name="connsiteX3" fmla="*/ 65765 w 2692630"/>
                    <a:gd name="connsiteY3" fmla="*/ 1306441 h 2376481"/>
                    <a:gd name="connsiteX4" fmla="*/ 13377 w 2692630"/>
                    <a:gd name="connsiteY4" fmla="*/ 939729 h 2376481"/>
                    <a:gd name="connsiteX5" fmla="*/ 550 w 2692630"/>
                    <a:gd name="connsiteY5" fmla="*/ 571094 h 2376481"/>
                    <a:gd name="connsiteX6" fmla="*/ 609744 w 2692630"/>
                    <a:gd name="connsiteY6" fmla="*/ 0 h 2376481"/>
                    <a:gd name="connsiteX7" fmla="*/ 2601190 w 2692630"/>
                    <a:gd name="connsiteY7" fmla="*/ 0 h 2376481"/>
                    <a:gd name="connsiteX8" fmla="*/ 2595795 w 2692630"/>
                    <a:gd name="connsiteY8" fmla="*/ 154488 h 2376481"/>
                    <a:gd name="connsiteX9" fmla="*/ 2692630 w 2692630"/>
                    <a:gd name="connsiteY9" fmla="*/ 249297 h 2376481"/>
                    <a:gd name="connsiteX10" fmla="*/ 609744 w 2692630"/>
                    <a:gd name="connsiteY10" fmla="*/ 258441 h 2376481"/>
                    <a:gd name="connsiteX11" fmla="*/ 292328 w 2692630"/>
                    <a:gd name="connsiteY11" fmla="*/ 575857 h 2376481"/>
                    <a:gd name="connsiteX12" fmla="*/ 292329 w 2692630"/>
                    <a:gd name="connsiteY12" fmla="*/ 2376481 h 2376481"/>
                    <a:gd name="connsiteX13" fmla="*/ 33888 w 2692630"/>
                    <a:gd name="connsiteY13" fmla="*/ 2376481 h 2376481"/>
                    <a:gd name="connsiteX0" fmla="*/ 45354 w 2704096"/>
                    <a:gd name="connsiteY0" fmla="*/ 2376481 h 2376481"/>
                    <a:gd name="connsiteX1" fmla="*/ 72468 w 2704096"/>
                    <a:gd name="connsiteY1" fmla="*/ 2082729 h 2376481"/>
                    <a:gd name="connsiteX2" fmla="*/ 34368 w 2704096"/>
                    <a:gd name="connsiteY2" fmla="*/ 1887466 h 2376481"/>
                    <a:gd name="connsiteX3" fmla="*/ 77231 w 2704096"/>
                    <a:gd name="connsiteY3" fmla="*/ 1306441 h 2376481"/>
                    <a:gd name="connsiteX4" fmla="*/ 24843 w 2704096"/>
                    <a:gd name="connsiteY4" fmla="*/ 939729 h 2376481"/>
                    <a:gd name="connsiteX5" fmla="*/ 12016 w 2704096"/>
                    <a:gd name="connsiteY5" fmla="*/ 571094 h 2376481"/>
                    <a:gd name="connsiteX6" fmla="*/ 62944 w 2704096"/>
                    <a:gd name="connsiteY6" fmla="*/ 434904 h 2376481"/>
                    <a:gd name="connsiteX7" fmla="*/ 621210 w 2704096"/>
                    <a:gd name="connsiteY7" fmla="*/ 0 h 2376481"/>
                    <a:gd name="connsiteX8" fmla="*/ 2612656 w 2704096"/>
                    <a:gd name="connsiteY8" fmla="*/ 0 h 2376481"/>
                    <a:gd name="connsiteX9" fmla="*/ 2607261 w 2704096"/>
                    <a:gd name="connsiteY9" fmla="*/ 154488 h 2376481"/>
                    <a:gd name="connsiteX10" fmla="*/ 2704096 w 2704096"/>
                    <a:gd name="connsiteY10" fmla="*/ 249297 h 2376481"/>
                    <a:gd name="connsiteX11" fmla="*/ 621210 w 2704096"/>
                    <a:gd name="connsiteY11" fmla="*/ 258441 h 2376481"/>
                    <a:gd name="connsiteX12" fmla="*/ 303794 w 2704096"/>
                    <a:gd name="connsiteY12" fmla="*/ 575857 h 2376481"/>
                    <a:gd name="connsiteX13" fmla="*/ 303795 w 2704096"/>
                    <a:gd name="connsiteY13" fmla="*/ 2376481 h 2376481"/>
                    <a:gd name="connsiteX14" fmla="*/ 45354 w 2704096"/>
                    <a:gd name="connsiteY14" fmla="*/ 2376481 h 2376481"/>
                    <a:gd name="connsiteX0" fmla="*/ 45354 w 2704096"/>
                    <a:gd name="connsiteY0" fmla="*/ 2376481 h 2376481"/>
                    <a:gd name="connsiteX1" fmla="*/ 72468 w 2704096"/>
                    <a:gd name="connsiteY1" fmla="*/ 2082729 h 2376481"/>
                    <a:gd name="connsiteX2" fmla="*/ 34368 w 2704096"/>
                    <a:gd name="connsiteY2" fmla="*/ 1887466 h 2376481"/>
                    <a:gd name="connsiteX3" fmla="*/ 77231 w 2704096"/>
                    <a:gd name="connsiteY3" fmla="*/ 1306441 h 2376481"/>
                    <a:gd name="connsiteX4" fmla="*/ 24843 w 2704096"/>
                    <a:gd name="connsiteY4" fmla="*/ 939729 h 2376481"/>
                    <a:gd name="connsiteX5" fmla="*/ 12016 w 2704096"/>
                    <a:gd name="connsiteY5" fmla="*/ 571094 h 2376481"/>
                    <a:gd name="connsiteX6" fmla="*/ 62944 w 2704096"/>
                    <a:gd name="connsiteY6" fmla="*/ 434904 h 2376481"/>
                    <a:gd name="connsiteX7" fmla="*/ 621210 w 2704096"/>
                    <a:gd name="connsiteY7" fmla="*/ 0 h 2376481"/>
                    <a:gd name="connsiteX8" fmla="*/ 1601232 w 2704096"/>
                    <a:gd name="connsiteY8" fmla="*/ 1516 h 2376481"/>
                    <a:gd name="connsiteX9" fmla="*/ 2612656 w 2704096"/>
                    <a:gd name="connsiteY9" fmla="*/ 0 h 2376481"/>
                    <a:gd name="connsiteX10" fmla="*/ 2607261 w 2704096"/>
                    <a:gd name="connsiteY10" fmla="*/ 154488 h 2376481"/>
                    <a:gd name="connsiteX11" fmla="*/ 2704096 w 2704096"/>
                    <a:gd name="connsiteY11" fmla="*/ 249297 h 2376481"/>
                    <a:gd name="connsiteX12" fmla="*/ 621210 w 2704096"/>
                    <a:gd name="connsiteY12" fmla="*/ 258441 h 2376481"/>
                    <a:gd name="connsiteX13" fmla="*/ 303794 w 2704096"/>
                    <a:gd name="connsiteY13" fmla="*/ 575857 h 2376481"/>
                    <a:gd name="connsiteX14" fmla="*/ 303795 w 2704096"/>
                    <a:gd name="connsiteY14" fmla="*/ 2376481 h 2376481"/>
                    <a:gd name="connsiteX15" fmla="*/ 45354 w 2704096"/>
                    <a:gd name="connsiteY15" fmla="*/ 2376481 h 2376481"/>
                    <a:gd name="connsiteX0" fmla="*/ 45354 w 2704096"/>
                    <a:gd name="connsiteY0" fmla="*/ 2376481 h 2376481"/>
                    <a:gd name="connsiteX1" fmla="*/ 72468 w 2704096"/>
                    <a:gd name="connsiteY1" fmla="*/ 2082729 h 2376481"/>
                    <a:gd name="connsiteX2" fmla="*/ 34368 w 2704096"/>
                    <a:gd name="connsiteY2" fmla="*/ 1887466 h 2376481"/>
                    <a:gd name="connsiteX3" fmla="*/ 77231 w 2704096"/>
                    <a:gd name="connsiteY3" fmla="*/ 1306441 h 2376481"/>
                    <a:gd name="connsiteX4" fmla="*/ 24843 w 2704096"/>
                    <a:gd name="connsiteY4" fmla="*/ 939729 h 2376481"/>
                    <a:gd name="connsiteX5" fmla="*/ 12016 w 2704096"/>
                    <a:gd name="connsiteY5" fmla="*/ 571094 h 2376481"/>
                    <a:gd name="connsiteX6" fmla="*/ 62944 w 2704096"/>
                    <a:gd name="connsiteY6" fmla="*/ 434904 h 2376481"/>
                    <a:gd name="connsiteX7" fmla="*/ 353457 w 2704096"/>
                    <a:gd name="connsiteY7" fmla="*/ 111054 h 2376481"/>
                    <a:gd name="connsiteX8" fmla="*/ 621210 w 2704096"/>
                    <a:gd name="connsiteY8" fmla="*/ 0 h 2376481"/>
                    <a:gd name="connsiteX9" fmla="*/ 1601232 w 2704096"/>
                    <a:gd name="connsiteY9" fmla="*/ 1516 h 2376481"/>
                    <a:gd name="connsiteX10" fmla="*/ 2612656 w 2704096"/>
                    <a:gd name="connsiteY10" fmla="*/ 0 h 2376481"/>
                    <a:gd name="connsiteX11" fmla="*/ 2607261 w 2704096"/>
                    <a:gd name="connsiteY11" fmla="*/ 154488 h 2376481"/>
                    <a:gd name="connsiteX12" fmla="*/ 2704096 w 2704096"/>
                    <a:gd name="connsiteY12" fmla="*/ 249297 h 2376481"/>
                    <a:gd name="connsiteX13" fmla="*/ 621210 w 2704096"/>
                    <a:gd name="connsiteY13" fmla="*/ 258441 h 2376481"/>
                    <a:gd name="connsiteX14" fmla="*/ 303794 w 2704096"/>
                    <a:gd name="connsiteY14" fmla="*/ 575857 h 2376481"/>
                    <a:gd name="connsiteX15" fmla="*/ 303795 w 2704096"/>
                    <a:gd name="connsiteY15" fmla="*/ 2376481 h 2376481"/>
                    <a:gd name="connsiteX16" fmla="*/ 45354 w 2704096"/>
                    <a:gd name="connsiteY16" fmla="*/ 2376481 h 2376481"/>
                    <a:gd name="connsiteX0" fmla="*/ 45354 w 2704096"/>
                    <a:gd name="connsiteY0" fmla="*/ 2376481 h 2376481"/>
                    <a:gd name="connsiteX1" fmla="*/ 72468 w 2704096"/>
                    <a:gd name="connsiteY1" fmla="*/ 2082729 h 2376481"/>
                    <a:gd name="connsiteX2" fmla="*/ 34368 w 2704096"/>
                    <a:gd name="connsiteY2" fmla="*/ 1887466 h 2376481"/>
                    <a:gd name="connsiteX3" fmla="*/ 77231 w 2704096"/>
                    <a:gd name="connsiteY3" fmla="*/ 1306441 h 2376481"/>
                    <a:gd name="connsiteX4" fmla="*/ 24843 w 2704096"/>
                    <a:gd name="connsiteY4" fmla="*/ 939729 h 2376481"/>
                    <a:gd name="connsiteX5" fmla="*/ 12016 w 2704096"/>
                    <a:gd name="connsiteY5" fmla="*/ 571094 h 2376481"/>
                    <a:gd name="connsiteX6" fmla="*/ 62944 w 2704096"/>
                    <a:gd name="connsiteY6" fmla="*/ 434904 h 2376481"/>
                    <a:gd name="connsiteX7" fmla="*/ 191532 w 2704096"/>
                    <a:gd name="connsiteY7" fmla="*/ 239641 h 2376481"/>
                    <a:gd name="connsiteX8" fmla="*/ 353457 w 2704096"/>
                    <a:gd name="connsiteY8" fmla="*/ 111054 h 2376481"/>
                    <a:gd name="connsiteX9" fmla="*/ 621210 w 2704096"/>
                    <a:gd name="connsiteY9" fmla="*/ 0 h 2376481"/>
                    <a:gd name="connsiteX10" fmla="*/ 1601232 w 2704096"/>
                    <a:gd name="connsiteY10" fmla="*/ 1516 h 2376481"/>
                    <a:gd name="connsiteX11" fmla="*/ 2612656 w 2704096"/>
                    <a:gd name="connsiteY11" fmla="*/ 0 h 2376481"/>
                    <a:gd name="connsiteX12" fmla="*/ 2607261 w 2704096"/>
                    <a:gd name="connsiteY12" fmla="*/ 154488 h 2376481"/>
                    <a:gd name="connsiteX13" fmla="*/ 2704096 w 2704096"/>
                    <a:gd name="connsiteY13" fmla="*/ 249297 h 2376481"/>
                    <a:gd name="connsiteX14" fmla="*/ 621210 w 2704096"/>
                    <a:gd name="connsiteY14" fmla="*/ 258441 h 2376481"/>
                    <a:gd name="connsiteX15" fmla="*/ 303794 w 2704096"/>
                    <a:gd name="connsiteY15" fmla="*/ 575857 h 2376481"/>
                    <a:gd name="connsiteX16" fmla="*/ 303795 w 2704096"/>
                    <a:gd name="connsiteY16" fmla="*/ 2376481 h 2376481"/>
                    <a:gd name="connsiteX17" fmla="*/ 45354 w 2704096"/>
                    <a:gd name="connsiteY17" fmla="*/ 2376481 h 2376481"/>
                    <a:gd name="connsiteX0" fmla="*/ 45354 w 2704096"/>
                    <a:gd name="connsiteY0" fmla="*/ 2403540 h 2403540"/>
                    <a:gd name="connsiteX1" fmla="*/ 72468 w 2704096"/>
                    <a:gd name="connsiteY1" fmla="*/ 2109788 h 2403540"/>
                    <a:gd name="connsiteX2" fmla="*/ 34368 w 2704096"/>
                    <a:gd name="connsiteY2" fmla="*/ 1914525 h 2403540"/>
                    <a:gd name="connsiteX3" fmla="*/ 77231 w 2704096"/>
                    <a:gd name="connsiteY3" fmla="*/ 1333500 h 2403540"/>
                    <a:gd name="connsiteX4" fmla="*/ 24843 w 2704096"/>
                    <a:gd name="connsiteY4" fmla="*/ 966788 h 2403540"/>
                    <a:gd name="connsiteX5" fmla="*/ 12016 w 2704096"/>
                    <a:gd name="connsiteY5" fmla="*/ 598153 h 2403540"/>
                    <a:gd name="connsiteX6" fmla="*/ 62944 w 2704096"/>
                    <a:gd name="connsiteY6" fmla="*/ 461963 h 2403540"/>
                    <a:gd name="connsiteX7" fmla="*/ 191532 w 2704096"/>
                    <a:gd name="connsiteY7" fmla="*/ 266700 h 2403540"/>
                    <a:gd name="connsiteX8" fmla="*/ 353457 w 2704096"/>
                    <a:gd name="connsiteY8" fmla="*/ 138113 h 2403540"/>
                    <a:gd name="connsiteX9" fmla="*/ 621210 w 2704096"/>
                    <a:gd name="connsiteY9" fmla="*/ 27059 h 2403540"/>
                    <a:gd name="connsiteX10" fmla="*/ 1601232 w 2704096"/>
                    <a:gd name="connsiteY10" fmla="*/ 28575 h 2403540"/>
                    <a:gd name="connsiteX11" fmla="*/ 1882219 w 2704096"/>
                    <a:gd name="connsiteY11" fmla="*/ 0 h 2403540"/>
                    <a:gd name="connsiteX12" fmla="*/ 2612656 w 2704096"/>
                    <a:gd name="connsiteY12" fmla="*/ 27059 h 2403540"/>
                    <a:gd name="connsiteX13" fmla="*/ 2607261 w 2704096"/>
                    <a:gd name="connsiteY13" fmla="*/ 181547 h 2403540"/>
                    <a:gd name="connsiteX14" fmla="*/ 2704096 w 2704096"/>
                    <a:gd name="connsiteY14" fmla="*/ 276356 h 2403540"/>
                    <a:gd name="connsiteX15" fmla="*/ 621210 w 2704096"/>
                    <a:gd name="connsiteY15" fmla="*/ 285500 h 2403540"/>
                    <a:gd name="connsiteX16" fmla="*/ 303794 w 2704096"/>
                    <a:gd name="connsiteY16" fmla="*/ 602916 h 2403540"/>
                    <a:gd name="connsiteX17" fmla="*/ 303795 w 2704096"/>
                    <a:gd name="connsiteY17" fmla="*/ 2403540 h 2403540"/>
                    <a:gd name="connsiteX18" fmla="*/ 45354 w 2704096"/>
                    <a:gd name="connsiteY18" fmla="*/ 2403540 h 2403540"/>
                    <a:gd name="connsiteX0" fmla="*/ 45354 w 2704096"/>
                    <a:gd name="connsiteY0" fmla="*/ 2403540 h 2403540"/>
                    <a:gd name="connsiteX1" fmla="*/ 72468 w 2704096"/>
                    <a:gd name="connsiteY1" fmla="*/ 2109788 h 2403540"/>
                    <a:gd name="connsiteX2" fmla="*/ 34368 w 2704096"/>
                    <a:gd name="connsiteY2" fmla="*/ 1914525 h 2403540"/>
                    <a:gd name="connsiteX3" fmla="*/ 77231 w 2704096"/>
                    <a:gd name="connsiteY3" fmla="*/ 1333500 h 2403540"/>
                    <a:gd name="connsiteX4" fmla="*/ 24843 w 2704096"/>
                    <a:gd name="connsiteY4" fmla="*/ 966788 h 2403540"/>
                    <a:gd name="connsiteX5" fmla="*/ 12016 w 2704096"/>
                    <a:gd name="connsiteY5" fmla="*/ 598153 h 2403540"/>
                    <a:gd name="connsiteX6" fmla="*/ 62944 w 2704096"/>
                    <a:gd name="connsiteY6" fmla="*/ 461963 h 2403540"/>
                    <a:gd name="connsiteX7" fmla="*/ 191532 w 2704096"/>
                    <a:gd name="connsiteY7" fmla="*/ 266700 h 2403540"/>
                    <a:gd name="connsiteX8" fmla="*/ 353457 w 2704096"/>
                    <a:gd name="connsiteY8" fmla="*/ 138113 h 2403540"/>
                    <a:gd name="connsiteX9" fmla="*/ 621210 w 2704096"/>
                    <a:gd name="connsiteY9" fmla="*/ 27059 h 2403540"/>
                    <a:gd name="connsiteX10" fmla="*/ 1601232 w 2704096"/>
                    <a:gd name="connsiteY10" fmla="*/ 28575 h 2403540"/>
                    <a:gd name="connsiteX11" fmla="*/ 1882219 w 2704096"/>
                    <a:gd name="connsiteY11" fmla="*/ 0 h 2403540"/>
                    <a:gd name="connsiteX12" fmla="*/ 2210832 w 2704096"/>
                    <a:gd name="connsiteY12" fmla="*/ 57151 h 2403540"/>
                    <a:gd name="connsiteX13" fmla="*/ 2612656 w 2704096"/>
                    <a:gd name="connsiteY13" fmla="*/ 27059 h 2403540"/>
                    <a:gd name="connsiteX14" fmla="*/ 2607261 w 2704096"/>
                    <a:gd name="connsiteY14" fmla="*/ 181547 h 2403540"/>
                    <a:gd name="connsiteX15" fmla="*/ 2704096 w 2704096"/>
                    <a:gd name="connsiteY15" fmla="*/ 276356 h 2403540"/>
                    <a:gd name="connsiteX16" fmla="*/ 621210 w 2704096"/>
                    <a:gd name="connsiteY16" fmla="*/ 285500 h 2403540"/>
                    <a:gd name="connsiteX17" fmla="*/ 303794 w 2704096"/>
                    <a:gd name="connsiteY17" fmla="*/ 602916 h 2403540"/>
                    <a:gd name="connsiteX18" fmla="*/ 303795 w 2704096"/>
                    <a:gd name="connsiteY18" fmla="*/ 2403540 h 2403540"/>
                    <a:gd name="connsiteX19" fmla="*/ 45354 w 2704096"/>
                    <a:gd name="connsiteY19" fmla="*/ 2403540 h 2403540"/>
                    <a:gd name="connsiteX0" fmla="*/ 45354 w 2704096"/>
                    <a:gd name="connsiteY0" fmla="*/ 2389253 h 2389253"/>
                    <a:gd name="connsiteX1" fmla="*/ 72468 w 2704096"/>
                    <a:gd name="connsiteY1" fmla="*/ 2095501 h 2389253"/>
                    <a:gd name="connsiteX2" fmla="*/ 34368 w 2704096"/>
                    <a:gd name="connsiteY2" fmla="*/ 1900238 h 2389253"/>
                    <a:gd name="connsiteX3" fmla="*/ 77231 w 2704096"/>
                    <a:gd name="connsiteY3" fmla="*/ 1319213 h 2389253"/>
                    <a:gd name="connsiteX4" fmla="*/ 24843 w 2704096"/>
                    <a:gd name="connsiteY4" fmla="*/ 952501 h 2389253"/>
                    <a:gd name="connsiteX5" fmla="*/ 12016 w 2704096"/>
                    <a:gd name="connsiteY5" fmla="*/ 583866 h 2389253"/>
                    <a:gd name="connsiteX6" fmla="*/ 62944 w 2704096"/>
                    <a:gd name="connsiteY6" fmla="*/ 447676 h 2389253"/>
                    <a:gd name="connsiteX7" fmla="*/ 191532 w 2704096"/>
                    <a:gd name="connsiteY7" fmla="*/ 252413 h 2389253"/>
                    <a:gd name="connsiteX8" fmla="*/ 353457 w 2704096"/>
                    <a:gd name="connsiteY8" fmla="*/ 123826 h 2389253"/>
                    <a:gd name="connsiteX9" fmla="*/ 621210 w 2704096"/>
                    <a:gd name="connsiteY9" fmla="*/ 12772 h 2389253"/>
                    <a:gd name="connsiteX10" fmla="*/ 1601232 w 2704096"/>
                    <a:gd name="connsiteY10" fmla="*/ 14288 h 2389253"/>
                    <a:gd name="connsiteX11" fmla="*/ 1867932 w 2704096"/>
                    <a:gd name="connsiteY11" fmla="*/ 0 h 2389253"/>
                    <a:gd name="connsiteX12" fmla="*/ 2210832 w 2704096"/>
                    <a:gd name="connsiteY12" fmla="*/ 42864 h 2389253"/>
                    <a:gd name="connsiteX13" fmla="*/ 2612656 w 2704096"/>
                    <a:gd name="connsiteY13" fmla="*/ 12772 h 2389253"/>
                    <a:gd name="connsiteX14" fmla="*/ 2607261 w 2704096"/>
                    <a:gd name="connsiteY14" fmla="*/ 167260 h 2389253"/>
                    <a:gd name="connsiteX15" fmla="*/ 2704096 w 2704096"/>
                    <a:gd name="connsiteY15" fmla="*/ 262069 h 2389253"/>
                    <a:gd name="connsiteX16" fmla="*/ 621210 w 2704096"/>
                    <a:gd name="connsiteY16" fmla="*/ 271213 h 2389253"/>
                    <a:gd name="connsiteX17" fmla="*/ 303794 w 2704096"/>
                    <a:gd name="connsiteY17" fmla="*/ 588629 h 2389253"/>
                    <a:gd name="connsiteX18" fmla="*/ 303795 w 2704096"/>
                    <a:gd name="connsiteY18" fmla="*/ 2389253 h 2389253"/>
                    <a:gd name="connsiteX19" fmla="*/ 45354 w 2704096"/>
                    <a:gd name="connsiteY19" fmla="*/ 2389253 h 2389253"/>
                    <a:gd name="connsiteX0" fmla="*/ 45354 w 2704096"/>
                    <a:gd name="connsiteY0" fmla="*/ 2389253 h 2389253"/>
                    <a:gd name="connsiteX1" fmla="*/ 72468 w 2704096"/>
                    <a:gd name="connsiteY1" fmla="*/ 2095501 h 2389253"/>
                    <a:gd name="connsiteX2" fmla="*/ 34368 w 2704096"/>
                    <a:gd name="connsiteY2" fmla="*/ 1900238 h 2389253"/>
                    <a:gd name="connsiteX3" fmla="*/ 77231 w 2704096"/>
                    <a:gd name="connsiteY3" fmla="*/ 1319213 h 2389253"/>
                    <a:gd name="connsiteX4" fmla="*/ 24843 w 2704096"/>
                    <a:gd name="connsiteY4" fmla="*/ 952501 h 2389253"/>
                    <a:gd name="connsiteX5" fmla="*/ 12016 w 2704096"/>
                    <a:gd name="connsiteY5" fmla="*/ 583866 h 2389253"/>
                    <a:gd name="connsiteX6" fmla="*/ 62944 w 2704096"/>
                    <a:gd name="connsiteY6" fmla="*/ 447676 h 2389253"/>
                    <a:gd name="connsiteX7" fmla="*/ 191532 w 2704096"/>
                    <a:gd name="connsiteY7" fmla="*/ 252413 h 2389253"/>
                    <a:gd name="connsiteX8" fmla="*/ 353457 w 2704096"/>
                    <a:gd name="connsiteY8" fmla="*/ 123826 h 2389253"/>
                    <a:gd name="connsiteX9" fmla="*/ 621210 w 2704096"/>
                    <a:gd name="connsiteY9" fmla="*/ 12772 h 2389253"/>
                    <a:gd name="connsiteX10" fmla="*/ 1339294 w 2704096"/>
                    <a:gd name="connsiteY10" fmla="*/ 33338 h 2389253"/>
                    <a:gd name="connsiteX11" fmla="*/ 1601232 w 2704096"/>
                    <a:gd name="connsiteY11" fmla="*/ 14288 h 2389253"/>
                    <a:gd name="connsiteX12" fmla="*/ 1867932 w 2704096"/>
                    <a:gd name="connsiteY12" fmla="*/ 0 h 2389253"/>
                    <a:gd name="connsiteX13" fmla="*/ 2210832 w 2704096"/>
                    <a:gd name="connsiteY13" fmla="*/ 42864 h 2389253"/>
                    <a:gd name="connsiteX14" fmla="*/ 2612656 w 2704096"/>
                    <a:gd name="connsiteY14" fmla="*/ 12772 h 2389253"/>
                    <a:gd name="connsiteX15" fmla="*/ 2607261 w 2704096"/>
                    <a:gd name="connsiteY15" fmla="*/ 167260 h 2389253"/>
                    <a:gd name="connsiteX16" fmla="*/ 2704096 w 2704096"/>
                    <a:gd name="connsiteY16" fmla="*/ 262069 h 2389253"/>
                    <a:gd name="connsiteX17" fmla="*/ 621210 w 2704096"/>
                    <a:gd name="connsiteY17" fmla="*/ 271213 h 2389253"/>
                    <a:gd name="connsiteX18" fmla="*/ 303794 w 2704096"/>
                    <a:gd name="connsiteY18" fmla="*/ 588629 h 2389253"/>
                    <a:gd name="connsiteX19" fmla="*/ 303795 w 2704096"/>
                    <a:gd name="connsiteY19" fmla="*/ 2389253 h 2389253"/>
                    <a:gd name="connsiteX20" fmla="*/ 45354 w 2704096"/>
                    <a:gd name="connsiteY20" fmla="*/ 2389253 h 2389253"/>
                    <a:gd name="connsiteX0" fmla="*/ 45354 w 2612790"/>
                    <a:gd name="connsiteY0" fmla="*/ 2389253 h 2389253"/>
                    <a:gd name="connsiteX1" fmla="*/ 72468 w 2612790"/>
                    <a:gd name="connsiteY1" fmla="*/ 2095501 h 2389253"/>
                    <a:gd name="connsiteX2" fmla="*/ 34368 w 2612790"/>
                    <a:gd name="connsiteY2" fmla="*/ 1900238 h 2389253"/>
                    <a:gd name="connsiteX3" fmla="*/ 77231 w 2612790"/>
                    <a:gd name="connsiteY3" fmla="*/ 1319213 h 2389253"/>
                    <a:gd name="connsiteX4" fmla="*/ 24843 w 2612790"/>
                    <a:gd name="connsiteY4" fmla="*/ 952501 h 2389253"/>
                    <a:gd name="connsiteX5" fmla="*/ 12016 w 2612790"/>
                    <a:gd name="connsiteY5" fmla="*/ 583866 h 2389253"/>
                    <a:gd name="connsiteX6" fmla="*/ 62944 w 2612790"/>
                    <a:gd name="connsiteY6" fmla="*/ 447676 h 2389253"/>
                    <a:gd name="connsiteX7" fmla="*/ 191532 w 2612790"/>
                    <a:gd name="connsiteY7" fmla="*/ 252413 h 2389253"/>
                    <a:gd name="connsiteX8" fmla="*/ 353457 w 2612790"/>
                    <a:gd name="connsiteY8" fmla="*/ 123826 h 2389253"/>
                    <a:gd name="connsiteX9" fmla="*/ 621210 w 2612790"/>
                    <a:gd name="connsiteY9" fmla="*/ 12772 h 2389253"/>
                    <a:gd name="connsiteX10" fmla="*/ 1339294 w 2612790"/>
                    <a:gd name="connsiteY10" fmla="*/ 33338 h 2389253"/>
                    <a:gd name="connsiteX11" fmla="*/ 1601232 w 2612790"/>
                    <a:gd name="connsiteY11" fmla="*/ 14288 h 2389253"/>
                    <a:gd name="connsiteX12" fmla="*/ 1867932 w 2612790"/>
                    <a:gd name="connsiteY12" fmla="*/ 0 h 2389253"/>
                    <a:gd name="connsiteX13" fmla="*/ 2210832 w 2612790"/>
                    <a:gd name="connsiteY13" fmla="*/ 42864 h 2389253"/>
                    <a:gd name="connsiteX14" fmla="*/ 2612656 w 2612790"/>
                    <a:gd name="connsiteY14" fmla="*/ 12772 h 2389253"/>
                    <a:gd name="connsiteX15" fmla="*/ 2607261 w 2612790"/>
                    <a:gd name="connsiteY15" fmla="*/ 167260 h 2389253"/>
                    <a:gd name="connsiteX16" fmla="*/ 2051444 w 2612790"/>
                    <a:gd name="connsiteY16" fmla="*/ 268939 h 2389253"/>
                    <a:gd name="connsiteX17" fmla="*/ 621210 w 2612790"/>
                    <a:gd name="connsiteY17" fmla="*/ 271213 h 2389253"/>
                    <a:gd name="connsiteX18" fmla="*/ 303794 w 2612790"/>
                    <a:gd name="connsiteY18" fmla="*/ 588629 h 2389253"/>
                    <a:gd name="connsiteX19" fmla="*/ 303795 w 2612790"/>
                    <a:gd name="connsiteY19" fmla="*/ 2389253 h 2389253"/>
                    <a:gd name="connsiteX20" fmla="*/ 45354 w 2612790"/>
                    <a:gd name="connsiteY20" fmla="*/ 2389253 h 2389253"/>
                    <a:gd name="connsiteX0" fmla="*/ 45354 w 2612656"/>
                    <a:gd name="connsiteY0" fmla="*/ 2389253 h 2389253"/>
                    <a:gd name="connsiteX1" fmla="*/ 72468 w 2612656"/>
                    <a:gd name="connsiteY1" fmla="*/ 2095501 h 2389253"/>
                    <a:gd name="connsiteX2" fmla="*/ 34368 w 2612656"/>
                    <a:gd name="connsiteY2" fmla="*/ 1900238 h 2389253"/>
                    <a:gd name="connsiteX3" fmla="*/ 77231 w 2612656"/>
                    <a:gd name="connsiteY3" fmla="*/ 1319213 h 2389253"/>
                    <a:gd name="connsiteX4" fmla="*/ 24843 w 2612656"/>
                    <a:gd name="connsiteY4" fmla="*/ 952501 h 2389253"/>
                    <a:gd name="connsiteX5" fmla="*/ 12016 w 2612656"/>
                    <a:gd name="connsiteY5" fmla="*/ 583866 h 2389253"/>
                    <a:gd name="connsiteX6" fmla="*/ 62944 w 2612656"/>
                    <a:gd name="connsiteY6" fmla="*/ 447676 h 2389253"/>
                    <a:gd name="connsiteX7" fmla="*/ 191532 w 2612656"/>
                    <a:gd name="connsiteY7" fmla="*/ 252413 h 2389253"/>
                    <a:gd name="connsiteX8" fmla="*/ 353457 w 2612656"/>
                    <a:gd name="connsiteY8" fmla="*/ 123826 h 2389253"/>
                    <a:gd name="connsiteX9" fmla="*/ 621210 w 2612656"/>
                    <a:gd name="connsiteY9" fmla="*/ 12772 h 2389253"/>
                    <a:gd name="connsiteX10" fmla="*/ 1339294 w 2612656"/>
                    <a:gd name="connsiteY10" fmla="*/ 33338 h 2389253"/>
                    <a:gd name="connsiteX11" fmla="*/ 1601232 w 2612656"/>
                    <a:gd name="connsiteY11" fmla="*/ 14288 h 2389253"/>
                    <a:gd name="connsiteX12" fmla="*/ 1867932 w 2612656"/>
                    <a:gd name="connsiteY12" fmla="*/ 0 h 2389253"/>
                    <a:gd name="connsiteX13" fmla="*/ 2210832 w 2612656"/>
                    <a:gd name="connsiteY13" fmla="*/ 42864 h 2389253"/>
                    <a:gd name="connsiteX14" fmla="*/ 2612656 w 2612656"/>
                    <a:gd name="connsiteY14" fmla="*/ 12772 h 2389253"/>
                    <a:gd name="connsiteX15" fmla="*/ 2051444 w 2612656"/>
                    <a:gd name="connsiteY15" fmla="*/ 268939 h 2389253"/>
                    <a:gd name="connsiteX16" fmla="*/ 621210 w 2612656"/>
                    <a:gd name="connsiteY16" fmla="*/ 271213 h 2389253"/>
                    <a:gd name="connsiteX17" fmla="*/ 303794 w 2612656"/>
                    <a:gd name="connsiteY17" fmla="*/ 588629 h 2389253"/>
                    <a:gd name="connsiteX18" fmla="*/ 303795 w 2612656"/>
                    <a:gd name="connsiteY18" fmla="*/ 2389253 h 2389253"/>
                    <a:gd name="connsiteX19" fmla="*/ 45354 w 2612656"/>
                    <a:gd name="connsiteY19" fmla="*/ 2389253 h 2389253"/>
                    <a:gd name="connsiteX0" fmla="*/ 45354 w 2210832"/>
                    <a:gd name="connsiteY0" fmla="*/ 2389253 h 2389253"/>
                    <a:gd name="connsiteX1" fmla="*/ 72468 w 2210832"/>
                    <a:gd name="connsiteY1" fmla="*/ 2095501 h 2389253"/>
                    <a:gd name="connsiteX2" fmla="*/ 34368 w 2210832"/>
                    <a:gd name="connsiteY2" fmla="*/ 1900238 h 2389253"/>
                    <a:gd name="connsiteX3" fmla="*/ 77231 w 2210832"/>
                    <a:gd name="connsiteY3" fmla="*/ 1319213 h 2389253"/>
                    <a:gd name="connsiteX4" fmla="*/ 24843 w 2210832"/>
                    <a:gd name="connsiteY4" fmla="*/ 952501 h 2389253"/>
                    <a:gd name="connsiteX5" fmla="*/ 12016 w 2210832"/>
                    <a:gd name="connsiteY5" fmla="*/ 583866 h 2389253"/>
                    <a:gd name="connsiteX6" fmla="*/ 62944 w 2210832"/>
                    <a:gd name="connsiteY6" fmla="*/ 447676 h 2389253"/>
                    <a:gd name="connsiteX7" fmla="*/ 191532 w 2210832"/>
                    <a:gd name="connsiteY7" fmla="*/ 252413 h 2389253"/>
                    <a:gd name="connsiteX8" fmla="*/ 353457 w 2210832"/>
                    <a:gd name="connsiteY8" fmla="*/ 123826 h 2389253"/>
                    <a:gd name="connsiteX9" fmla="*/ 621210 w 2210832"/>
                    <a:gd name="connsiteY9" fmla="*/ 12772 h 2389253"/>
                    <a:gd name="connsiteX10" fmla="*/ 1339294 w 2210832"/>
                    <a:gd name="connsiteY10" fmla="*/ 33338 h 2389253"/>
                    <a:gd name="connsiteX11" fmla="*/ 1601232 w 2210832"/>
                    <a:gd name="connsiteY11" fmla="*/ 14288 h 2389253"/>
                    <a:gd name="connsiteX12" fmla="*/ 1867932 w 2210832"/>
                    <a:gd name="connsiteY12" fmla="*/ 0 h 2389253"/>
                    <a:gd name="connsiteX13" fmla="*/ 2210832 w 2210832"/>
                    <a:gd name="connsiteY13" fmla="*/ 42864 h 2389253"/>
                    <a:gd name="connsiteX14" fmla="*/ 2051444 w 2210832"/>
                    <a:gd name="connsiteY14" fmla="*/ 268939 h 2389253"/>
                    <a:gd name="connsiteX15" fmla="*/ 621210 w 2210832"/>
                    <a:gd name="connsiteY15" fmla="*/ 271213 h 2389253"/>
                    <a:gd name="connsiteX16" fmla="*/ 303794 w 2210832"/>
                    <a:gd name="connsiteY16" fmla="*/ 588629 h 2389253"/>
                    <a:gd name="connsiteX17" fmla="*/ 303795 w 2210832"/>
                    <a:gd name="connsiteY17" fmla="*/ 2389253 h 2389253"/>
                    <a:gd name="connsiteX18" fmla="*/ 45354 w 2210832"/>
                    <a:gd name="connsiteY18" fmla="*/ 2389253 h 2389253"/>
                    <a:gd name="connsiteX0" fmla="*/ 45354 w 2051444"/>
                    <a:gd name="connsiteY0" fmla="*/ 2389253 h 2389253"/>
                    <a:gd name="connsiteX1" fmla="*/ 72468 w 2051444"/>
                    <a:gd name="connsiteY1" fmla="*/ 2095501 h 2389253"/>
                    <a:gd name="connsiteX2" fmla="*/ 34368 w 2051444"/>
                    <a:gd name="connsiteY2" fmla="*/ 1900238 h 2389253"/>
                    <a:gd name="connsiteX3" fmla="*/ 77231 w 2051444"/>
                    <a:gd name="connsiteY3" fmla="*/ 1319213 h 2389253"/>
                    <a:gd name="connsiteX4" fmla="*/ 24843 w 2051444"/>
                    <a:gd name="connsiteY4" fmla="*/ 952501 h 2389253"/>
                    <a:gd name="connsiteX5" fmla="*/ 12016 w 2051444"/>
                    <a:gd name="connsiteY5" fmla="*/ 583866 h 2389253"/>
                    <a:gd name="connsiteX6" fmla="*/ 62944 w 2051444"/>
                    <a:gd name="connsiteY6" fmla="*/ 447676 h 2389253"/>
                    <a:gd name="connsiteX7" fmla="*/ 191532 w 2051444"/>
                    <a:gd name="connsiteY7" fmla="*/ 252413 h 2389253"/>
                    <a:gd name="connsiteX8" fmla="*/ 353457 w 2051444"/>
                    <a:gd name="connsiteY8" fmla="*/ 123826 h 2389253"/>
                    <a:gd name="connsiteX9" fmla="*/ 621210 w 2051444"/>
                    <a:gd name="connsiteY9" fmla="*/ 12772 h 2389253"/>
                    <a:gd name="connsiteX10" fmla="*/ 1339294 w 2051444"/>
                    <a:gd name="connsiteY10" fmla="*/ 33338 h 2389253"/>
                    <a:gd name="connsiteX11" fmla="*/ 1601232 w 2051444"/>
                    <a:gd name="connsiteY11" fmla="*/ 14288 h 2389253"/>
                    <a:gd name="connsiteX12" fmla="*/ 1867932 w 2051444"/>
                    <a:gd name="connsiteY12" fmla="*/ 0 h 2389253"/>
                    <a:gd name="connsiteX13" fmla="*/ 1881071 w 2051444"/>
                    <a:gd name="connsiteY13" fmla="*/ 145914 h 2389253"/>
                    <a:gd name="connsiteX14" fmla="*/ 2051444 w 2051444"/>
                    <a:gd name="connsiteY14" fmla="*/ 268939 h 2389253"/>
                    <a:gd name="connsiteX15" fmla="*/ 621210 w 2051444"/>
                    <a:gd name="connsiteY15" fmla="*/ 271213 h 2389253"/>
                    <a:gd name="connsiteX16" fmla="*/ 303794 w 2051444"/>
                    <a:gd name="connsiteY16" fmla="*/ 588629 h 2389253"/>
                    <a:gd name="connsiteX17" fmla="*/ 303795 w 2051444"/>
                    <a:gd name="connsiteY17" fmla="*/ 2389253 h 2389253"/>
                    <a:gd name="connsiteX18" fmla="*/ 45354 w 2051444"/>
                    <a:gd name="connsiteY18" fmla="*/ 2389253 h 2389253"/>
                    <a:gd name="connsiteX0" fmla="*/ 45354 w 2051444"/>
                    <a:gd name="connsiteY0" fmla="*/ 2389253 h 2389253"/>
                    <a:gd name="connsiteX1" fmla="*/ 72468 w 2051444"/>
                    <a:gd name="connsiteY1" fmla="*/ 2095501 h 2389253"/>
                    <a:gd name="connsiteX2" fmla="*/ 34368 w 2051444"/>
                    <a:gd name="connsiteY2" fmla="*/ 1900238 h 2389253"/>
                    <a:gd name="connsiteX3" fmla="*/ 77231 w 2051444"/>
                    <a:gd name="connsiteY3" fmla="*/ 1319213 h 2389253"/>
                    <a:gd name="connsiteX4" fmla="*/ 24843 w 2051444"/>
                    <a:gd name="connsiteY4" fmla="*/ 952501 h 2389253"/>
                    <a:gd name="connsiteX5" fmla="*/ 12016 w 2051444"/>
                    <a:gd name="connsiteY5" fmla="*/ 583866 h 2389253"/>
                    <a:gd name="connsiteX6" fmla="*/ 62944 w 2051444"/>
                    <a:gd name="connsiteY6" fmla="*/ 447676 h 2389253"/>
                    <a:gd name="connsiteX7" fmla="*/ 191532 w 2051444"/>
                    <a:gd name="connsiteY7" fmla="*/ 252413 h 2389253"/>
                    <a:gd name="connsiteX8" fmla="*/ 353457 w 2051444"/>
                    <a:gd name="connsiteY8" fmla="*/ 123826 h 2389253"/>
                    <a:gd name="connsiteX9" fmla="*/ 621210 w 2051444"/>
                    <a:gd name="connsiteY9" fmla="*/ 12772 h 2389253"/>
                    <a:gd name="connsiteX10" fmla="*/ 1339294 w 2051444"/>
                    <a:gd name="connsiteY10" fmla="*/ 33338 h 2389253"/>
                    <a:gd name="connsiteX11" fmla="*/ 1601232 w 2051444"/>
                    <a:gd name="connsiteY11" fmla="*/ 14288 h 2389253"/>
                    <a:gd name="connsiteX12" fmla="*/ 1867932 w 2051444"/>
                    <a:gd name="connsiteY12" fmla="*/ 0 h 2389253"/>
                    <a:gd name="connsiteX13" fmla="*/ 1881071 w 2051444"/>
                    <a:gd name="connsiteY13" fmla="*/ 145914 h 2389253"/>
                    <a:gd name="connsiteX14" fmla="*/ 2051444 w 2051444"/>
                    <a:gd name="connsiteY14" fmla="*/ 268939 h 2389253"/>
                    <a:gd name="connsiteX15" fmla="*/ 621210 w 2051444"/>
                    <a:gd name="connsiteY15" fmla="*/ 271213 h 2389253"/>
                    <a:gd name="connsiteX16" fmla="*/ 303794 w 2051444"/>
                    <a:gd name="connsiteY16" fmla="*/ 588629 h 2389253"/>
                    <a:gd name="connsiteX17" fmla="*/ 303795 w 2051444"/>
                    <a:gd name="connsiteY17" fmla="*/ 2389253 h 2389253"/>
                    <a:gd name="connsiteX18" fmla="*/ 45354 w 2051444"/>
                    <a:gd name="connsiteY18" fmla="*/ 2389253 h 2389253"/>
                    <a:gd name="connsiteX0" fmla="*/ 45354 w 2051444"/>
                    <a:gd name="connsiteY0" fmla="*/ 2389253 h 2389253"/>
                    <a:gd name="connsiteX1" fmla="*/ 72468 w 2051444"/>
                    <a:gd name="connsiteY1" fmla="*/ 2095501 h 2389253"/>
                    <a:gd name="connsiteX2" fmla="*/ 34368 w 2051444"/>
                    <a:gd name="connsiteY2" fmla="*/ 1900238 h 2389253"/>
                    <a:gd name="connsiteX3" fmla="*/ 77231 w 2051444"/>
                    <a:gd name="connsiteY3" fmla="*/ 1319213 h 2389253"/>
                    <a:gd name="connsiteX4" fmla="*/ 24843 w 2051444"/>
                    <a:gd name="connsiteY4" fmla="*/ 952501 h 2389253"/>
                    <a:gd name="connsiteX5" fmla="*/ 12016 w 2051444"/>
                    <a:gd name="connsiteY5" fmla="*/ 583866 h 2389253"/>
                    <a:gd name="connsiteX6" fmla="*/ 62944 w 2051444"/>
                    <a:gd name="connsiteY6" fmla="*/ 447676 h 2389253"/>
                    <a:gd name="connsiteX7" fmla="*/ 191532 w 2051444"/>
                    <a:gd name="connsiteY7" fmla="*/ 252413 h 2389253"/>
                    <a:gd name="connsiteX8" fmla="*/ 353457 w 2051444"/>
                    <a:gd name="connsiteY8" fmla="*/ 123826 h 2389253"/>
                    <a:gd name="connsiteX9" fmla="*/ 621210 w 2051444"/>
                    <a:gd name="connsiteY9" fmla="*/ 12772 h 2389253"/>
                    <a:gd name="connsiteX10" fmla="*/ 1339294 w 2051444"/>
                    <a:gd name="connsiteY10" fmla="*/ 33338 h 2389253"/>
                    <a:gd name="connsiteX11" fmla="*/ 1601232 w 2051444"/>
                    <a:gd name="connsiteY11" fmla="*/ 14288 h 2389253"/>
                    <a:gd name="connsiteX12" fmla="*/ 1957243 w 2051444"/>
                    <a:gd name="connsiteY12" fmla="*/ 0 h 2389253"/>
                    <a:gd name="connsiteX13" fmla="*/ 1881071 w 2051444"/>
                    <a:gd name="connsiteY13" fmla="*/ 145914 h 2389253"/>
                    <a:gd name="connsiteX14" fmla="*/ 2051444 w 2051444"/>
                    <a:gd name="connsiteY14" fmla="*/ 268939 h 2389253"/>
                    <a:gd name="connsiteX15" fmla="*/ 621210 w 2051444"/>
                    <a:gd name="connsiteY15" fmla="*/ 271213 h 2389253"/>
                    <a:gd name="connsiteX16" fmla="*/ 303794 w 2051444"/>
                    <a:gd name="connsiteY16" fmla="*/ 588629 h 2389253"/>
                    <a:gd name="connsiteX17" fmla="*/ 303795 w 2051444"/>
                    <a:gd name="connsiteY17" fmla="*/ 2389253 h 2389253"/>
                    <a:gd name="connsiteX18" fmla="*/ 45354 w 2051444"/>
                    <a:gd name="connsiteY18" fmla="*/ 2389253 h 23892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</a:cxnLst>
                  <a:rect l="l" t="t" r="r" b="b"/>
                  <a:pathLst>
                    <a:path w="2051444" h="2389253">
                      <a:moveTo>
                        <a:pt x="45354" y="2389253"/>
                      </a:moveTo>
                      <a:cubicBezTo>
                        <a:pt x="44867" y="2292923"/>
                        <a:pt x="72955" y="2191831"/>
                        <a:pt x="72468" y="2095501"/>
                      </a:cubicBezTo>
                      <a:cubicBezTo>
                        <a:pt x="72468" y="2058988"/>
                        <a:pt x="34368" y="1936751"/>
                        <a:pt x="34368" y="1900238"/>
                      </a:cubicBezTo>
                      <a:cubicBezTo>
                        <a:pt x="37543" y="1711326"/>
                        <a:pt x="74056" y="1508125"/>
                        <a:pt x="77231" y="1319213"/>
                      </a:cubicBezTo>
                      <a:cubicBezTo>
                        <a:pt x="74056" y="1201738"/>
                        <a:pt x="28018" y="1069976"/>
                        <a:pt x="24843" y="952501"/>
                      </a:cubicBezTo>
                      <a:cubicBezTo>
                        <a:pt x="65017" y="807397"/>
                        <a:pt x="5179" y="705157"/>
                        <a:pt x="12016" y="583866"/>
                      </a:cubicBezTo>
                      <a:cubicBezTo>
                        <a:pt x="13604" y="499729"/>
                        <a:pt x="-38588" y="542858"/>
                        <a:pt x="62944" y="447676"/>
                      </a:cubicBezTo>
                      <a:cubicBezTo>
                        <a:pt x="96832" y="391640"/>
                        <a:pt x="143113" y="306388"/>
                        <a:pt x="191532" y="252413"/>
                      </a:cubicBezTo>
                      <a:cubicBezTo>
                        <a:pt x="239951" y="198438"/>
                        <a:pt x="285813" y="162972"/>
                        <a:pt x="353457" y="123826"/>
                      </a:cubicBezTo>
                      <a:cubicBezTo>
                        <a:pt x="421101" y="84680"/>
                        <a:pt x="455316" y="30235"/>
                        <a:pt x="621210" y="12772"/>
                      </a:cubicBezTo>
                      <a:cubicBezTo>
                        <a:pt x="863746" y="14865"/>
                        <a:pt x="1096758" y="31245"/>
                        <a:pt x="1339294" y="33338"/>
                      </a:cubicBezTo>
                      <a:lnTo>
                        <a:pt x="1601232" y="14288"/>
                      </a:lnTo>
                      <a:cubicBezTo>
                        <a:pt x="1691719" y="14288"/>
                        <a:pt x="1866756" y="0"/>
                        <a:pt x="1957243" y="0"/>
                      </a:cubicBezTo>
                      <a:lnTo>
                        <a:pt x="1881071" y="145914"/>
                      </a:lnTo>
                      <a:lnTo>
                        <a:pt x="2051444" y="268939"/>
                      </a:lnTo>
                      <a:lnTo>
                        <a:pt x="621210" y="271213"/>
                      </a:lnTo>
                      <a:cubicBezTo>
                        <a:pt x="445906" y="271213"/>
                        <a:pt x="303794" y="413325"/>
                        <a:pt x="303794" y="588629"/>
                      </a:cubicBezTo>
                      <a:cubicBezTo>
                        <a:pt x="303794" y="1188837"/>
                        <a:pt x="303795" y="1789045"/>
                        <a:pt x="303795" y="2389253"/>
                      </a:cubicBezTo>
                      <a:lnTo>
                        <a:pt x="45354" y="2389253"/>
                      </a:lnTo>
                      <a:close/>
                    </a:path>
                  </a:pathLst>
                </a:custGeom>
                <a:pattFill prst="dkDnDiag">
                  <a:fgClr>
                    <a:schemeClr val="accent4">
                      <a:lumMod val="75000"/>
                    </a:schemeClr>
                  </a:fgClr>
                  <a:bgClr>
                    <a:schemeClr val="bg1"/>
                  </a:bgClr>
                </a:pattFill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41" name="Rettangolo 6"/>
                <p:cNvSpPr/>
                <p:nvPr/>
              </p:nvSpPr>
              <p:spPr>
                <a:xfrm>
                  <a:off x="5674120" y="1790653"/>
                  <a:ext cx="300621" cy="3028426"/>
                </a:xfrm>
                <a:custGeom>
                  <a:avLst/>
                  <a:gdLst>
                    <a:gd name="connsiteX0" fmla="*/ 0 w 265176"/>
                    <a:gd name="connsiteY0" fmla="*/ 0 h 3886200"/>
                    <a:gd name="connsiteX1" fmla="*/ 265176 w 265176"/>
                    <a:gd name="connsiteY1" fmla="*/ 0 h 3886200"/>
                    <a:gd name="connsiteX2" fmla="*/ 265176 w 265176"/>
                    <a:gd name="connsiteY2" fmla="*/ 3886200 h 3886200"/>
                    <a:gd name="connsiteX3" fmla="*/ 0 w 265176"/>
                    <a:gd name="connsiteY3" fmla="*/ 3886200 h 3886200"/>
                    <a:gd name="connsiteX4" fmla="*/ 0 w 265176"/>
                    <a:gd name="connsiteY4" fmla="*/ 0 h 3886200"/>
                    <a:gd name="connsiteX0" fmla="*/ 0 w 265176"/>
                    <a:gd name="connsiteY0" fmla="*/ 155 h 3886355"/>
                    <a:gd name="connsiteX1" fmla="*/ 155448 w 265176"/>
                    <a:gd name="connsiteY1" fmla="*/ 36731 h 3886355"/>
                    <a:gd name="connsiteX2" fmla="*/ 265176 w 265176"/>
                    <a:gd name="connsiteY2" fmla="*/ 155 h 3886355"/>
                    <a:gd name="connsiteX3" fmla="*/ 265176 w 265176"/>
                    <a:gd name="connsiteY3" fmla="*/ 3886355 h 3886355"/>
                    <a:gd name="connsiteX4" fmla="*/ 0 w 265176"/>
                    <a:gd name="connsiteY4" fmla="*/ 3886355 h 3886355"/>
                    <a:gd name="connsiteX5" fmla="*/ 0 w 265176"/>
                    <a:gd name="connsiteY5" fmla="*/ 155 h 3886355"/>
                    <a:gd name="connsiteX0" fmla="*/ 0 w 265186"/>
                    <a:gd name="connsiteY0" fmla="*/ 155 h 3886355"/>
                    <a:gd name="connsiteX1" fmla="*/ 155448 w 265186"/>
                    <a:gd name="connsiteY1" fmla="*/ 36731 h 3886355"/>
                    <a:gd name="connsiteX2" fmla="*/ 265176 w 265186"/>
                    <a:gd name="connsiteY2" fmla="*/ 155 h 3886355"/>
                    <a:gd name="connsiteX3" fmla="*/ 247695 w 265186"/>
                    <a:gd name="connsiteY3" fmla="*/ 3661757 h 3886355"/>
                    <a:gd name="connsiteX4" fmla="*/ 265176 w 265186"/>
                    <a:gd name="connsiteY4" fmla="*/ 3886355 h 3886355"/>
                    <a:gd name="connsiteX5" fmla="*/ 0 w 265186"/>
                    <a:gd name="connsiteY5" fmla="*/ 3886355 h 3886355"/>
                    <a:gd name="connsiteX6" fmla="*/ 0 w 265186"/>
                    <a:gd name="connsiteY6" fmla="*/ 155 h 3886355"/>
                    <a:gd name="connsiteX0" fmla="*/ 0 w 281981"/>
                    <a:gd name="connsiteY0" fmla="*/ 155 h 3886355"/>
                    <a:gd name="connsiteX1" fmla="*/ 155448 w 281981"/>
                    <a:gd name="connsiteY1" fmla="*/ 36731 h 3886355"/>
                    <a:gd name="connsiteX2" fmla="*/ 265176 w 281981"/>
                    <a:gd name="connsiteY2" fmla="*/ 155 h 3886355"/>
                    <a:gd name="connsiteX3" fmla="*/ 281033 w 281981"/>
                    <a:gd name="connsiteY3" fmla="*/ 3452207 h 3886355"/>
                    <a:gd name="connsiteX4" fmla="*/ 247695 w 281981"/>
                    <a:gd name="connsiteY4" fmla="*/ 3661757 h 3886355"/>
                    <a:gd name="connsiteX5" fmla="*/ 265176 w 281981"/>
                    <a:gd name="connsiteY5" fmla="*/ 3886355 h 3886355"/>
                    <a:gd name="connsiteX6" fmla="*/ 0 w 281981"/>
                    <a:gd name="connsiteY6" fmla="*/ 3886355 h 3886355"/>
                    <a:gd name="connsiteX7" fmla="*/ 0 w 281981"/>
                    <a:gd name="connsiteY7" fmla="*/ 155 h 3886355"/>
                    <a:gd name="connsiteX0" fmla="*/ 0 w 281533"/>
                    <a:gd name="connsiteY0" fmla="*/ 155 h 3886355"/>
                    <a:gd name="connsiteX1" fmla="*/ 155448 w 281533"/>
                    <a:gd name="connsiteY1" fmla="*/ 36731 h 3886355"/>
                    <a:gd name="connsiteX2" fmla="*/ 265176 w 281533"/>
                    <a:gd name="connsiteY2" fmla="*/ 155 h 3886355"/>
                    <a:gd name="connsiteX3" fmla="*/ 252458 w 281533"/>
                    <a:gd name="connsiteY3" fmla="*/ 2028219 h 3886355"/>
                    <a:gd name="connsiteX4" fmla="*/ 281033 w 281533"/>
                    <a:gd name="connsiteY4" fmla="*/ 3452207 h 3886355"/>
                    <a:gd name="connsiteX5" fmla="*/ 247695 w 281533"/>
                    <a:gd name="connsiteY5" fmla="*/ 3661757 h 3886355"/>
                    <a:gd name="connsiteX6" fmla="*/ 265176 w 281533"/>
                    <a:gd name="connsiteY6" fmla="*/ 3886355 h 3886355"/>
                    <a:gd name="connsiteX7" fmla="*/ 0 w 281533"/>
                    <a:gd name="connsiteY7" fmla="*/ 3886355 h 3886355"/>
                    <a:gd name="connsiteX8" fmla="*/ 0 w 281533"/>
                    <a:gd name="connsiteY8" fmla="*/ 155 h 3886355"/>
                    <a:gd name="connsiteX0" fmla="*/ 0 w 284314"/>
                    <a:gd name="connsiteY0" fmla="*/ 155 h 3886355"/>
                    <a:gd name="connsiteX1" fmla="*/ 155448 w 284314"/>
                    <a:gd name="connsiteY1" fmla="*/ 36731 h 3886355"/>
                    <a:gd name="connsiteX2" fmla="*/ 265176 w 284314"/>
                    <a:gd name="connsiteY2" fmla="*/ 155 h 3886355"/>
                    <a:gd name="connsiteX3" fmla="*/ 252458 w 284314"/>
                    <a:gd name="connsiteY3" fmla="*/ 2028219 h 3886355"/>
                    <a:gd name="connsiteX4" fmla="*/ 281033 w 284314"/>
                    <a:gd name="connsiteY4" fmla="*/ 2914044 h 3886355"/>
                    <a:gd name="connsiteX5" fmla="*/ 281033 w 284314"/>
                    <a:gd name="connsiteY5" fmla="*/ 3452207 h 3886355"/>
                    <a:gd name="connsiteX6" fmla="*/ 247695 w 284314"/>
                    <a:gd name="connsiteY6" fmla="*/ 3661757 h 3886355"/>
                    <a:gd name="connsiteX7" fmla="*/ 265176 w 284314"/>
                    <a:gd name="connsiteY7" fmla="*/ 3886355 h 3886355"/>
                    <a:gd name="connsiteX8" fmla="*/ 0 w 284314"/>
                    <a:gd name="connsiteY8" fmla="*/ 3886355 h 3886355"/>
                    <a:gd name="connsiteX9" fmla="*/ 0 w 284314"/>
                    <a:gd name="connsiteY9" fmla="*/ 155 h 3886355"/>
                    <a:gd name="connsiteX0" fmla="*/ 0 w 281804"/>
                    <a:gd name="connsiteY0" fmla="*/ 155 h 3886355"/>
                    <a:gd name="connsiteX1" fmla="*/ 155448 w 281804"/>
                    <a:gd name="connsiteY1" fmla="*/ 36731 h 3886355"/>
                    <a:gd name="connsiteX2" fmla="*/ 265176 w 281804"/>
                    <a:gd name="connsiteY2" fmla="*/ 155 h 3886355"/>
                    <a:gd name="connsiteX3" fmla="*/ 252458 w 281804"/>
                    <a:gd name="connsiteY3" fmla="*/ 2028219 h 3886355"/>
                    <a:gd name="connsiteX4" fmla="*/ 281033 w 281804"/>
                    <a:gd name="connsiteY4" fmla="*/ 2914044 h 3886355"/>
                    <a:gd name="connsiteX5" fmla="*/ 252457 w 281804"/>
                    <a:gd name="connsiteY5" fmla="*/ 3195032 h 3886355"/>
                    <a:gd name="connsiteX6" fmla="*/ 281033 w 281804"/>
                    <a:gd name="connsiteY6" fmla="*/ 3452207 h 3886355"/>
                    <a:gd name="connsiteX7" fmla="*/ 247695 w 281804"/>
                    <a:gd name="connsiteY7" fmla="*/ 3661757 h 3886355"/>
                    <a:gd name="connsiteX8" fmla="*/ 265176 w 281804"/>
                    <a:gd name="connsiteY8" fmla="*/ 3886355 h 3886355"/>
                    <a:gd name="connsiteX9" fmla="*/ 0 w 281804"/>
                    <a:gd name="connsiteY9" fmla="*/ 3886355 h 3886355"/>
                    <a:gd name="connsiteX10" fmla="*/ 0 w 281804"/>
                    <a:gd name="connsiteY10" fmla="*/ 155 h 3886355"/>
                    <a:gd name="connsiteX0" fmla="*/ 0 w 281804"/>
                    <a:gd name="connsiteY0" fmla="*/ 155 h 3886355"/>
                    <a:gd name="connsiteX1" fmla="*/ 155448 w 281804"/>
                    <a:gd name="connsiteY1" fmla="*/ 36731 h 3886355"/>
                    <a:gd name="connsiteX2" fmla="*/ 265176 w 281804"/>
                    <a:gd name="connsiteY2" fmla="*/ 155 h 3886355"/>
                    <a:gd name="connsiteX3" fmla="*/ 252458 w 281804"/>
                    <a:gd name="connsiteY3" fmla="*/ 2028219 h 3886355"/>
                    <a:gd name="connsiteX4" fmla="*/ 281033 w 281804"/>
                    <a:gd name="connsiteY4" fmla="*/ 2914044 h 3886355"/>
                    <a:gd name="connsiteX5" fmla="*/ 252457 w 281804"/>
                    <a:gd name="connsiteY5" fmla="*/ 3195032 h 3886355"/>
                    <a:gd name="connsiteX6" fmla="*/ 281033 w 281804"/>
                    <a:gd name="connsiteY6" fmla="*/ 3452207 h 3886355"/>
                    <a:gd name="connsiteX7" fmla="*/ 266745 w 281804"/>
                    <a:gd name="connsiteY7" fmla="*/ 3661757 h 3886355"/>
                    <a:gd name="connsiteX8" fmla="*/ 265176 w 281804"/>
                    <a:gd name="connsiteY8" fmla="*/ 3886355 h 3886355"/>
                    <a:gd name="connsiteX9" fmla="*/ 0 w 281804"/>
                    <a:gd name="connsiteY9" fmla="*/ 3886355 h 3886355"/>
                    <a:gd name="connsiteX10" fmla="*/ 0 w 281804"/>
                    <a:gd name="connsiteY10" fmla="*/ 155 h 3886355"/>
                    <a:gd name="connsiteX0" fmla="*/ 0 w 281804"/>
                    <a:gd name="connsiteY0" fmla="*/ 155 h 3886355"/>
                    <a:gd name="connsiteX1" fmla="*/ 155448 w 281804"/>
                    <a:gd name="connsiteY1" fmla="*/ 36731 h 3886355"/>
                    <a:gd name="connsiteX2" fmla="*/ 265176 w 281804"/>
                    <a:gd name="connsiteY2" fmla="*/ 155 h 3886355"/>
                    <a:gd name="connsiteX3" fmla="*/ 252458 w 281804"/>
                    <a:gd name="connsiteY3" fmla="*/ 2028219 h 3886355"/>
                    <a:gd name="connsiteX4" fmla="*/ 233407 w 281804"/>
                    <a:gd name="connsiteY4" fmla="*/ 2242532 h 3886355"/>
                    <a:gd name="connsiteX5" fmla="*/ 281033 w 281804"/>
                    <a:gd name="connsiteY5" fmla="*/ 2914044 h 3886355"/>
                    <a:gd name="connsiteX6" fmla="*/ 252457 w 281804"/>
                    <a:gd name="connsiteY6" fmla="*/ 3195032 h 3886355"/>
                    <a:gd name="connsiteX7" fmla="*/ 281033 w 281804"/>
                    <a:gd name="connsiteY7" fmla="*/ 3452207 h 3886355"/>
                    <a:gd name="connsiteX8" fmla="*/ 266745 w 281804"/>
                    <a:gd name="connsiteY8" fmla="*/ 3661757 h 3886355"/>
                    <a:gd name="connsiteX9" fmla="*/ 265176 w 281804"/>
                    <a:gd name="connsiteY9" fmla="*/ 3886355 h 3886355"/>
                    <a:gd name="connsiteX10" fmla="*/ 0 w 281804"/>
                    <a:gd name="connsiteY10" fmla="*/ 3886355 h 3886355"/>
                    <a:gd name="connsiteX11" fmla="*/ 0 w 281804"/>
                    <a:gd name="connsiteY11" fmla="*/ 155 h 3886355"/>
                    <a:gd name="connsiteX0" fmla="*/ 0 w 286180"/>
                    <a:gd name="connsiteY0" fmla="*/ 155 h 3886355"/>
                    <a:gd name="connsiteX1" fmla="*/ 155448 w 286180"/>
                    <a:gd name="connsiteY1" fmla="*/ 36731 h 3886355"/>
                    <a:gd name="connsiteX2" fmla="*/ 265176 w 286180"/>
                    <a:gd name="connsiteY2" fmla="*/ 155 h 3886355"/>
                    <a:gd name="connsiteX3" fmla="*/ 285794 w 286180"/>
                    <a:gd name="connsiteY3" fmla="*/ 1599594 h 3886355"/>
                    <a:gd name="connsiteX4" fmla="*/ 252458 w 286180"/>
                    <a:gd name="connsiteY4" fmla="*/ 2028219 h 3886355"/>
                    <a:gd name="connsiteX5" fmla="*/ 233407 w 286180"/>
                    <a:gd name="connsiteY5" fmla="*/ 2242532 h 3886355"/>
                    <a:gd name="connsiteX6" fmla="*/ 281033 w 286180"/>
                    <a:gd name="connsiteY6" fmla="*/ 2914044 h 3886355"/>
                    <a:gd name="connsiteX7" fmla="*/ 252457 w 286180"/>
                    <a:gd name="connsiteY7" fmla="*/ 3195032 h 3886355"/>
                    <a:gd name="connsiteX8" fmla="*/ 281033 w 286180"/>
                    <a:gd name="connsiteY8" fmla="*/ 3452207 h 3886355"/>
                    <a:gd name="connsiteX9" fmla="*/ 266745 w 286180"/>
                    <a:gd name="connsiteY9" fmla="*/ 3661757 h 3886355"/>
                    <a:gd name="connsiteX10" fmla="*/ 265176 w 286180"/>
                    <a:gd name="connsiteY10" fmla="*/ 3886355 h 3886355"/>
                    <a:gd name="connsiteX11" fmla="*/ 0 w 286180"/>
                    <a:gd name="connsiteY11" fmla="*/ 3886355 h 3886355"/>
                    <a:gd name="connsiteX12" fmla="*/ 0 w 286180"/>
                    <a:gd name="connsiteY12" fmla="*/ 155 h 3886355"/>
                    <a:gd name="connsiteX0" fmla="*/ 0 w 285982"/>
                    <a:gd name="connsiteY0" fmla="*/ 155 h 3886355"/>
                    <a:gd name="connsiteX1" fmla="*/ 155448 w 285982"/>
                    <a:gd name="connsiteY1" fmla="*/ 36731 h 3886355"/>
                    <a:gd name="connsiteX2" fmla="*/ 265176 w 285982"/>
                    <a:gd name="connsiteY2" fmla="*/ 155 h 3886355"/>
                    <a:gd name="connsiteX3" fmla="*/ 247694 w 285982"/>
                    <a:gd name="connsiteY3" fmla="*/ 242282 h 3886355"/>
                    <a:gd name="connsiteX4" fmla="*/ 285794 w 285982"/>
                    <a:gd name="connsiteY4" fmla="*/ 1599594 h 3886355"/>
                    <a:gd name="connsiteX5" fmla="*/ 252458 w 285982"/>
                    <a:gd name="connsiteY5" fmla="*/ 2028219 h 3886355"/>
                    <a:gd name="connsiteX6" fmla="*/ 233407 w 285982"/>
                    <a:gd name="connsiteY6" fmla="*/ 2242532 h 3886355"/>
                    <a:gd name="connsiteX7" fmla="*/ 281033 w 285982"/>
                    <a:gd name="connsiteY7" fmla="*/ 2914044 h 3886355"/>
                    <a:gd name="connsiteX8" fmla="*/ 252457 w 285982"/>
                    <a:gd name="connsiteY8" fmla="*/ 3195032 h 3886355"/>
                    <a:gd name="connsiteX9" fmla="*/ 281033 w 285982"/>
                    <a:gd name="connsiteY9" fmla="*/ 3452207 h 3886355"/>
                    <a:gd name="connsiteX10" fmla="*/ 266745 w 285982"/>
                    <a:gd name="connsiteY10" fmla="*/ 3661757 h 3886355"/>
                    <a:gd name="connsiteX11" fmla="*/ 265176 w 285982"/>
                    <a:gd name="connsiteY11" fmla="*/ 3886355 h 3886355"/>
                    <a:gd name="connsiteX12" fmla="*/ 0 w 285982"/>
                    <a:gd name="connsiteY12" fmla="*/ 3886355 h 3886355"/>
                    <a:gd name="connsiteX13" fmla="*/ 0 w 285982"/>
                    <a:gd name="connsiteY13" fmla="*/ 155 h 3886355"/>
                    <a:gd name="connsiteX0" fmla="*/ 0 w 286354"/>
                    <a:gd name="connsiteY0" fmla="*/ 155 h 3886355"/>
                    <a:gd name="connsiteX1" fmla="*/ 155448 w 286354"/>
                    <a:gd name="connsiteY1" fmla="*/ 36731 h 3886355"/>
                    <a:gd name="connsiteX2" fmla="*/ 265176 w 286354"/>
                    <a:gd name="connsiteY2" fmla="*/ 155 h 3886355"/>
                    <a:gd name="connsiteX3" fmla="*/ 247694 w 286354"/>
                    <a:gd name="connsiteY3" fmla="*/ 242282 h 3886355"/>
                    <a:gd name="connsiteX4" fmla="*/ 257219 w 286354"/>
                    <a:gd name="connsiteY4" fmla="*/ 1180494 h 3886355"/>
                    <a:gd name="connsiteX5" fmla="*/ 285794 w 286354"/>
                    <a:gd name="connsiteY5" fmla="*/ 1599594 h 3886355"/>
                    <a:gd name="connsiteX6" fmla="*/ 252458 w 286354"/>
                    <a:gd name="connsiteY6" fmla="*/ 2028219 h 3886355"/>
                    <a:gd name="connsiteX7" fmla="*/ 233407 w 286354"/>
                    <a:gd name="connsiteY7" fmla="*/ 2242532 h 3886355"/>
                    <a:gd name="connsiteX8" fmla="*/ 281033 w 286354"/>
                    <a:gd name="connsiteY8" fmla="*/ 2914044 h 3886355"/>
                    <a:gd name="connsiteX9" fmla="*/ 252457 w 286354"/>
                    <a:gd name="connsiteY9" fmla="*/ 3195032 h 3886355"/>
                    <a:gd name="connsiteX10" fmla="*/ 281033 w 286354"/>
                    <a:gd name="connsiteY10" fmla="*/ 3452207 h 3886355"/>
                    <a:gd name="connsiteX11" fmla="*/ 266745 w 286354"/>
                    <a:gd name="connsiteY11" fmla="*/ 3661757 h 3886355"/>
                    <a:gd name="connsiteX12" fmla="*/ 265176 w 286354"/>
                    <a:gd name="connsiteY12" fmla="*/ 3886355 h 3886355"/>
                    <a:gd name="connsiteX13" fmla="*/ 0 w 286354"/>
                    <a:gd name="connsiteY13" fmla="*/ 3886355 h 3886355"/>
                    <a:gd name="connsiteX14" fmla="*/ 0 w 286354"/>
                    <a:gd name="connsiteY14" fmla="*/ 155 h 3886355"/>
                    <a:gd name="connsiteX0" fmla="*/ 0 w 286354"/>
                    <a:gd name="connsiteY0" fmla="*/ 155 h 3886355"/>
                    <a:gd name="connsiteX1" fmla="*/ 155448 w 286354"/>
                    <a:gd name="connsiteY1" fmla="*/ 36731 h 3886355"/>
                    <a:gd name="connsiteX2" fmla="*/ 265176 w 286354"/>
                    <a:gd name="connsiteY2" fmla="*/ 155 h 3886355"/>
                    <a:gd name="connsiteX3" fmla="*/ 276269 w 286354"/>
                    <a:gd name="connsiteY3" fmla="*/ 242282 h 3886355"/>
                    <a:gd name="connsiteX4" fmla="*/ 257219 w 286354"/>
                    <a:gd name="connsiteY4" fmla="*/ 1180494 h 3886355"/>
                    <a:gd name="connsiteX5" fmla="*/ 285794 w 286354"/>
                    <a:gd name="connsiteY5" fmla="*/ 1599594 h 3886355"/>
                    <a:gd name="connsiteX6" fmla="*/ 252458 w 286354"/>
                    <a:gd name="connsiteY6" fmla="*/ 2028219 h 3886355"/>
                    <a:gd name="connsiteX7" fmla="*/ 233407 w 286354"/>
                    <a:gd name="connsiteY7" fmla="*/ 2242532 h 3886355"/>
                    <a:gd name="connsiteX8" fmla="*/ 281033 w 286354"/>
                    <a:gd name="connsiteY8" fmla="*/ 2914044 h 3886355"/>
                    <a:gd name="connsiteX9" fmla="*/ 252457 w 286354"/>
                    <a:gd name="connsiteY9" fmla="*/ 3195032 h 3886355"/>
                    <a:gd name="connsiteX10" fmla="*/ 281033 w 286354"/>
                    <a:gd name="connsiteY10" fmla="*/ 3452207 h 3886355"/>
                    <a:gd name="connsiteX11" fmla="*/ 266745 w 286354"/>
                    <a:gd name="connsiteY11" fmla="*/ 3661757 h 3886355"/>
                    <a:gd name="connsiteX12" fmla="*/ 265176 w 286354"/>
                    <a:gd name="connsiteY12" fmla="*/ 3886355 h 3886355"/>
                    <a:gd name="connsiteX13" fmla="*/ 0 w 286354"/>
                    <a:gd name="connsiteY13" fmla="*/ 3886355 h 3886355"/>
                    <a:gd name="connsiteX14" fmla="*/ 0 w 286354"/>
                    <a:gd name="connsiteY14" fmla="*/ 155 h 3886355"/>
                    <a:gd name="connsiteX0" fmla="*/ 0 w 286838"/>
                    <a:gd name="connsiteY0" fmla="*/ 155 h 3886355"/>
                    <a:gd name="connsiteX1" fmla="*/ 155448 w 286838"/>
                    <a:gd name="connsiteY1" fmla="*/ 36731 h 3886355"/>
                    <a:gd name="connsiteX2" fmla="*/ 265176 w 286838"/>
                    <a:gd name="connsiteY2" fmla="*/ 155 h 3886355"/>
                    <a:gd name="connsiteX3" fmla="*/ 276269 w 286838"/>
                    <a:gd name="connsiteY3" fmla="*/ 242282 h 3886355"/>
                    <a:gd name="connsiteX4" fmla="*/ 271506 w 286838"/>
                    <a:gd name="connsiteY4" fmla="*/ 1180494 h 3886355"/>
                    <a:gd name="connsiteX5" fmla="*/ 285794 w 286838"/>
                    <a:gd name="connsiteY5" fmla="*/ 1599594 h 3886355"/>
                    <a:gd name="connsiteX6" fmla="*/ 252458 w 286838"/>
                    <a:gd name="connsiteY6" fmla="*/ 2028219 h 3886355"/>
                    <a:gd name="connsiteX7" fmla="*/ 233407 w 286838"/>
                    <a:gd name="connsiteY7" fmla="*/ 2242532 h 3886355"/>
                    <a:gd name="connsiteX8" fmla="*/ 281033 w 286838"/>
                    <a:gd name="connsiteY8" fmla="*/ 2914044 h 3886355"/>
                    <a:gd name="connsiteX9" fmla="*/ 252457 w 286838"/>
                    <a:gd name="connsiteY9" fmla="*/ 3195032 h 3886355"/>
                    <a:gd name="connsiteX10" fmla="*/ 281033 w 286838"/>
                    <a:gd name="connsiteY10" fmla="*/ 3452207 h 3886355"/>
                    <a:gd name="connsiteX11" fmla="*/ 266745 w 286838"/>
                    <a:gd name="connsiteY11" fmla="*/ 3661757 h 3886355"/>
                    <a:gd name="connsiteX12" fmla="*/ 265176 w 286838"/>
                    <a:gd name="connsiteY12" fmla="*/ 3886355 h 3886355"/>
                    <a:gd name="connsiteX13" fmla="*/ 0 w 286838"/>
                    <a:gd name="connsiteY13" fmla="*/ 3886355 h 3886355"/>
                    <a:gd name="connsiteX14" fmla="*/ 0 w 286838"/>
                    <a:gd name="connsiteY14" fmla="*/ 155 h 3886355"/>
                    <a:gd name="connsiteX0" fmla="*/ 0 w 286838"/>
                    <a:gd name="connsiteY0" fmla="*/ 155 h 3886355"/>
                    <a:gd name="connsiteX1" fmla="*/ 155448 w 286838"/>
                    <a:gd name="connsiteY1" fmla="*/ 36731 h 3886355"/>
                    <a:gd name="connsiteX2" fmla="*/ 265176 w 286838"/>
                    <a:gd name="connsiteY2" fmla="*/ 155 h 3886355"/>
                    <a:gd name="connsiteX3" fmla="*/ 276269 w 286838"/>
                    <a:gd name="connsiteY3" fmla="*/ 242282 h 3886355"/>
                    <a:gd name="connsiteX4" fmla="*/ 271506 w 286838"/>
                    <a:gd name="connsiteY4" fmla="*/ 1180494 h 3886355"/>
                    <a:gd name="connsiteX5" fmla="*/ 285794 w 286838"/>
                    <a:gd name="connsiteY5" fmla="*/ 1599594 h 3886355"/>
                    <a:gd name="connsiteX6" fmla="*/ 252458 w 286838"/>
                    <a:gd name="connsiteY6" fmla="*/ 2028219 h 3886355"/>
                    <a:gd name="connsiteX7" fmla="*/ 257219 w 286838"/>
                    <a:gd name="connsiteY7" fmla="*/ 2252057 h 3886355"/>
                    <a:gd name="connsiteX8" fmla="*/ 281033 w 286838"/>
                    <a:gd name="connsiteY8" fmla="*/ 2914044 h 3886355"/>
                    <a:gd name="connsiteX9" fmla="*/ 252457 w 286838"/>
                    <a:gd name="connsiteY9" fmla="*/ 3195032 h 3886355"/>
                    <a:gd name="connsiteX10" fmla="*/ 281033 w 286838"/>
                    <a:gd name="connsiteY10" fmla="*/ 3452207 h 3886355"/>
                    <a:gd name="connsiteX11" fmla="*/ 266745 w 286838"/>
                    <a:gd name="connsiteY11" fmla="*/ 3661757 h 3886355"/>
                    <a:gd name="connsiteX12" fmla="*/ 265176 w 286838"/>
                    <a:gd name="connsiteY12" fmla="*/ 3886355 h 3886355"/>
                    <a:gd name="connsiteX13" fmla="*/ 0 w 286838"/>
                    <a:gd name="connsiteY13" fmla="*/ 3886355 h 3886355"/>
                    <a:gd name="connsiteX14" fmla="*/ 0 w 286838"/>
                    <a:gd name="connsiteY14" fmla="*/ 155 h 3886355"/>
                    <a:gd name="connsiteX0" fmla="*/ 0 w 286838"/>
                    <a:gd name="connsiteY0" fmla="*/ 155 h 3886355"/>
                    <a:gd name="connsiteX1" fmla="*/ 155448 w 286838"/>
                    <a:gd name="connsiteY1" fmla="*/ 36731 h 3886355"/>
                    <a:gd name="connsiteX2" fmla="*/ 265176 w 286838"/>
                    <a:gd name="connsiteY2" fmla="*/ 155 h 3886355"/>
                    <a:gd name="connsiteX3" fmla="*/ 276269 w 286838"/>
                    <a:gd name="connsiteY3" fmla="*/ 242282 h 3886355"/>
                    <a:gd name="connsiteX4" fmla="*/ 271506 w 286838"/>
                    <a:gd name="connsiteY4" fmla="*/ 1180494 h 3886355"/>
                    <a:gd name="connsiteX5" fmla="*/ 285794 w 286838"/>
                    <a:gd name="connsiteY5" fmla="*/ 1599594 h 3886355"/>
                    <a:gd name="connsiteX6" fmla="*/ 252458 w 286838"/>
                    <a:gd name="connsiteY6" fmla="*/ 2028219 h 3886355"/>
                    <a:gd name="connsiteX7" fmla="*/ 257219 w 286838"/>
                    <a:gd name="connsiteY7" fmla="*/ 2252057 h 3886355"/>
                    <a:gd name="connsiteX8" fmla="*/ 281033 w 286838"/>
                    <a:gd name="connsiteY8" fmla="*/ 2914044 h 3886355"/>
                    <a:gd name="connsiteX9" fmla="*/ 252457 w 286838"/>
                    <a:gd name="connsiteY9" fmla="*/ 3195032 h 3886355"/>
                    <a:gd name="connsiteX10" fmla="*/ 261983 w 286838"/>
                    <a:gd name="connsiteY10" fmla="*/ 3433157 h 3886355"/>
                    <a:gd name="connsiteX11" fmla="*/ 266745 w 286838"/>
                    <a:gd name="connsiteY11" fmla="*/ 3661757 h 3886355"/>
                    <a:gd name="connsiteX12" fmla="*/ 265176 w 286838"/>
                    <a:gd name="connsiteY12" fmla="*/ 3886355 h 3886355"/>
                    <a:gd name="connsiteX13" fmla="*/ 0 w 286838"/>
                    <a:gd name="connsiteY13" fmla="*/ 3886355 h 3886355"/>
                    <a:gd name="connsiteX14" fmla="*/ 0 w 286838"/>
                    <a:gd name="connsiteY14" fmla="*/ 155 h 3886355"/>
                    <a:gd name="connsiteX0" fmla="*/ 0 w 286838"/>
                    <a:gd name="connsiteY0" fmla="*/ 155 h 3886355"/>
                    <a:gd name="connsiteX1" fmla="*/ 155448 w 286838"/>
                    <a:gd name="connsiteY1" fmla="*/ 36731 h 3886355"/>
                    <a:gd name="connsiteX2" fmla="*/ 265176 w 286838"/>
                    <a:gd name="connsiteY2" fmla="*/ 155 h 3886355"/>
                    <a:gd name="connsiteX3" fmla="*/ 276269 w 286838"/>
                    <a:gd name="connsiteY3" fmla="*/ 242282 h 3886355"/>
                    <a:gd name="connsiteX4" fmla="*/ 271506 w 286838"/>
                    <a:gd name="connsiteY4" fmla="*/ 1180494 h 3886355"/>
                    <a:gd name="connsiteX5" fmla="*/ 285794 w 286838"/>
                    <a:gd name="connsiteY5" fmla="*/ 1599594 h 3886355"/>
                    <a:gd name="connsiteX6" fmla="*/ 252458 w 286838"/>
                    <a:gd name="connsiteY6" fmla="*/ 2028219 h 3886355"/>
                    <a:gd name="connsiteX7" fmla="*/ 257219 w 286838"/>
                    <a:gd name="connsiteY7" fmla="*/ 2252057 h 3886355"/>
                    <a:gd name="connsiteX8" fmla="*/ 281033 w 286838"/>
                    <a:gd name="connsiteY8" fmla="*/ 2914044 h 3886355"/>
                    <a:gd name="connsiteX9" fmla="*/ 266744 w 286838"/>
                    <a:gd name="connsiteY9" fmla="*/ 3195032 h 3886355"/>
                    <a:gd name="connsiteX10" fmla="*/ 261983 w 286838"/>
                    <a:gd name="connsiteY10" fmla="*/ 3433157 h 3886355"/>
                    <a:gd name="connsiteX11" fmla="*/ 266745 w 286838"/>
                    <a:gd name="connsiteY11" fmla="*/ 3661757 h 3886355"/>
                    <a:gd name="connsiteX12" fmla="*/ 265176 w 286838"/>
                    <a:gd name="connsiteY12" fmla="*/ 3886355 h 3886355"/>
                    <a:gd name="connsiteX13" fmla="*/ 0 w 286838"/>
                    <a:gd name="connsiteY13" fmla="*/ 3886355 h 3886355"/>
                    <a:gd name="connsiteX14" fmla="*/ 0 w 286838"/>
                    <a:gd name="connsiteY14" fmla="*/ 155 h 3886355"/>
                    <a:gd name="connsiteX0" fmla="*/ 0 w 293751"/>
                    <a:gd name="connsiteY0" fmla="*/ 155 h 3895880"/>
                    <a:gd name="connsiteX1" fmla="*/ 155448 w 293751"/>
                    <a:gd name="connsiteY1" fmla="*/ 36731 h 3895880"/>
                    <a:gd name="connsiteX2" fmla="*/ 265176 w 293751"/>
                    <a:gd name="connsiteY2" fmla="*/ 155 h 3895880"/>
                    <a:gd name="connsiteX3" fmla="*/ 276269 w 293751"/>
                    <a:gd name="connsiteY3" fmla="*/ 242282 h 3895880"/>
                    <a:gd name="connsiteX4" fmla="*/ 271506 w 293751"/>
                    <a:gd name="connsiteY4" fmla="*/ 1180494 h 3895880"/>
                    <a:gd name="connsiteX5" fmla="*/ 285794 w 293751"/>
                    <a:gd name="connsiteY5" fmla="*/ 1599594 h 3895880"/>
                    <a:gd name="connsiteX6" fmla="*/ 252458 w 293751"/>
                    <a:gd name="connsiteY6" fmla="*/ 2028219 h 3895880"/>
                    <a:gd name="connsiteX7" fmla="*/ 257219 w 293751"/>
                    <a:gd name="connsiteY7" fmla="*/ 2252057 h 3895880"/>
                    <a:gd name="connsiteX8" fmla="*/ 281033 w 293751"/>
                    <a:gd name="connsiteY8" fmla="*/ 2914044 h 3895880"/>
                    <a:gd name="connsiteX9" fmla="*/ 266744 w 293751"/>
                    <a:gd name="connsiteY9" fmla="*/ 3195032 h 3895880"/>
                    <a:gd name="connsiteX10" fmla="*/ 261983 w 293751"/>
                    <a:gd name="connsiteY10" fmla="*/ 3433157 h 3895880"/>
                    <a:gd name="connsiteX11" fmla="*/ 266745 w 293751"/>
                    <a:gd name="connsiteY11" fmla="*/ 3661757 h 3895880"/>
                    <a:gd name="connsiteX12" fmla="*/ 293751 w 293751"/>
                    <a:gd name="connsiteY12" fmla="*/ 3895880 h 3895880"/>
                    <a:gd name="connsiteX13" fmla="*/ 0 w 293751"/>
                    <a:gd name="connsiteY13" fmla="*/ 3886355 h 3895880"/>
                    <a:gd name="connsiteX14" fmla="*/ 0 w 293751"/>
                    <a:gd name="connsiteY14" fmla="*/ 155 h 3895880"/>
                    <a:gd name="connsiteX0" fmla="*/ 0 w 300621"/>
                    <a:gd name="connsiteY0" fmla="*/ 927453 h 3895725"/>
                    <a:gd name="connsiteX1" fmla="*/ 162318 w 300621"/>
                    <a:gd name="connsiteY1" fmla="*/ 36576 h 3895725"/>
                    <a:gd name="connsiteX2" fmla="*/ 272046 w 300621"/>
                    <a:gd name="connsiteY2" fmla="*/ 0 h 3895725"/>
                    <a:gd name="connsiteX3" fmla="*/ 283139 w 300621"/>
                    <a:gd name="connsiteY3" fmla="*/ 242127 h 3895725"/>
                    <a:gd name="connsiteX4" fmla="*/ 278376 w 300621"/>
                    <a:gd name="connsiteY4" fmla="*/ 1180339 h 3895725"/>
                    <a:gd name="connsiteX5" fmla="*/ 292664 w 300621"/>
                    <a:gd name="connsiteY5" fmla="*/ 1599439 h 3895725"/>
                    <a:gd name="connsiteX6" fmla="*/ 259328 w 300621"/>
                    <a:gd name="connsiteY6" fmla="*/ 2028064 h 3895725"/>
                    <a:gd name="connsiteX7" fmla="*/ 264089 w 300621"/>
                    <a:gd name="connsiteY7" fmla="*/ 2251902 h 3895725"/>
                    <a:gd name="connsiteX8" fmla="*/ 287903 w 300621"/>
                    <a:gd name="connsiteY8" fmla="*/ 2913889 h 3895725"/>
                    <a:gd name="connsiteX9" fmla="*/ 273614 w 300621"/>
                    <a:gd name="connsiteY9" fmla="*/ 3194877 h 3895725"/>
                    <a:gd name="connsiteX10" fmla="*/ 268853 w 300621"/>
                    <a:gd name="connsiteY10" fmla="*/ 3433002 h 3895725"/>
                    <a:gd name="connsiteX11" fmla="*/ 273615 w 300621"/>
                    <a:gd name="connsiteY11" fmla="*/ 3661602 h 3895725"/>
                    <a:gd name="connsiteX12" fmla="*/ 300621 w 300621"/>
                    <a:gd name="connsiteY12" fmla="*/ 3895725 h 3895725"/>
                    <a:gd name="connsiteX13" fmla="*/ 6870 w 300621"/>
                    <a:gd name="connsiteY13" fmla="*/ 3886200 h 3895725"/>
                    <a:gd name="connsiteX14" fmla="*/ 0 w 300621"/>
                    <a:gd name="connsiteY14" fmla="*/ 927453 h 3895725"/>
                    <a:gd name="connsiteX0" fmla="*/ 0 w 300621"/>
                    <a:gd name="connsiteY0" fmla="*/ 927453 h 3895725"/>
                    <a:gd name="connsiteX1" fmla="*/ 127968 w 300621"/>
                    <a:gd name="connsiteY1" fmla="*/ 970899 h 3895725"/>
                    <a:gd name="connsiteX2" fmla="*/ 272046 w 300621"/>
                    <a:gd name="connsiteY2" fmla="*/ 0 h 3895725"/>
                    <a:gd name="connsiteX3" fmla="*/ 283139 w 300621"/>
                    <a:gd name="connsiteY3" fmla="*/ 242127 h 3895725"/>
                    <a:gd name="connsiteX4" fmla="*/ 278376 w 300621"/>
                    <a:gd name="connsiteY4" fmla="*/ 1180339 h 3895725"/>
                    <a:gd name="connsiteX5" fmla="*/ 292664 w 300621"/>
                    <a:gd name="connsiteY5" fmla="*/ 1599439 h 3895725"/>
                    <a:gd name="connsiteX6" fmla="*/ 259328 w 300621"/>
                    <a:gd name="connsiteY6" fmla="*/ 2028064 h 3895725"/>
                    <a:gd name="connsiteX7" fmla="*/ 264089 w 300621"/>
                    <a:gd name="connsiteY7" fmla="*/ 2251902 h 3895725"/>
                    <a:gd name="connsiteX8" fmla="*/ 287903 w 300621"/>
                    <a:gd name="connsiteY8" fmla="*/ 2913889 h 3895725"/>
                    <a:gd name="connsiteX9" fmla="*/ 273614 w 300621"/>
                    <a:gd name="connsiteY9" fmla="*/ 3194877 h 3895725"/>
                    <a:gd name="connsiteX10" fmla="*/ 268853 w 300621"/>
                    <a:gd name="connsiteY10" fmla="*/ 3433002 h 3895725"/>
                    <a:gd name="connsiteX11" fmla="*/ 273615 w 300621"/>
                    <a:gd name="connsiteY11" fmla="*/ 3661602 h 3895725"/>
                    <a:gd name="connsiteX12" fmla="*/ 300621 w 300621"/>
                    <a:gd name="connsiteY12" fmla="*/ 3895725 h 3895725"/>
                    <a:gd name="connsiteX13" fmla="*/ 6870 w 300621"/>
                    <a:gd name="connsiteY13" fmla="*/ 3886200 h 3895725"/>
                    <a:gd name="connsiteX14" fmla="*/ 0 w 300621"/>
                    <a:gd name="connsiteY14" fmla="*/ 927453 h 3895725"/>
                    <a:gd name="connsiteX0" fmla="*/ 0 w 300621"/>
                    <a:gd name="connsiteY0" fmla="*/ 685326 h 3653598"/>
                    <a:gd name="connsiteX1" fmla="*/ 127968 w 300621"/>
                    <a:gd name="connsiteY1" fmla="*/ 728772 h 3653598"/>
                    <a:gd name="connsiteX2" fmla="*/ 283139 w 300621"/>
                    <a:gd name="connsiteY2" fmla="*/ 0 h 3653598"/>
                    <a:gd name="connsiteX3" fmla="*/ 278376 w 300621"/>
                    <a:gd name="connsiteY3" fmla="*/ 938212 h 3653598"/>
                    <a:gd name="connsiteX4" fmla="*/ 292664 w 300621"/>
                    <a:gd name="connsiteY4" fmla="*/ 1357312 h 3653598"/>
                    <a:gd name="connsiteX5" fmla="*/ 259328 w 300621"/>
                    <a:gd name="connsiteY5" fmla="*/ 1785937 h 3653598"/>
                    <a:gd name="connsiteX6" fmla="*/ 264089 w 300621"/>
                    <a:gd name="connsiteY6" fmla="*/ 2009775 h 3653598"/>
                    <a:gd name="connsiteX7" fmla="*/ 287903 w 300621"/>
                    <a:gd name="connsiteY7" fmla="*/ 2671762 h 3653598"/>
                    <a:gd name="connsiteX8" fmla="*/ 273614 w 300621"/>
                    <a:gd name="connsiteY8" fmla="*/ 2952750 h 3653598"/>
                    <a:gd name="connsiteX9" fmla="*/ 268853 w 300621"/>
                    <a:gd name="connsiteY9" fmla="*/ 3190875 h 3653598"/>
                    <a:gd name="connsiteX10" fmla="*/ 273615 w 300621"/>
                    <a:gd name="connsiteY10" fmla="*/ 3419475 h 3653598"/>
                    <a:gd name="connsiteX11" fmla="*/ 300621 w 300621"/>
                    <a:gd name="connsiteY11" fmla="*/ 3653598 h 3653598"/>
                    <a:gd name="connsiteX12" fmla="*/ 6870 w 300621"/>
                    <a:gd name="connsiteY12" fmla="*/ 3644073 h 3653598"/>
                    <a:gd name="connsiteX13" fmla="*/ 0 w 300621"/>
                    <a:gd name="connsiteY13" fmla="*/ 685326 h 3653598"/>
                    <a:gd name="connsiteX0" fmla="*/ 0 w 300621"/>
                    <a:gd name="connsiteY0" fmla="*/ 60154 h 3028426"/>
                    <a:gd name="connsiteX1" fmla="*/ 127968 w 300621"/>
                    <a:gd name="connsiteY1" fmla="*/ 103600 h 3028426"/>
                    <a:gd name="connsiteX2" fmla="*/ 283139 w 300621"/>
                    <a:gd name="connsiteY2" fmla="*/ 0 h 3028426"/>
                    <a:gd name="connsiteX3" fmla="*/ 278376 w 300621"/>
                    <a:gd name="connsiteY3" fmla="*/ 313040 h 3028426"/>
                    <a:gd name="connsiteX4" fmla="*/ 292664 w 300621"/>
                    <a:gd name="connsiteY4" fmla="*/ 732140 h 3028426"/>
                    <a:gd name="connsiteX5" fmla="*/ 259328 w 300621"/>
                    <a:gd name="connsiteY5" fmla="*/ 1160765 h 3028426"/>
                    <a:gd name="connsiteX6" fmla="*/ 264089 w 300621"/>
                    <a:gd name="connsiteY6" fmla="*/ 1384603 h 3028426"/>
                    <a:gd name="connsiteX7" fmla="*/ 287903 w 300621"/>
                    <a:gd name="connsiteY7" fmla="*/ 2046590 h 3028426"/>
                    <a:gd name="connsiteX8" fmla="*/ 273614 w 300621"/>
                    <a:gd name="connsiteY8" fmla="*/ 2327578 h 3028426"/>
                    <a:gd name="connsiteX9" fmla="*/ 268853 w 300621"/>
                    <a:gd name="connsiteY9" fmla="*/ 2565703 h 3028426"/>
                    <a:gd name="connsiteX10" fmla="*/ 273615 w 300621"/>
                    <a:gd name="connsiteY10" fmla="*/ 2794303 h 3028426"/>
                    <a:gd name="connsiteX11" fmla="*/ 300621 w 300621"/>
                    <a:gd name="connsiteY11" fmla="*/ 3028426 h 3028426"/>
                    <a:gd name="connsiteX12" fmla="*/ 6870 w 300621"/>
                    <a:gd name="connsiteY12" fmla="*/ 3018901 h 3028426"/>
                    <a:gd name="connsiteX13" fmla="*/ 0 w 300621"/>
                    <a:gd name="connsiteY13" fmla="*/ 60154 h 302842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300621" h="3028426">
                      <a:moveTo>
                        <a:pt x="0" y="60154"/>
                      </a:moveTo>
                      <a:cubicBezTo>
                        <a:pt x="42672" y="57106"/>
                        <a:pt x="85296" y="106648"/>
                        <a:pt x="127968" y="103600"/>
                      </a:cubicBezTo>
                      <a:lnTo>
                        <a:pt x="283139" y="0"/>
                      </a:lnTo>
                      <a:cubicBezTo>
                        <a:pt x="285782" y="195136"/>
                        <a:pt x="272026" y="86821"/>
                        <a:pt x="278376" y="313040"/>
                      </a:cubicBezTo>
                      <a:cubicBezTo>
                        <a:pt x="284726" y="539259"/>
                        <a:pt x="297426" y="589265"/>
                        <a:pt x="292664" y="732140"/>
                      </a:cubicBezTo>
                      <a:cubicBezTo>
                        <a:pt x="287902" y="875015"/>
                        <a:pt x="262503" y="1053609"/>
                        <a:pt x="259328" y="1160765"/>
                      </a:cubicBezTo>
                      <a:cubicBezTo>
                        <a:pt x="257208" y="1534494"/>
                        <a:pt x="259327" y="1236966"/>
                        <a:pt x="264089" y="1384603"/>
                      </a:cubicBezTo>
                      <a:cubicBezTo>
                        <a:pt x="268851" y="1532240"/>
                        <a:pt x="287903" y="1887840"/>
                        <a:pt x="287903" y="2046590"/>
                      </a:cubicBezTo>
                      <a:cubicBezTo>
                        <a:pt x="293459" y="2255346"/>
                        <a:pt x="273614" y="2237884"/>
                        <a:pt x="273614" y="2327578"/>
                      </a:cubicBezTo>
                      <a:cubicBezTo>
                        <a:pt x="273614" y="2417272"/>
                        <a:pt x="275203" y="2502203"/>
                        <a:pt x="268853" y="2565703"/>
                      </a:cubicBezTo>
                      <a:cubicBezTo>
                        <a:pt x="262503" y="2629203"/>
                        <a:pt x="270702" y="2726708"/>
                        <a:pt x="273615" y="2794303"/>
                      </a:cubicBezTo>
                      <a:lnTo>
                        <a:pt x="300621" y="3028426"/>
                      </a:lnTo>
                      <a:lnTo>
                        <a:pt x="6870" y="3018901"/>
                      </a:lnTo>
                      <a:lnTo>
                        <a:pt x="0" y="60154"/>
                      </a:lnTo>
                      <a:close/>
                    </a:path>
                  </a:pathLst>
                </a:custGeom>
                <a:pattFill prst="dkUpDiag">
                  <a:fgClr>
                    <a:schemeClr val="accent3">
                      <a:lumMod val="75000"/>
                    </a:schemeClr>
                  </a:fgClr>
                  <a:bgClr>
                    <a:schemeClr val="bg1"/>
                  </a:bgClr>
                </a:pattFill>
                <a:ln w="15875">
                  <a:solidFill>
                    <a:schemeClr val="tx1"/>
                  </a:solidFill>
                </a:ln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sz="1200" dirty="0">
                    <a:solidFill>
                      <a:schemeClr val="tx1"/>
                    </a:solidFill>
                  </a:endParaRPr>
                </a:p>
              </p:txBody>
            </p:sp>
          </p:grpSp>
          <p:grpSp>
            <p:nvGrpSpPr>
              <p:cNvPr id="32" name="Gruppo 31"/>
              <p:cNvGrpSpPr/>
              <p:nvPr/>
            </p:nvGrpSpPr>
            <p:grpSpPr>
              <a:xfrm rot="16200000">
                <a:off x="5344893" y="2675117"/>
                <a:ext cx="773978" cy="1555367"/>
                <a:chOff x="5308435" y="4212641"/>
                <a:chExt cx="436890" cy="1168570"/>
              </a:xfrm>
            </p:grpSpPr>
            <p:sp>
              <p:nvSpPr>
                <p:cNvPr id="38" name="Rectangle 325"/>
                <p:cNvSpPr>
                  <a:spLocks noChangeArrowheads="1"/>
                </p:cNvSpPr>
                <p:nvPr/>
              </p:nvSpPr>
              <p:spPr bwMode="auto">
                <a:xfrm rot="5400000">
                  <a:off x="4961582" y="4652820"/>
                  <a:ext cx="1129280" cy="248921"/>
                </a:xfrm>
                <a:prstGeom prst="rect">
                  <a:avLst/>
                </a:prstGeom>
                <a:gradFill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050" b="1" dirty="0">
                    <a:latin typeface="Arial Narrow" pitchFamily="34" charset="0"/>
                  </a:endParaRPr>
                </a:p>
              </p:txBody>
            </p:sp>
            <p:sp>
              <p:nvSpPr>
                <p:cNvPr id="39" name="Ritaglia angolo stesso lato rettangolo 38"/>
                <p:cNvSpPr/>
                <p:nvPr/>
              </p:nvSpPr>
              <p:spPr>
                <a:xfrm rot="10800000">
                  <a:off x="5308435" y="5302631"/>
                  <a:ext cx="436890" cy="78580"/>
                </a:xfrm>
                <a:prstGeom prst="snip2SameRect">
                  <a:avLst>
                    <a:gd name="adj1" fmla="val 50000"/>
                    <a:gd name="adj2" fmla="val 0"/>
                  </a:avLst>
                </a:prstGeom>
                <a:gradFill flip="none" rotWithShape="1">
                  <a:gsLst>
                    <a:gs pos="0">
                      <a:srgbClr val="8F7272"/>
                    </a:gs>
                    <a:gs pos="50000">
                      <a:srgbClr val="FFCCCC"/>
                    </a:gs>
                    <a:gs pos="100000">
                      <a:srgbClr val="8F7272"/>
                    </a:gs>
                  </a:gsLst>
                  <a:lin ang="0" scaled="1"/>
                  <a:tileRect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US" sz="1050" b="1" dirty="0">
                    <a:latin typeface="Arial Narrow" pitchFamily="34" charset="0"/>
                  </a:endParaRPr>
                </a:p>
              </p:txBody>
            </p:sp>
          </p:grpSp>
          <p:grpSp>
            <p:nvGrpSpPr>
              <p:cNvPr id="33" name="Group 327"/>
              <p:cNvGrpSpPr>
                <a:grpSpLocks/>
              </p:cNvGrpSpPr>
              <p:nvPr/>
            </p:nvGrpSpPr>
            <p:grpSpPr bwMode="auto">
              <a:xfrm flipV="1">
                <a:off x="5045397" y="3063167"/>
                <a:ext cx="390256" cy="761693"/>
                <a:chOff x="957" y="1985"/>
                <a:chExt cx="256" cy="318"/>
              </a:xfrm>
            </p:grpSpPr>
            <p:sp>
              <p:nvSpPr>
                <p:cNvPr id="35" name="AutoShape 328"/>
                <p:cNvSpPr>
                  <a:spLocks noChangeArrowheads="1"/>
                </p:cNvSpPr>
                <p:nvPr/>
              </p:nvSpPr>
              <p:spPr bwMode="auto">
                <a:xfrm rot="5400000" flipH="1">
                  <a:off x="974" y="2117"/>
                  <a:ext cx="314" cy="53"/>
                </a:xfrm>
                <a:custGeom>
                  <a:avLst/>
                  <a:gdLst>
                    <a:gd name="T0" fmla="*/ 4 w 21600"/>
                    <a:gd name="T1" fmla="*/ 0 h 21600"/>
                    <a:gd name="T2" fmla="*/ 2 w 21600"/>
                    <a:gd name="T3" fmla="*/ 0 h 21600"/>
                    <a:gd name="T4" fmla="*/ 0 w 21600"/>
                    <a:gd name="T5" fmla="*/ 0 h 21600"/>
                    <a:gd name="T6" fmla="*/ 2 w 21600"/>
                    <a:gd name="T7" fmla="*/ 0 h 21600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2820 w 21600"/>
                    <a:gd name="T13" fmla="*/ 2853 h 21600"/>
                    <a:gd name="T14" fmla="*/ 18780 w 21600"/>
                    <a:gd name="T15" fmla="*/ 18747 h 21600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21600" h="21600">
                      <a:moveTo>
                        <a:pt x="0" y="0"/>
                      </a:moveTo>
                      <a:lnTo>
                        <a:pt x="2076" y="21600"/>
                      </a:lnTo>
                      <a:lnTo>
                        <a:pt x="19524" y="21600"/>
                      </a:lnTo>
                      <a:lnTo>
                        <a:pt x="21600" y="0"/>
                      </a:lnTo>
                      <a:close/>
                    </a:path>
                  </a:pathLst>
                </a:cu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050" b="1" dirty="0">
                    <a:latin typeface="Arial Narrow" pitchFamily="34" charset="0"/>
                  </a:endParaRPr>
                </a:p>
              </p:txBody>
            </p:sp>
            <p:sp>
              <p:nvSpPr>
                <p:cNvPr id="36" name="Rectangle 329"/>
                <p:cNvSpPr>
                  <a:spLocks noChangeArrowheads="1"/>
                </p:cNvSpPr>
                <p:nvPr/>
              </p:nvSpPr>
              <p:spPr bwMode="auto">
                <a:xfrm flipH="1">
                  <a:off x="957" y="2017"/>
                  <a:ext cx="153" cy="256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050" b="1" dirty="0">
                    <a:latin typeface="Arial Narrow" pitchFamily="34" charset="0"/>
                  </a:endParaRPr>
                </a:p>
              </p:txBody>
            </p:sp>
            <p:sp>
              <p:nvSpPr>
                <p:cNvPr id="37" name="Rectangle 330"/>
                <p:cNvSpPr>
                  <a:spLocks noChangeArrowheads="1"/>
                </p:cNvSpPr>
                <p:nvPr/>
              </p:nvSpPr>
              <p:spPr bwMode="auto">
                <a:xfrm flipH="1">
                  <a:off x="1158" y="1985"/>
                  <a:ext cx="55" cy="318"/>
                </a:xfrm>
                <a:prstGeom prst="rect">
                  <a:avLst/>
                </a:prstGeom>
                <a:gradFill rotWithShape="1">
                  <a:gsLst>
                    <a:gs pos="0">
                      <a:srgbClr val="5E4776"/>
                    </a:gs>
                    <a:gs pos="50000">
                      <a:srgbClr val="CC99FF"/>
                    </a:gs>
                    <a:gs pos="100000">
                      <a:srgbClr val="5E4776"/>
                    </a:gs>
                  </a:gsLst>
                  <a:lin ang="5400000" scaled="1"/>
                </a:gradFill>
                <a:ln w="9525" algn="ctr">
                  <a:solidFill>
                    <a:schemeClr val="tx1"/>
                  </a:solidFill>
                  <a:miter lim="800000"/>
                  <a:headEnd/>
                  <a:tailEnd/>
                </a:ln>
              </p:spPr>
              <p:txBody>
                <a:bodyPr wrap="none" anchor="ctr"/>
                <a:lstStyle/>
                <a:p>
                  <a:endParaRPr lang="en-GB" sz="1050" b="1" dirty="0">
                    <a:latin typeface="Arial Narrow" pitchFamily="34" charset="0"/>
                  </a:endParaRPr>
                </a:p>
              </p:txBody>
            </p:sp>
          </p:grpSp>
          <p:cxnSp>
            <p:nvCxnSpPr>
              <p:cNvPr id="34" name="Connettore 1 33"/>
              <p:cNvCxnSpPr>
                <a:stCxn id="38" idx="1"/>
                <a:endCxn id="38" idx="3"/>
              </p:cNvCxnSpPr>
              <p:nvPr/>
            </p:nvCxnSpPr>
            <p:spPr>
              <a:xfrm>
                <a:off x="4954196" y="3453967"/>
                <a:ext cx="1503072" cy="0"/>
              </a:xfrm>
              <a:prstGeom prst="line">
                <a:avLst/>
              </a:prstGeom>
              <a:noFill/>
              <a:ln w="12700">
                <a:solidFill>
                  <a:schemeClr val="tx1"/>
                </a:solidFill>
                <a:prstDash val="lgDash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sp>
          <p:nvSpPr>
            <p:cNvPr id="4" name="Rettangolo arrotondato 3"/>
            <p:cNvSpPr/>
            <p:nvPr/>
          </p:nvSpPr>
          <p:spPr>
            <a:xfrm>
              <a:off x="-12963173" y="-1826190"/>
              <a:ext cx="3369459" cy="2097282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3" name="Rettangolo arrotondato 42"/>
            <p:cNvSpPr/>
            <p:nvPr/>
          </p:nvSpPr>
          <p:spPr>
            <a:xfrm>
              <a:off x="-9445788" y="-1826190"/>
              <a:ext cx="3369459" cy="2097282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4" name="Rettangolo arrotondato 43"/>
            <p:cNvSpPr/>
            <p:nvPr/>
          </p:nvSpPr>
          <p:spPr>
            <a:xfrm>
              <a:off x="-12980562" y="439834"/>
              <a:ext cx="3369459" cy="2097282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sp>
          <p:nvSpPr>
            <p:cNvPr id="45" name="Rettangolo arrotondato 44"/>
            <p:cNvSpPr/>
            <p:nvPr/>
          </p:nvSpPr>
          <p:spPr>
            <a:xfrm>
              <a:off x="-9439788" y="456270"/>
              <a:ext cx="3369459" cy="2097282"/>
            </a:xfrm>
            <a:prstGeom prst="roundRect">
              <a:avLst/>
            </a:prstGeom>
            <a:noFill/>
            <a:ln w="28575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/>
            </a:p>
          </p:txBody>
        </p:sp>
        <p:grpSp>
          <p:nvGrpSpPr>
            <p:cNvPr id="46" name="Gruppo 45"/>
            <p:cNvGrpSpPr/>
            <p:nvPr/>
          </p:nvGrpSpPr>
          <p:grpSpPr>
            <a:xfrm>
              <a:off x="-12349699" y="-1650645"/>
              <a:ext cx="1583678" cy="1746191"/>
              <a:chOff x="409648" y="1140689"/>
              <a:chExt cx="4105636" cy="4526951"/>
            </a:xfrm>
          </p:grpSpPr>
          <p:sp>
            <p:nvSpPr>
              <p:cNvPr id="47" name="Rettangolo 6"/>
              <p:cNvSpPr/>
              <p:nvPr/>
            </p:nvSpPr>
            <p:spPr>
              <a:xfrm>
                <a:off x="629906" y="2449003"/>
                <a:ext cx="557350" cy="2718083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  <a:gd name="connsiteX0" fmla="*/ 0 w 403981"/>
                  <a:gd name="connsiteY0" fmla="*/ 60154 h 3028426"/>
                  <a:gd name="connsiteX1" fmla="*/ 127968 w 403981"/>
                  <a:gd name="connsiteY1" fmla="*/ 103600 h 3028426"/>
                  <a:gd name="connsiteX2" fmla="*/ 283139 w 403981"/>
                  <a:gd name="connsiteY2" fmla="*/ 0 h 3028426"/>
                  <a:gd name="connsiteX3" fmla="*/ 278376 w 403981"/>
                  <a:gd name="connsiteY3" fmla="*/ 313040 h 3028426"/>
                  <a:gd name="connsiteX4" fmla="*/ 292664 w 403981"/>
                  <a:gd name="connsiteY4" fmla="*/ 732140 h 3028426"/>
                  <a:gd name="connsiteX5" fmla="*/ 259328 w 403981"/>
                  <a:gd name="connsiteY5" fmla="*/ 1160765 h 3028426"/>
                  <a:gd name="connsiteX6" fmla="*/ 264089 w 403981"/>
                  <a:gd name="connsiteY6" fmla="*/ 1384603 h 3028426"/>
                  <a:gd name="connsiteX7" fmla="*/ 287903 w 403981"/>
                  <a:gd name="connsiteY7" fmla="*/ 2046590 h 3028426"/>
                  <a:gd name="connsiteX8" fmla="*/ 273614 w 403981"/>
                  <a:gd name="connsiteY8" fmla="*/ 2327578 h 3028426"/>
                  <a:gd name="connsiteX9" fmla="*/ 268853 w 403981"/>
                  <a:gd name="connsiteY9" fmla="*/ 2565703 h 3028426"/>
                  <a:gd name="connsiteX10" fmla="*/ 273615 w 403981"/>
                  <a:gd name="connsiteY10" fmla="*/ 2794303 h 3028426"/>
                  <a:gd name="connsiteX11" fmla="*/ 300621 w 403981"/>
                  <a:gd name="connsiteY11" fmla="*/ 3028426 h 3028426"/>
                  <a:gd name="connsiteX12" fmla="*/ 403981 w 403981"/>
                  <a:gd name="connsiteY12" fmla="*/ 3018901 h 3028426"/>
                  <a:gd name="connsiteX13" fmla="*/ 0 w 403981"/>
                  <a:gd name="connsiteY13" fmla="*/ 60154 h 3028426"/>
                  <a:gd name="connsiteX0" fmla="*/ 0 w 403981"/>
                  <a:gd name="connsiteY0" fmla="*/ 60154 h 3028426"/>
                  <a:gd name="connsiteX1" fmla="*/ 127968 w 403981"/>
                  <a:gd name="connsiteY1" fmla="*/ 103600 h 3028426"/>
                  <a:gd name="connsiteX2" fmla="*/ 283139 w 403981"/>
                  <a:gd name="connsiteY2" fmla="*/ 0 h 3028426"/>
                  <a:gd name="connsiteX3" fmla="*/ 278376 w 403981"/>
                  <a:gd name="connsiteY3" fmla="*/ 313040 h 3028426"/>
                  <a:gd name="connsiteX4" fmla="*/ 272809 w 403981"/>
                  <a:gd name="connsiteY4" fmla="*/ 986291 h 3028426"/>
                  <a:gd name="connsiteX5" fmla="*/ 259328 w 403981"/>
                  <a:gd name="connsiteY5" fmla="*/ 1160765 h 3028426"/>
                  <a:gd name="connsiteX6" fmla="*/ 264089 w 403981"/>
                  <a:gd name="connsiteY6" fmla="*/ 1384603 h 3028426"/>
                  <a:gd name="connsiteX7" fmla="*/ 287903 w 403981"/>
                  <a:gd name="connsiteY7" fmla="*/ 2046590 h 3028426"/>
                  <a:gd name="connsiteX8" fmla="*/ 273614 w 403981"/>
                  <a:gd name="connsiteY8" fmla="*/ 2327578 h 3028426"/>
                  <a:gd name="connsiteX9" fmla="*/ 268853 w 403981"/>
                  <a:gd name="connsiteY9" fmla="*/ 2565703 h 3028426"/>
                  <a:gd name="connsiteX10" fmla="*/ 273615 w 403981"/>
                  <a:gd name="connsiteY10" fmla="*/ 2794303 h 3028426"/>
                  <a:gd name="connsiteX11" fmla="*/ 300621 w 403981"/>
                  <a:gd name="connsiteY11" fmla="*/ 3028426 h 3028426"/>
                  <a:gd name="connsiteX12" fmla="*/ 403981 w 403981"/>
                  <a:gd name="connsiteY12" fmla="*/ 3018901 h 3028426"/>
                  <a:gd name="connsiteX13" fmla="*/ 0 w 403981"/>
                  <a:gd name="connsiteY13" fmla="*/ 60154 h 3028426"/>
                  <a:gd name="connsiteX0" fmla="*/ 0 w 403981"/>
                  <a:gd name="connsiteY0" fmla="*/ 60154 h 3028426"/>
                  <a:gd name="connsiteX1" fmla="*/ 127968 w 403981"/>
                  <a:gd name="connsiteY1" fmla="*/ 103600 h 3028426"/>
                  <a:gd name="connsiteX2" fmla="*/ 283139 w 403981"/>
                  <a:gd name="connsiteY2" fmla="*/ 0 h 3028426"/>
                  <a:gd name="connsiteX3" fmla="*/ 272809 w 403981"/>
                  <a:gd name="connsiteY3" fmla="*/ 986291 h 3028426"/>
                  <a:gd name="connsiteX4" fmla="*/ 259328 w 403981"/>
                  <a:gd name="connsiteY4" fmla="*/ 1160765 h 3028426"/>
                  <a:gd name="connsiteX5" fmla="*/ 264089 w 403981"/>
                  <a:gd name="connsiteY5" fmla="*/ 1384603 h 3028426"/>
                  <a:gd name="connsiteX6" fmla="*/ 287903 w 403981"/>
                  <a:gd name="connsiteY6" fmla="*/ 2046590 h 3028426"/>
                  <a:gd name="connsiteX7" fmla="*/ 273614 w 403981"/>
                  <a:gd name="connsiteY7" fmla="*/ 2327578 h 3028426"/>
                  <a:gd name="connsiteX8" fmla="*/ 268853 w 403981"/>
                  <a:gd name="connsiteY8" fmla="*/ 2565703 h 3028426"/>
                  <a:gd name="connsiteX9" fmla="*/ 273615 w 403981"/>
                  <a:gd name="connsiteY9" fmla="*/ 2794303 h 3028426"/>
                  <a:gd name="connsiteX10" fmla="*/ 300621 w 403981"/>
                  <a:gd name="connsiteY10" fmla="*/ 3028426 h 3028426"/>
                  <a:gd name="connsiteX11" fmla="*/ 403981 w 403981"/>
                  <a:gd name="connsiteY11" fmla="*/ 3018901 h 3028426"/>
                  <a:gd name="connsiteX12" fmla="*/ 0 w 403981"/>
                  <a:gd name="connsiteY12" fmla="*/ 60154 h 3028426"/>
                  <a:gd name="connsiteX0" fmla="*/ 276013 w 276013"/>
                  <a:gd name="connsiteY0" fmla="*/ 3018901 h 3028426"/>
                  <a:gd name="connsiteX1" fmla="*/ 0 w 276013"/>
                  <a:gd name="connsiteY1" fmla="*/ 103600 h 3028426"/>
                  <a:gd name="connsiteX2" fmla="*/ 155171 w 276013"/>
                  <a:gd name="connsiteY2" fmla="*/ 0 h 3028426"/>
                  <a:gd name="connsiteX3" fmla="*/ 144841 w 276013"/>
                  <a:gd name="connsiteY3" fmla="*/ 986291 h 3028426"/>
                  <a:gd name="connsiteX4" fmla="*/ 131360 w 276013"/>
                  <a:gd name="connsiteY4" fmla="*/ 1160765 h 3028426"/>
                  <a:gd name="connsiteX5" fmla="*/ 136121 w 276013"/>
                  <a:gd name="connsiteY5" fmla="*/ 1384603 h 3028426"/>
                  <a:gd name="connsiteX6" fmla="*/ 159935 w 276013"/>
                  <a:gd name="connsiteY6" fmla="*/ 2046590 h 3028426"/>
                  <a:gd name="connsiteX7" fmla="*/ 145646 w 276013"/>
                  <a:gd name="connsiteY7" fmla="*/ 2327578 h 3028426"/>
                  <a:gd name="connsiteX8" fmla="*/ 140885 w 276013"/>
                  <a:gd name="connsiteY8" fmla="*/ 2565703 h 3028426"/>
                  <a:gd name="connsiteX9" fmla="*/ 145647 w 276013"/>
                  <a:gd name="connsiteY9" fmla="*/ 2794303 h 3028426"/>
                  <a:gd name="connsiteX10" fmla="*/ 172653 w 276013"/>
                  <a:gd name="connsiteY10" fmla="*/ 3028426 h 3028426"/>
                  <a:gd name="connsiteX11" fmla="*/ 276013 w 276013"/>
                  <a:gd name="connsiteY11" fmla="*/ 3018901 h 3028426"/>
                  <a:gd name="connsiteX0" fmla="*/ 280983 w 280983"/>
                  <a:gd name="connsiteY0" fmla="*/ 3018901 h 3028426"/>
                  <a:gd name="connsiteX1" fmla="*/ 0 w 280983"/>
                  <a:gd name="connsiteY1" fmla="*/ 119162 h 3028426"/>
                  <a:gd name="connsiteX2" fmla="*/ 4970 w 280983"/>
                  <a:gd name="connsiteY2" fmla="*/ 103600 h 3028426"/>
                  <a:gd name="connsiteX3" fmla="*/ 160141 w 280983"/>
                  <a:gd name="connsiteY3" fmla="*/ 0 h 3028426"/>
                  <a:gd name="connsiteX4" fmla="*/ 149811 w 280983"/>
                  <a:gd name="connsiteY4" fmla="*/ 986291 h 3028426"/>
                  <a:gd name="connsiteX5" fmla="*/ 136330 w 280983"/>
                  <a:gd name="connsiteY5" fmla="*/ 1160765 h 3028426"/>
                  <a:gd name="connsiteX6" fmla="*/ 141091 w 280983"/>
                  <a:gd name="connsiteY6" fmla="*/ 1384603 h 3028426"/>
                  <a:gd name="connsiteX7" fmla="*/ 164905 w 280983"/>
                  <a:gd name="connsiteY7" fmla="*/ 2046590 h 3028426"/>
                  <a:gd name="connsiteX8" fmla="*/ 150616 w 280983"/>
                  <a:gd name="connsiteY8" fmla="*/ 2327578 h 3028426"/>
                  <a:gd name="connsiteX9" fmla="*/ 145855 w 280983"/>
                  <a:gd name="connsiteY9" fmla="*/ 2565703 h 3028426"/>
                  <a:gd name="connsiteX10" fmla="*/ 150617 w 280983"/>
                  <a:gd name="connsiteY10" fmla="*/ 2794303 h 3028426"/>
                  <a:gd name="connsiteX11" fmla="*/ 177623 w 280983"/>
                  <a:gd name="connsiteY11" fmla="*/ 3028426 h 3028426"/>
                  <a:gd name="connsiteX12" fmla="*/ 280983 w 280983"/>
                  <a:gd name="connsiteY12" fmla="*/ 3018901 h 3028426"/>
                  <a:gd name="connsiteX0" fmla="*/ 280983 w 280983"/>
                  <a:gd name="connsiteY0" fmla="*/ 3018901 h 3028426"/>
                  <a:gd name="connsiteX1" fmla="*/ 0 w 280983"/>
                  <a:gd name="connsiteY1" fmla="*/ 119162 h 3028426"/>
                  <a:gd name="connsiteX2" fmla="*/ 160141 w 280983"/>
                  <a:gd name="connsiteY2" fmla="*/ 0 h 3028426"/>
                  <a:gd name="connsiteX3" fmla="*/ 149811 w 280983"/>
                  <a:gd name="connsiteY3" fmla="*/ 986291 h 3028426"/>
                  <a:gd name="connsiteX4" fmla="*/ 136330 w 280983"/>
                  <a:gd name="connsiteY4" fmla="*/ 1160765 h 3028426"/>
                  <a:gd name="connsiteX5" fmla="*/ 141091 w 280983"/>
                  <a:gd name="connsiteY5" fmla="*/ 1384603 h 3028426"/>
                  <a:gd name="connsiteX6" fmla="*/ 164905 w 280983"/>
                  <a:gd name="connsiteY6" fmla="*/ 2046590 h 3028426"/>
                  <a:gd name="connsiteX7" fmla="*/ 150616 w 280983"/>
                  <a:gd name="connsiteY7" fmla="*/ 2327578 h 3028426"/>
                  <a:gd name="connsiteX8" fmla="*/ 145855 w 280983"/>
                  <a:gd name="connsiteY8" fmla="*/ 2565703 h 3028426"/>
                  <a:gd name="connsiteX9" fmla="*/ 150617 w 280983"/>
                  <a:gd name="connsiteY9" fmla="*/ 2794303 h 3028426"/>
                  <a:gd name="connsiteX10" fmla="*/ 177623 w 280983"/>
                  <a:gd name="connsiteY10" fmla="*/ 3028426 h 3028426"/>
                  <a:gd name="connsiteX11" fmla="*/ 280983 w 280983"/>
                  <a:gd name="connsiteY11" fmla="*/ 3018901 h 3028426"/>
                  <a:gd name="connsiteX0" fmla="*/ 145476 w 145476"/>
                  <a:gd name="connsiteY0" fmla="*/ 3018901 h 3028426"/>
                  <a:gd name="connsiteX1" fmla="*/ 24634 w 145476"/>
                  <a:gd name="connsiteY1" fmla="*/ 0 h 3028426"/>
                  <a:gd name="connsiteX2" fmla="*/ 14304 w 145476"/>
                  <a:gd name="connsiteY2" fmla="*/ 986291 h 3028426"/>
                  <a:gd name="connsiteX3" fmla="*/ 823 w 145476"/>
                  <a:gd name="connsiteY3" fmla="*/ 1160765 h 3028426"/>
                  <a:gd name="connsiteX4" fmla="*/ 5584 w 145476"/>
                  <a:gd name="connsiteY4" fmla="*/ 1384603 h 3028426"/>
                  <a:gd name="connsiteX5" fmla="*/ 29398 w 145476"/>
                  <a:gd name="connsiteY5" fmla="*/ 2046590 h 3028426"/>
                  <a:gd name="connsiteX6" fmla="*/ 15109 w 145476"/>
                  <a:gd name="connsiteY6" fmla="*/ 2327578 h 3028426"/>
                  <a:gd name="connsiteX7" fmla="*/ 10348 w 145476"/>
                  <a:gd name="connsiteY7" fmla="*/ 2565703 h 3028426"/>
                  <a:gd name="connsiteX8" fmla="*/ 15110 w 145476"/>
                  <a:gd name="connsiteY8" fmla="*/ 2794303 h 3028426"/>
                  <a:gd name="connsiteX9" fmla="*/ 42116 w 145476"/>
                  <a:gd name="connsiteY9" fmla="*/ 3028426 h 3028426"/>
                  <a:gd name="connsiteX10" fmla="*/ 145476 w 145476"/>
                  <a:gd name="connsiteY10" fmla="*/ 3018901 h 3028426"/>
                  <a:gd name="connsiteX0" fmla="*/ 145476 w 145476"/>
                  <a:gd name="connsiteY0" fmla="*/ 2032610 h 2042135"/>
                  <a:gd name="connsiteX1" fmla="*/ 14304 w 145476"/>
                  <a:gd name="connsiteY1" fmla="*/ 0 h 2042135"/>
                  <a:gd name="connsiteX2" fmla="*/ 823 w 145476"/>
                  <a:gd name="connsiteY2" fmla="*/ 174474 h 2042135"/>
                  <a:gd name="connsiteX3" fmla="*/ 5584 w 145476"/>
                  <a:gd name="connsiteY3" fmla="*/ 398312 h 2042135"/>
                  <a:gd name="connsiteX4" fmla="*/ 29398 w 145476"/>
                  <a:gd name="connsiteY4" fmla="*/ 1060299 h 2042135"/>
                  <a:gd name="connsiteX5" fmla="*/ 15109 w 145476"/>
                  <a:gd name="connsiteY5" fmla="*/ 1341287 h 2042135"/>
                  <a:gd name="connsiteX6" fmla="*/ 10348 w 145476"/>
                  <a:gd name="connsiteY6" fmla="*/ 1579412 h 2042135"/>
                  <a:gd name="connsiteX7" fmla="*/ 15110 w 145476"/>
                  <a:gd name="connsiteY7" fmla="*/ 1808012 h 2042135"/>
                  <a:gd name="connsiteX8" fmla="*/ 42116 w 145476"/>
                  <a:gd name="connsiteY8" fmla="*/ 2042135 h 2042135"/>
                  <a:gd name="connsiteX9" fmla="*/ 145476 w 145476"/>
                  <a:gd name="connsiteY9" fmla="*/ 2032610 h 2042135"/>
                  <a:gd name="connsiteX0" fmla="*/ 145476 w 145476"/>
                  <a:gd name="connsiteY0" fmla="*/ 2032610 h 2042135"/>
                  <a:gd name="connsiteX1" fmla="*/ 130558 w 145476"/>
                  <a:gd name="connsiteY1" fmla="*/ 2544 h 2042135"/>
                  <a:gd name="connsiteX2" fmla="*/ 14304 w 145476"/>
                  <a:gd name="connsiteY2" fmla="*/ 0 h 2042135"/>
                  <a:gd name="connsiteX3" fmla="*/ 823 w 145476"/>
                  <a:gd name="connsiteY3" fmla="*/ 174474 h 2042135"/>
                  <a:gd name="connsiteX4" fmla="*/ 5584 w 145476"/>
                  <a:gd name="connsiteY4" fmla="*/ 398312 h 2042135"/>
                  <a:gd name="connsiteX5" fmla="*/ 29398 w 145476"/>
                  <a:gd name="connsiteY5" fmla="*/ 1060299 h 2042135"/>
                  <a:gd name="connsiteX6" fmla="*/ 15109 w 145476"/>
                  <a:gd name="connsiteY6" fmla="*/ 1341287 h 2042135"/>
                  <a:gd name="connsiteX7" fmla="*/ 10348 w 145476"/>
                  <a:gd name="connsiteY7" fmla="*/ 1579412 h 2042135"/>
                  <a:gd name="connsiteX8" fmla="*/ 15110 w 145476"/>
                  <a:gd name="connsiteY8" fmla="*/ 1808012 h 2042135"/>
                  <a:gd name="connsiteX9" fmla="*/ 42116 w 145476"/>
                  <a:gd name="connsiteY9" fmla="*/ 2042135 h 2042135"/>
                  <a:gd name="connsiteX10" fmla="*/ 145476 w 145476"/>
                  <a:gd name="connsiteY10" fmla="*/ 2032610 h 2042135"/>
                  <a:gd name="connsiteX0" fmla="*/ 145476 w 145476"/>
                  <a:gd name="connsiteY0" fmla="*/ 2032610 h 2042135"/>
                  <a:gd name="connsiteX1" fmla="*/ 130558 w 145476"/>
                  <a:gd name="connsiteY1" fmla="*/ 2544 h 2042135"/>
                  <a:gd name="connsiteX2" fmla="*/ 14304 w 145476"/>
                  <a:gd name="connsiteY2" fmla="*/ 0 h 2042135"/>
                  <a:gd name="connsiteX3" fmla="*/ 823 w 145476"/>
                  <a:gd name="connsiteY3" fmla="*/ 174474 h 2042135"/>
                  <a:gd name="connsiteX4" fmla="*/ 5584 w 145476"/>
                  <a:gd name="connsiteY4" fmla="*/ 398312 h 2042135"/>
                  <a:gd name="connsiteX5" fmla="*/ 29398 w 145476"/>
                  <a:gd name="connsiteY5" fmla="*/ 1060299 h 2042135"/>
                  <a:gd name="connsiteX6" fmla="*/ 15109 w 145476"/>
                  <a:gd name="connsiteY6" fmla="*/ 1341287 h 2042135"/>
                  <a:gd name="connsiteX7" fmla="*/ 10348 w 145476"/>
                  <a:gd name="connsiteY7" fmla="*/ 1579412 h 2042135"/>
                  <a:gd name="connsiteX8" fmla="*/ 15110 w 145476"/>
                  <a:gd name="connsiteY8" fmla="*/ 1808012 h 2042135"/>
                  <a:gd name="connsiteX9" fmla="*/ 42116 w 145476"/>
                  <a:gd name="connsiteY9" fmla="*/ 2042135 h 2042135"/>
                  <a:gd name="connsiteX10" fmla="*/ 145476 w 145476"/>
                  <a:gd name="connsiteY10" fmla="*/ 2032610 h 2042135"/>
                  <a:gd name="connsiteX0" fmla="*/ 137534 w 137534"/>
                  <a:gd name="connsiteY0" fmla="*/ 2040552 h 2042135"/>
                  <a:gd name="connsiteX1" fmla="*/ 130558 w 137534"/>
                  <a:gd name="connsiteY1" fmla="*/ 2544 h 2042135"/>
                  <a:gd name="connsiteX2" fmla="*/ 14304 w 137534"/>
                  <a:gd name="connsiteY2" fmla="*/ 0 h 2042135"/>
                  <a:gd name="connsiteX3" fmla="*/ 823 w 137534"/>
                  <a:gd name="connsiteY3" fmla="*/ 174474 h 2042135"/>
                  <a:gd name="connsiteX4" fmla="*/ 5584 w 137534"/>
                  <a:gd name="connsiteY4" fmla="*/ 398312 h 2042135"/>
                  <a:gd name="connsiteX5" fmla="*/ 29398 w 137534"/>
                  <a:gd name="connsiteY5" fmla="*/ 1060299 h 2042135"/>
                  <a:gd name="connsiteX6" fmla="*/ 15109 w 137534"/>
                  <a:gd name="connsiteY6" fmla="*/ 1341287 h 2042135"/>
                  <a:gd name="connsiteX7" fmla="*/ 10348 w 137534"/>
                  <a:gd name="connsiteY7" fmla="*/ 1579412 h 2042135"/>
                  <a:gd name="connsiteX8" fmla="*/ 15110 w 137534"/>
                  <a:gd name="connsiteY8" fmla="*/ 1808012 h 2042135"/>
                  <a:gd name="connsiteX9" fmla="*/ 42116 w 137534"/>
                  <a:gd name="connsiteY9" fmla="*/ 2042135 h 2042135"/>
                  <a:gd name="connsiteX10" fmla="*/ 137534 w 137534"/>
                  <a:gd name="connsiteY10" fmla="*/ 2040552 h 20421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37534" h="2042135">
                    <a:moveTo>
                      <a:pt x="137534" y="2040552"/>
                    </a:moveTo>
                    <a:cubicBezTo>
                      <a:pt x="135209" y="1361216"/>
                      <a:pt x="132883" y="681880"/>
                      <a:pt x="130558" y="2544"/>
                    </a:cubicBezTo>
                    <a:lnTo>
                      <a:pt x="14304" y="0"/>
                    </a:lnTo>
                    <a:cubicBezTo>
                      <a:pt x="9542" y="142875"/>
                      <a:pt x="3998" y="67318"/>
                      <a:pt x="823" y="174474"/>
                    </a:cubicBezTo>
                    <a:cubicBezTo>
                      <a:pt x="-1297" y="548203"/>
                      <a:pt x="822" y="250675"/>
                      <a:pt x="5584" y="398312"/>
                    </a:cubicBezTo>
                    <a:cubicBezTo>
                      <a:pt x="10346" y="545949"/>
                      <a:pt x="29398" y="901549"/>
                      <a:pt x="29398" y="1060299"/>
                    </a:cubicBezTo>
                    <a:cubicBezTo>
                      <a:pt x="34954" y="1269055"/>
                      <a:pt x="15109" y="1251593"/>
                      <a:pt x="15109" y="1341287"/>
                    </a:cubicBezTo>
                    <a:cubicBezTo>
                      <a:pt x="15109" y="1430981"/>
                      <a:pt x="16698" y="1515912"/>
                      <a:pt x="10348" y="1579412"/>
                    </a:cubicBezTo>
                    <a:cubicBezTo>
                      <a:pt x="3998" y="1642912"/>
                      <a:pt x="12197" y="1740417"/>
                      <a:pt x="15110" y="1808012"/>
                    </a:cubicBezTo>
                    <a:lnTo>
                      <a:pt x="42116" y="2042135"/>
                    </a:lnTo>
                    <a:lnTo>
                      <a:pt x="137534" y="2040552"/>
                    </a:lnTo>
                    <a:close/>
                  </a:path>
                </a:pathLst>
              </a:custGeom>
              <a:pattFill prst="wdDnDiag">
                <a:fgClr>
                  <a:srgbClr val="FFFF00"/>
                </a:fgClr>
                <a:bgClr>
                  <a:srgbClr val="EE7713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48" name="Freccia curva 2"/>
              <p:cNvSpPr/>
              <p:nvPr/>
            </p:nvSpPr>
            <p:spPr>
              <a:xfrm flipV="1">
                <a:off x="1420133" y="2487541"/>
                <a:ext cx="778206" cy="2679541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33889 w 2039979"/>
                  <a:gd name="connsiteY0" fmla="*/ 2389253 h 2389253"/>
                  <a:gd name="connsiteX1" fmla="*/ 61003 w 2039979"/>
                  <a:gd name="connsiteY1" fmla="*/ 2095501 h 2389253"/>
                  <a:gd name="connsiteX2" fmla="*/ 22903 w 2039979"/>
                  <a:gd name="connsiteY2" fmla="*/ 1900238 h 2389253"/>
                  <a:gd name="connsiteX3" fmla="*/ 65766 w 2039979"/>
                  <a:gd name="connsiteY3" fmla="*/ 1319213 h 2389253"/>
                  <a:gd name="connsiteX4" fmla="*/ 13378 w 2039979"/>
                  <a:gd name="connsiteY4" fmla="*/ 952501 h 2389253"/>
                  <a:gd name="connsiteX5" fmla="*/ 551 w 2039979"/>
                  <a:gd name="connsiteY5" fmla="*/ 583866 h 2389253"/>
                  <a:gd name="connsiteX6" fmla="*/ 92699 w 2039979"/>
                  <a:gd name="connsiteY6" fmla="*/ 378976 h 2389253"/>
                  <a:gd name="connsiteX7" fmla="*/ 180067 w 2039979"/>
                  <a:gd name="connsiteY7" fmla="*/ 252413 h 2389253"/>
                  <a:gd name="connsiteX8" fmla="*/ 341992 w 2039979"/>
                  <a:gd name="connsiteY8" fmla="*/ 123826 h 2389253"/>
                  <a:gd name="connsiteX9" fmla="*/ 609745 w 2039979"/>
                  <a:gd name="connsiteY9" fmla="*/ 12772 h 2389253"/>
                  <a:gd name="connsiteX10" fmla="*/ 1327829 w 2039979"/>
                  <a:gd name="connsiteY10" fmla="*/ 33338 h 2389253"/>
                  <a:gd name="connsiteX11" fmla="*/ 1589767 w 2039979"/>
                  <a:gd name="connsiteY11" fmla="*/ 14288 h 2389253"/>
                  <a:gd name="connsiteX12" fmla="*/ 1945778 w 2039979"/>
                  <a:gd name="connsiteY12" fmla="*/ 0 h 2389253"/>
                  <a:gd name="connsiteX13" fmla="*/ 1869606 w 2039979"/>
                  <a:gd name="connsiteY13" fmla="*/ 145914 h 2389253"/>
                  <a:gd name="connsiteX14" fmla="*/ 2039979 w 2039979"/>
                  <a:gd name="connsiteY14" fmla="*/ 268939 h 2389253"/>
                  <a:gd name="connsiteX15" fmla="*/ 609745 w 2039979"/>
                  <a:gd name="connsiteY15" fmla="*/ 271213 h 2389253"/>
                  <a:gd name="connsiteX16" fmla="*/ 292329 w 2039979"/>
                  <a:gd name="connsiteY16" fmla="*/ 588629 h 2389253"/>
                  <a:gd name="connsiteX17" fmla="*/ 292330 w 2039979"/>
                  <a:gd name="connsiteY17" fmla="*/ 2389253 h 2389253"/>
                  <a:gd name="connsiteX18" fmla="*/ 33889 w 2039979"/>
                  <a:gd name="connsiteY18" fmla="*/ 2389253 h 2389253"/>
                  <a:gd name="connsiteX0" fmla="*/ 114279 w 2120369"/>
                  <a:gd name="connsiteY0" fmla="*/ 2389253 h 2389253"/>
                  <a:gd name="connsiteX1" fmla="*/ 141393 w 2120369"/>
                  <a:gd name="connsiteY1" fmla="*/ 2095501 h 2389253"/>
                  <a:gd name="connsiteX2" fmla="*/ 103293 w 2120369"/>
                  <a:gd name="connsiteY2" fmla="*/ 1900238 h 2389253"/>
                  <a:gd name="connsiteX3" fmla="*/ 146156 w 2120369"/>
                  <a:gd name="connsiteY3" fmla="*/ 1319213 h 2389253"/>
                  <a:gd name="connsiteX4" fmla="*/ 93768 w 2120369"/>
                  <a:gd name="connsiteY4" fmla="*/ 952501 h 2389253"/>
                  <a:gd name="connsiteX5" fmla="*/ 80941 w 2120369"/>
                  <a:gd name="connsiteY5" fmla="*/ 583866 h 2389253"/>
                  <a:gd name="connsiteX6" fmla="*/ 173089 w 2120369"/>
                  <a:gd name="connsiteY6" fmla="*/ 378976 h 2389253"/>
                  <a:gd name="connsiteX7" fmla="*/ 6266 w 2120369"/>
                  <a:gd name="connsiteY7" fmla="*/ 376074 h 2389253"/>
                  <a:gd name="connsiteX8" fmla="*/ 422382 w 2120369"/>
                  <a:gd name="connsiteY8" fmla="*/ 123826 h 2389253"/>
                  <a:gd name="connsiteX9" fmla="*/ 690135 w 2120369"/>
                  <a:gd name="connsiteY9" fmla="*/ 12772 h 2389253"/>
                  <a:gd name="connsiteX10" fmla="*/ 1408219 w 2120369"/>
                  <a:gd name="connsiteY10" fmla="*/ 33338 h 2389253"/>
                  <a:gd name="connsiteX11" fmla="*/ 1670157 w 2120369"/>
                  <a:gd name="connsiteY11" fmla="*/ 14288 h 2389253"/>
                  <a:gd name="connsiteX12" fmla="*/ 2026168 w 2120369"/>
                  <a:gd name="connsiteY12" fmla="*/ 0 h 2389253"/>
                  <a:gd name="connsiteX13" fmla="*/ 1949996 w 2120369"/>
                  <a:gd name="connsiteY13" fmla="*/ 145914 h 2389253"/>
                  <a:gd name="connsiteX14" fmla="*/ 2120369 w 2120369"/>
                  <a:gd name="connsiteY14" fmla="*/ 268939 h 2389253"/>
                  <a:gd name="connsiteX15" fmla="*/ 690135 w 2120369"/>
                  <a:gd name="connsiteY15" fmla="*/ 271213 h 2389253"/>
                  <a:gd name="connsiteX16" fmla="*/ 372719 w 2120369"/>
                  <a:gd name="connsiteY16" fmla="*/ 588629 h 2389253"/>
                  <a:gd name="connsiteX17" fmla="*/ 372720 w 2120369"/>
                  <a:gd name="connsiteY17" fmla="*/ 2389253 h 2389253"/>
                  <a:gd name="connsiteX18" fmla="*/ 114279 w 2120369"/>
                  <a:gd name="connsiteY18" fmla="*/ 2389253 h 2389253"/>
                  <a:gd name="connsiteX0" fmla="*/ 114998 w 2121088"/>
                  <a:gd name="connsiteY0" fmla="*/ 2389253 h 2389253"/>
                  <a:gd name="connsiteX1" fmla="*/ 142112 w 2121088"/>
                  <a:gd name="connsiteY1" fmla="*/ 2095501 h 2389253"/>
                  <a:gd name="connsiteX2" fmla="*/ 104012 w 2121088"/>
                  <a:gd name="connsiteY2" fmla="*/ 1900238 h 2389253"/>
                  <a:gd name="connsiteX3" fmla="*/ 146875 w 2121088"/>
                  <a:gd name="connsiteY3" fmla="*/ 1319213 h 2389253"/>
                  <a:gd name="connsiteX4" fmla="*/ 94487 w 2121088"/>
                  <a:gd name="connsiteY4" fmla="*/ 952501 h 2389253"/>
                  <a:gd name="connsiteX5" fmla="*/ 81660 w 2121088"/>
                  <a:gd name="connsiteY5" fmla="*/ 583866 h 2389253"/>
                  <a:gd name="connsiteX6" fmla="*/ 173808 w 2121088"/>
                  <a:gd name="connsiteY6" fmla="*/ 378976 h 2389253"/>
                  <a:gd name="connsiteX7" fmla="*/ 6985 w 2121088"/>
                  <a:gd name="connsiteY7" fmla="*/ 376074 h 2389253"/>
                  <a:gd name="connsiteX8" fmla="*/ 24639 w 2121088"/>
                  <a:gd name="connsiteY8" fmla="*/ 2377193 h 2389253"/>
                  <a:gd name="connsiteX9" fmla="*/ 690854 w 2121088"/>
                  <a:gd name="connsiteY9" fmla="*/ 12772 h 2389253"/>
                  <a:gd name="connsiteX10" fmla="*/ 1408938 w 2121088"/>
                  <a:gd name="connsiteY10" fmla="*/ 33338 h 2389253"/>
                  <a:gd name="connsiteX11" fmla="*/ 1670876 w 2121088"/>
                  <a:gd name="connsiteY11" fmla="*/ 14288 h 2389253"/>
                  <a:gd name="connsiteX12" fmla="*/ 2026887 w 2121088"/>
                  <a:gd name="connsiteY12" fmla="*/ 0 h 2389253"/>
                  <a:gd name="connsiteX13" fmla="*/ 1950715 w 2121088"/>
                  <a:gd name="connsiteY13" fmla="*/ 145914 h 2389253"/>
                  <a:gd name="connsiteX14" fmla="*/ 2121088 w 2121088"/>
                  <a:gd name="connsiteY14" fmla="*/ 268939 h 2389253"/>
                  <a:gd name="connsiteX15" fmla="*/ 690854 w 2121088"/>
                  <a:gd name="connsiteY15" fmla="*/ 271213 h 2389253"/>
                  <a:gd name="connsiteX16" fmla="*/ 373438 w 2121088"/>
                  <a:gd name="connsiteY16" fmla="*/ 588629 h 2389253"/>
                  <a:gd name="connsiteX17" fmla="*/ 373439 w 2121088"/>
                  <a:gd name="connsiteY17" fmla="*/ 2389253 h 2389253"/>
                  <a:gd name="connsiteX18" fmla="*/ 114998 w 2121088"/>
                  <a:gd name="connsiteY18" fmla="*/ 2389253 h 2389253"/>
                  <a:gd name="connsiteX0" fmla="*/ 188246 w 2194336"/>
                  <a:gd name="connsiteY0" fmla="*/ 2389253 h 2389253"/>
                  <a:gd name="connsiteX1" fmla="*/ 215360 w 2194336"/>
                  <a:gd name="connsiteY1" fmla="*/ 2095501 h 2389253"/>
                  <a:gd name="connsiteX2" fmla="*/ 177260 w 2194336"/>
                  <a:gd name="connsiteY2" fmla="*/ 1900238 h 2389253"/>
                  <a:gd name="connsiteX3" fmla="*/ 220123 w 2194336"/>
                  <a:gd name="connsiteY3" fmla="*/ 1319213 h 2389253"/>
                  <a:gd name="connsiteX4" fmla="*/ 167735 w 2194336"/>
                  <a:gd name="connsiteY4" fmla="*/ 952501 h 2389253"/>
                  <a:gd name="connsiteX5" fmla="*/ 154908 w 2194336"/>
                  <a:gd name="connsiteY5" fmla="*/ 583866 h 2389253"/>
                  <a:gd name="connsiteX6" fmla="*/ 247056 w 2194336"/>
                  <a:gd name="connsiteY6" fmla="*/ 378976 h 2389253"/>
                  <a:gd name="connsiteX7" fmla="*/ 80233 w 2194336"/>
                  <a:gd name="connsiteY7" fmla="*/ 376074 h 2389253"/>
                  <a:gd name="connsiteX8" fmla="*/ 97887 w 2194336"/>
                  <a:gd name="connsiteY8" fmla="*/ 2377193 h 2389253"/>
                  <a:gd name="connsiteX9" fmla="*/ 1482186 w 2194336"/>
                  <a:gd name="connsiteY9" fmla="*/ 33338 h 2389253"/>
                  <a:gd name="connsiteX10" fmla="*/ 1744124 w 2194336"/>
                  <a:gd name="connsiteY10" fmla="*/ 14288 h 2389253"/>
                  <a:gd name="connsiteX11" fmla="*/ 2100135 w 2194336"/>
                  <a:gd name="connsiteY11" fmla="*/ 0 h 2389253"/>
                  <a:gd name="connsiteX12" fmla="*/ 2023963 w 2194336"/>
                  <a:gd name="connsiteY12" fmla="*/ 145914 h 2389253"/>
                  <a:gd name="connsiteX13" fmla="*/ 2194336 w 2194336"/>
                  <a:gd name="connsiteY13" fmla="*/ 268939 h 2389253"/>
                  <a:gd name="connsiteX14" fmla="*/ 764102 w 2194336"/>
                  <a:gd name="connsiteY14" fmla="*/ 271213 h 2389253"/>
                  <a:gd name="connsiteX15" fmla="*/ 446686 w 2194336"/>
                  <a:gd name="connsiteY15" fmla="*/ 588629 h 2389253"/>
                  <a:gd name="connsiteX16" fmla="*/ 446687 w 2194336"/>
                  <a:gd name="connsiteY16" fmla="*/ 2389253 h 2389253"/>
                  <a:gd name="connsiteX17" fmla="*/ 188246 w 2194336"/>
                  <a:gd name="connsiteY17" fmla="*/ 2389253 h 2389253"/>
                  <a:gd name="connsiteX0" fmla="*/ 188246 w 2194336"/>
                  <a:gd name="connsiteY0" fmla="*/ 2389253 h 2389253"/>
                  <a:gd name="connsiteX1" fmla="*/ 215360 w 2194336"/>
                  <a:gd name="connsiteY1" fmla="*/ 2095501 h 2389253"/>
                  <a:gd name="connsiteX2" fmla="*/ 177260 w 2194336"/>
                  <a:gd name="connsiteY2" fmla="*/ 1900238 h 2389253"/>
                  <a:gd name="connsiteX3" fmla="*/ 220123 w 2194336"/>
                  <a:gd name="connsiteY3" fmla="*/ 1319213 h 2389253"/>
                  <a:gd name="connsiteX4" fmla="*/ 167735 w 2194336"/>
                  <a:gd name="connsiteY4" fmla="*/ 952501 h 2389253"/>
                  <a:gd name="connsiteX5" fmla="*/ 154908 w 2194336"/>
                  <a:gd name="connsiteY5" fmla="*/ 583866 h 2389253"/>
                  <a:gd name="connsiteX6" fmla="*/ 247056 w 2194336"/>
                  <a:gd name="connsiteY6" fmla="*/ 378976 h 2389253"/>
                  <a:gd name="connsiteX7" fmla="*/ 80233 w 2194336"/>
                  <a:gd name="connsiteY7" fmla="*/ 376074 h 2389253"/>
                  <a:gd name="connsiteX8" fmla="*/ 97887 w 2194336"/>
                  <a:gd name="connsiteY8" fmla="*/ 2377193 h 2389253"/>
                  <a:gd name="connsiteX9" fmla="*/ 1482186 w 2194336"/>
                  <a:gd name="connsiteY9" fmla="*/ 33338 h 2389253"/>
                  <a:gd name="connsiteX10" fmla="*/ 1744124 w 2194336"/>
                  <a:gd name="connsiteY10" fmla="*/ 14288 h 2389253"/>
                  <a:gd name="connsiteX11" fmla="*/ 2100135 w 2194336"/>
                  <a:gd name="connsiteY11" fmla="*/ 0 h 2389253"/>
                  <a:gd name="connsiteX12" fmla="*/ 2023963 w 2194336"/>
                  <a:gd name="connsiteY12" fmla="*/ 145914 h 2389253"/>
                  <a:gd name="connsiteX13" fmla="*/ 2194336 w 2194336"/>
                  <a:gd name="connsiteY13" fmla="*/ 268939 h 2389253"/>
                  <a:gd name="connsiteX14" fmla="*/ 446686 w 2194336"/>
                  <a:gd name="connsiteY14" fmla="*/ 588629 h 2389253"/>
                  <a:gd name="connsiteX15" fmla="*/ 446687 w 2194336"/>
                  <a:gd name="connsiteY15" fmla="*/ 2389253 h 2389253"/>
                  <a:gd name="connsiteX16" fmla="*/ 188246 w 2194336"/>
                  <a:gd name="connsiteY16" fmla="*/ 2389253 h 2389253"/>
                  <a:gd name="connsiteX0" fmla="*/ 188246 w 2194336"/>
                  <a:gd name="connsiteY0" fmla="*/ 2389253 h 2389253"/>
                  <a:gd name="connsiteX1" fmla="*/ 215360 w 2194336"/>
                  <a:gd name="connsiteY1" fmla="*/ 2095501 h 2389253"/>
                  <a:gd name="connsiteX2" fmla="*/ 177260 w 2194336"/>
                  <a:gd name="connsiteY2" fmla="*/ 1900238 h 2389253"/>
                  <a:gd name="connsiteX3" fmla="*/ 220123 w 2194336"/>
                  <a:gd name="connsiteY3" fmla="*/ 1319213 h 2389253"/>
                  <a:gd name="connsiteX4" fmla="*/ 167735 w 2194336"/>
                  <a:gd name="connsiteY4" fmla="*/ 952501 h 2389253"/>
                  <a:gd name="connsiteX5" fmla="*/ 154908 w 2194336"/>
                  <a:gd name="connsiteY5" fmla="*/ 583866 h 2389253"/>
                  <a:gd name="connsiteX6" fmla="*/ 247056 w 2194336"/>
                  <a:gd name="connsiteY6" fmla="*/ 378976 h 2389253"/>
                  <a:gd name="connsiteX7" fmla="*/ 80233 w 2194336"/>
                  <a:gd name="connsiteY7" fmla="*/ 376074 h 2389253"/>
                  <a:gd name="connsiteX8" fmla="*/ 97887 w 2194336"/>
                  <a:gd name="connsiteY8" fmla="*/ 2377193 h 2389253"/>
                  <a:gd name="connsiteX9" fmla="*/ 1482186 w 2194336"/>
                  <a:gd name="connsiteY9" fmla="*/ 33338 h 2389253"/>
                  <a:gd name="connsiteX10" fmla="*/ 1744124 w 2194336"/>
                  <a:gd name="connsiteY10" fmla="*/ 14288 h 2389253"/>
                  <a:gd name="connsiteX11" fmla="*/ 2100135 w 2194336"/>
                  <a:gd name="connsiteY11" fmla="*/ 0 h 2389253"/>
                  <a:gd name="connsiteX12" fmla="*/ 2023963 w 2194336"/>
                  <a:gd name="connsiteY12" fmla="*/ 145914 h 2389253"/>
                  <a:gd name="connsiteX13" fmla="*/ 2194336 w 2194336"/>
                  <a:gd name="connsiteY13" fmla="*/ 268939 h 2389253"/>
                  <a:gd name="connsiteX14" fmla="*/ 446687 w 2194336"/>
                  <a:gd name="connsiteY14" fmla="*/ 2389253 h 2389253"/>
                  <a:gd name="connsiteX15" fmla="*/ 188246 w 2194336"/>
                  <a:gd name="connsiteY15" fmla="*/ 2389253 h 2389253"/>
                  <a:gd name="connsiteX0" fmla="*/ 207614 w 2213704"/>
                  <a:gd name="connsiteY0" fmla="*/ 2389253 h 2389253"/>
                  <a:gd name="connsiteX1" fmla="*/ 234728 w 2213704"/>
                  <a:gd name="connsiteY1" fmla="*/ 2095501 h 2389253"/>
                  <a:gd name="connsiteX2" fmla="*/ 196628 w 2213704"/>
                  <a:gd name="connsiteY2" fmla="*/ 1900238 h 2389253"/>
                  <a:gd name="connsiteX3" fmla="*/ 239491 w 2213704"/>
                  <a:gd name="connsiteY3" fmla="*/ 1319213 h 2389253"/>
                  <a:gd name="connsiteX4" fmla="*/ 187103 w 2213704"/>
                  <a:gd name="connsiteY4" fmla="*/ 952501 h 2389253"/>
                  <a:gd name="connsiteX5" fmla="*/ 174276 w 2213704"/>
                  <a:gd name="connsiteY5" fmla="*/ 583866 h 2389253"/>
                  <a:gd name="connsiteX6" fmla="*/ 266424 w 2213704"/>
                  <a:gd name="connsiteY6" fmla="*/ 378976 h 2389253"/>
                  <a:gd name="connsiteX7" fmla="*/ 99601 w 2213704"/>
                  <a:gd name="connsiteY7" fmla="*/ 376074 h 2389253"/>
                  <a:gd name="connsiteX8" fmla="*/ 117255 w 2213704"/>
                  <a:gd name="connsiteY8" fmla="*/ 2377193 h 2389253"/>
                  <a:gd name="connsiteX9" fmla="*/ 1763492 w 2213704"/>
                  <a:gd name="connsiteY9" fmla="*/ 14288 h 2389253"/>
                  <a:gd name="connsiteX10" fmla="*/ 2119503 w 2213704"/>
                  <a:gd name="connsiteY10" fmla="*/ 0 h 2389253"/>
                  <a:gd name="connsiteX11" fmla="*/ 2043331 w 2213704"/>
                  <a:gd name="connsiteY11" fmla="*/ 145914 h 2389253"/>
                  <a:gd name="connsiteX12" fmla="*/ 2213704 w 2213704"/>
                  <a:gd name="connsiteY12" fmla="*/ 268939 h 2389253"/>
                  <a:gd name="connsiteX13" fmla="*/ 466055 w 2213704"/>
                  <a:gd name="connsiteY13" fmla="*/ 2389253 h 2389253"/>
                  <a:gd name="connsiteX14" fmla="*/ 207614 w 2213704"/>
                  <a:gd name="connsiteY14" fmla="*/ 2389253 h 2389253"/>
                  <a:gd name="connsiteX0" fmla="*/ 233952 w 2240042"/>
                  <a:gd name="connsiteY0" fmla="*/ 2389253 h 2389253"/>
                  <a:gd name="connsiteX1" fmla="*/ 261066 w 2240042"/>
                  <a:gd name="connsiteY1" fmla="*/ 2095501 h 2389253"/>
                  <a:gd name="connsiteX2" fmla="*/ 222966 w 2240042"/>
                  <a:gd name="connsiteY2" fmla="*/ 1900238 h 2389253"/>
                  <a:gd name="connsiteX3" fmla="*/ 265829 w 2240042"/>
                  <a:gd name="connsiteY3" fmla="*/ 1319213 h 2389253"/>
                  <a:gd name="connsiteX4" fmla="*/ 213441 w 2240042"/>
                  <a:gd name="connsiteY4" fmla="*/ 952501 h 2389253"/>
                  <a:gd name="connsiteX5" fmla="*/ 200614 w 2240042"/>
                  <a:gd name="connsiteY5" fmla="*/ 583866 h 2389253"/>
                  <a:gd name="connsiteX6" fmla="*/ 292762 w 2240042"/>
                  <a:gd name="connsiteY6" fmla="*/ 378976 h 2389253"/>
                  <a:gd name="connsiteX7" fmla="*/ 125939 w 2240042"/>
                  <a:gd name="connsiteY7" fmla="*/ 376074 h 2389253"/>
                  <a:gd name="connsiteX8" fmla="*/ 143593 w 2240042"/>
                  <a:gd name="connsiteY8" fmla="*/ 2377193 h 2389253"/>
                  <a:gd name="connsiteX9" fmla="*/ 2145841 w 2240042"/>
                  <a:gd name="connsiteY9" fmla="*/ 0 h 2389253"/>
                  <a:gd name="connsiteX10" fmla="*/ 2069669 w 2240042"/>
                  <a:gd name="connsiteY10" fmla="*/ 145914 h 2389253"/>
                  <a:gd name="connsiteX11" fmla="*/ 2240042 w 2240042"/>
                  <a:gd name="connsiteY11" fmla="*/ 268939 h 2389253"/>
                  <a:gd name="connsiteX12" fmla="*/ 492393 w 2240042"/>
                  <a:gd name="connsiteY12" fmla="*/ 2389253 h 2389253"/>
                  <a:gd name="connsiteX13" fmla="*/ 233952 w 2240042"/>
                  <a:gd name="connsiteY13" fmla="*/ 2389253 h 2389253"/>
                  <a:gd name="connsiteX0" fmla="*/ 228317 w 2234407"/>
                  <a:gd name="connsiteY0" fmla="*/ 2243339 h 2243339"/>
                  <a:gd name="connsiteX1" fmla="*/ 255431 w 2234407"/>
                  <a:gd name="connsiteY1" fmla="*/ 1949587 h 2243339"/>
                  <a:gd name="connsiteX2" fmla="*/ 217331 w 2234407"/>
                  <a:gd name="connsiteY2" fmla="*/ 1754324 h 2243339"/>
                  <a:gd name="connsiteX3" fmla="*/ 260194 w 2234407"/>
                  <a:gd name="connsiteY3" fmla="*/ 1173299 h 2243339"/>
                  <a:gd name="connsiteX4" fmla="*/ 207806 w 2234407"/>
                  <a:gd name="connsiteY4" fmla="*/ 806587 h 2243339"/>
                  <a:gd name="connsiteX5" fmla="*/ 194979 w 2234407"/>
                  <a:gd name="connsiteY5" fmla="*/ 437952 h 2243339"/>
                  <a:gd name="connsiteX6" fmla="*/ 287127 w 2234407"/>
                  <a:gd name="connsiteY6" fmla="*/ 233062 h 2243339"/>
                  <a:gd name="connsiteX7" fmla="*/ 120304 w 2234407"/>
                  <a:gd name="connsiteY7" fmla="*/ 230160 h 2243339"/>
                  <a:gd name="connsiteX8" fmla="*/ 137958 w 2234407"/>
                  <a:gd name="connsiteY8" fmla="*/ 2231279 h 2243339"/>
                  <a:gd name="connsiteX9" fmla="*/ 2064034 w 2234407"/>
                  <a:gd name="connsiteY9" fmla="*/ 0 h 2243339"/>
                  <a:gd name="connsiteX10" fmla="*/ 2234407 w 2234407"/>
                  <a:gd name="connsiteY10" fmla="*/ 123025 h 2243339"/>
                  <a:gd name="connsiteX11" fmla="*/ 486758 w 2234407"/>
                  <a:gd name="connsiteY11" fmla="*/ 2243339 h 2243339"/>
                  <a:gd name="connsiteX12" fmla="*/ 228317 w 2234407"/>
                  <a:gd name="connsiteY12" fmla="*/ 2243339 h 2243339"/>
                  <a:gd name="connsiteX0" fmla="*/ 240923 w 2247013"/>
                  <a:gd name="connsiteY0" fmla="*/ 2120316 h 2120316"/>
                  <a:gd name="connsiteX1" fmla="*/ 268037 w 2247013"/>
                  <a:gd name="connsiteY1" fmla="*/ 1826564 h 2120316"/>
                  <a:gd name="connsiteX2" fmla="*/ 229937 w 2247013"/>
                  <a:gd name="connsiteY2" fmla="*/ 1631301 h 2120316"/>
                  <a:gd name="connsiteX3" fmla="*/ 272800 w 2247013"/>
                  <a:gd name="connsiteY3" fmla="*/ 1050276 h 2120316"/>
                  <a:gd name="connsiteX4" fmla="*/ 220412 w 2247013"/>
                  <a:gd name="connsiteY4" fmla="*/ 683564 h 2120316"/>
                  <a:gd name="connsiteX5" fmla="*/ 207585 w 2247013"/>
                  <a:gd name="connsiteY5" fmla="*/ 314929 h 2120316"/>
                  <a:gd name="connsiteX6" fmla="*/ 299733 w 2247013"/>
                  <a:gd name="connsiteY6" fmla="*/ 110039 h 2120316"/>
                  <a:gd name="connsiteX7" fmla="*/ 132910 w 2247013"/>
                  <a:gd name="connsiteY7" fmla="*/ 107137 h 2120316"/>
                  <a:gd name="connsiteX8" fmla="*/ 150564 w 2247013"/>
                  <a:gd name="connsiteY8" fmla="*/ 2108256 h 2120316"/>
                  <a:gd name="connsiteX9" fmla="*/ 2247013 w 2247013"/>
                  <a:gd name="connsiteY9" fmla="*/ 2 h 2120316"/>
                  <a:gd name="connsiteX10" fmla="*/ 499364 w 2247013"/>
                  <a:gd name="connsiteY10" fmla="*/ 2120316 h 2120316"/>
                  <a:gd name="connsiteX11" fmla="*/ 240923 w 2247013"/>
                  <a:gd name="connsiteY11" fmla="*/ 2120316 h 2120316"/>
                  <a:gd name="connsiteX0" fmla="*/ 114280 w 372721"/>
                  <a:gd name="connsiteY0" fmla="*/ 2027025 h 2166819"/>
                  <a:gd name="connsiteX1" fmla="*/ 141394 w 372721"/>
                  <a:gd name="connsiteY1" fmla="*/ 1733273 h 2166819"/>
                  <a:gd name="connsiteX2" fmla="*/ 103294 w 372721"/>
                  <a:gd name="connsiteY2" fmla="*/ 1538010 h 2166819"/>
                  <a:gd name="connsiteX3" fmla="*/ 146157 w 372721"/>
                  <a:gd name="connsiteY3" fmla="*/ 956985 h 2166819"/>
                  <a:gd name="connsiteX4" fmla="*/ 93769 w 372721"/>
                  <a:gd name="connsiteY4" fmla="*/ 590273 h 2166819"/>
                  <a:gd name="connsiteX5" fmla="*/ 80942 w 372721"/>
                  <a:gd name="connsiteY5" fmla="*/ 221638 h 2166819"/>
                  <a:gd name="connsiteX6" fmla="*/ 173090 w 372721"/>
                  <a:gd name="connsiteY6" fmla="*/ 16748 h 2166819"/>
                  <a:gd name="connsiteX7" fmla="*/ 6267 w 372721"/>
                  <a:gd name="connsiteY7" fmla="*/ 13846 h 2166819"/>
                  <a:gd name="connsiteX8" fmla="*/ 23921 w 372721"/>
                  <a:gd name="connsiteY8" fmla="*/ 2014965 h 2166819"/>
                  <a:gd name="connsiteX9" fmla="*/ 372721 w 372721"/>
                  <a:gd name="connsiteY9" fmla="*/ 2027025 h 2166819"/>
                  <a:gd name="connsiteX10" fmla="*/ 114280 w 372721"/>
                  <a:gd name="connsiteY10" fmla="*/ 2027025 h 2166819"/>
                  <a:gd name="connsiteX0" fmla="*/ 114280 w 176270"/>
                  <a:gd name="connsiteY0" fmla="*/ 2027025 h 2178676"/>
                  <a:gd name="connsiteX1" fmla="*/ 141394 w 176270"/>
                  <a:gd name="connsiteY1" fmla="*/ 1733273 h 2178676"/>
                  <a:gd name="connsiteX2" fmla="*/ 103294 w 176270"/>
                  <a:gd name="connsiteY2" fmla="*/ 1538010 h 2178676"/>
                  <a:gd name="connsiteX3" fmla="*/ 146157 w 176270"/>
                  <a:gd name="connsiteY3" fmla="*/ 956985 h 2178676"/>
                  <a:gd name="connsiteX4" fmla="*/ 93769 w 176270"/>
                  <a:gd name="connsiteY4" fmla="*/ 590273 h 2178676"/>
                  <a:gd name="connsiteX5" fmla="*/ 80942 w 176270"/>
                  <a:gd name="connsiteY5" fmla="*/ 221638 h 2178676"/>
                  <a:gd name="connsiteX6" fmla="*/ 173090 w 176270"/>
                  <a:gd name="connsiteY6" fmla="*/ 16748 h 2178676"/>
                  <a:gd name="connsiteX7" fmla="*/ 6267 w 176270"/>
                  <a:gd name="connsiteY7" fmla="*/ 13846 h 2178676"/>
                  <a:gd name="connsiteX8" fmla="*/ 23921 w 176270"/>
                  <a:gd name="connsiteY8" fmla="*/ 2014965 h 2178676"/>
                  <a:gd name="connsiteX9" fmla="*/ 114280 w 176270"/>
                  <a:gd name="connsiteY9" fmla="*/ 2027025 h 2178676"/>
                  <a:gd name="connsiteX0" fmla="*/ 114280 w 176270"/>
                  <a:gd name="connsiteY0" fmla="*/ 2027025 h 2027025"/>
                  <a:gd name="connsiteX1" fmla="*/ 141394 w 176270"/>
                  <a:gd name="connsiteY1" fmla="*/ 1733273 h 2027025"/>
                  <a:gd name="connsiteX2" fmla="*/ 103294 w 176270"/>
                  <a:gd name="connsiteY2" fmla="*/ 1538010 h 2027025"/>
                  <a:gd name="connsiteX3" fmla="*/ 146157 w 176270"/>
                  <a:gd name="connsiteY3" fmla="*/ 956985 h 2027025"/>
                  <a:gd name="connsiteX4" fmla="*/ 93769 w 176270"/>
                  <a:gd name="connsiteY4" fmla="*/ 590273 h 2027025"/>
                  <a:gd name="connsiteX5" fmla="*/ 80942 w 176270"/>
                  <a:gd name="connsiteY5" fmla="*/ 221638 h 2027025"/>
                  <a:gd name="connsiteX6" fmla="*/ 173090 w 176270"/>
                  <a:gd name="connsiteY6" fmla="*/ 16748 h 2027025"/>
                  <a:gd name="connsiteX7" fmla="*/ 6267 w 176270"/>
                  <a:gd name="connsiteY7" fmla="*/ 13846 h 2027025"/>
                  <a:gd name="connsiteX8" fmla="*/ 23921 w 176270"/>
                  <a:gd name="connsiteY8" fmla="*/ 2014965 h 2027025"/>
                  <a:gd name="connsiteX9" fmla="*/ 114280 w 176270"/>
                  <a:gd name="connsiteY9" fmla="*/ 2027025 h 2027025"/>
                  <a:gd name="connsiteX0" fmla="*/ 114280 w 176270"/>
                  <a:gd name="connsiteY0" fmla="*/ 2027025 h 2027025"/>
                  <a:gd name="connsiteX1" fmla="*/ 141394 w 176270"/>
                  <a:gd name="connsiteY1" fmla="*/ 1733273 h 2027025"/>
                  <a:gd name="connsiteX2" fmla="*/ 103294 w 176270"/>
                  <a:gd name="connsiteY2" fmla="*/ 1538010 h 2027025"/>
                  <a:gd name="connsiteX3" fmla="*/ 146157 w 176270"/>
                  <a:gd name="connsiteY3" fmla="*/ 956985 h 2027025"/>
                  <a:gd name="connsiteX4" fmla="*/ 93769 w 176270"/>
                  <a:gd name="connsiteY4" fmla="*/ 590273 h 2027025"/>
                  <a:gd name="connsiteX5" fmla="*/ 80942 w 176270"/>
                  <a:gd name="connsiteY5" fmla="*/ 221638 h 2027025"/>
                  <a:gd name="connsiteX6" fmla="*/ 173090 w 176270"/>
                  <a:gd name="connsiteY6" fmla="*/ 16748 h 2027025"/>
                  <a:gd name="connsiteX7" fmla="*/ 6267 w 176270"/>
                  <a:gd name="connsiteY7" fmla="*/ 13846 h 2027025"/>
                  <a:gd name="connsiteX8" fmla="*/ 23921 w 176270"/>
                  <a:gd name="connsiteY8" fmla="*/ 2014965 h 2027025"/>
                  <a:gd name="connsiteX9" fmla="*/ 114280 w 176270"/>
                  <a:gd name="connsiteY9" fmla="*/ 2027025 h 2027025"/>
                  <a:gd name="connsiteX0" fmla="*/ 114280 w 176270"/>
                  <a:gd name="connsiteY0" fmla="*/ 2027025 h 2027025"/>
                  <a:gd name="connsiteX1" fmla="*/ 141394 w 176270"/>
                  <a:gd name="connsiteY1" fmla="*/ 1733273 h 2027025"/>
                  <a:gd name="connsiteX2" fmla="*/ 103294 w 176270"/>
                  <a:gd name="connsiteY2" fmla="*/ 1538010 h 2027025"/>
                  <a:gd name="connsiteX3" fmla="*/ 146157 w 176270"/>
                  <a:gd name="connsiteY3" fmla="*/ 956985 h 2027025"/>
                  <a:gd name="connsiteX4" fmla="*/ 93769 w 176270"/>
                  <a:gd name="connsiteY4" fmla="*/ 590273 h 2027025"/>
                  <a:gd name="connsiteX5" fmla="*/ 80942 w 176270"/>
                  <a:gd name="connsiteY5" fmla="*/ 221638 h 2027025"/>
                  <a:gd name="connsiteX6" fmla="*/ 173090 w 176270"/>
                  <a:gd name="connsiteY6" fmla="*/ 16748 h 2027025"/>
                  <a:gd name="connsiteX7" fmla="*/ 6267 w 176270"/>
                  <a:gd name="connsiteY7" fmla="*/ 13846 h 2027025"/>
                  <a:gd name="connsiteX8" fmla="*/ 8037 w 176270"/>
                  <a:gd name="connsiteY8" fmla="*/ 2026878 h 2027025"/>
                  <a:gd name="connsiteX9" fmla="*/ 114280 w 176270"/>
                  <a:gd name="connsiteY9" fmla="*/ 2027025 h 2027025"/>
                  <a:gd name="connsiteX0" fmla="*/ 108013 w 166823"/>
                  <a:gd name="connsiteY0" fmla="*/ 2162103 h 2162103"/>
                  <a:gd name="connsiteX1" fmla="*/ 135127 w 166823"/>
                  <a:gd name="connsiteY1" fmla="*/ 1868351 h 2162103"/>
                  <a:gd name="connsiteX2" fmla="*/ 97027 w 166823"/>
                  <a:gd name="connsiteY2" fmla="*/ 1673088 h 2162103"/>
                  <a:gd name="connsiteX3" fmla="*/ 139890 w 166823"/>
                  <a:gd name="connsiteY3" fmla="*/ 1092063 h 2162103"/>
                  <a:gd name="connsiteX4" fmla="*/ 87502 w 166823"/>
                  <a:gd name="connsiteY4" fmla="*/ 725351 h 2162103"/>
                  <a:gd name="connsiteX5" fmla="*/ 74675 w 166823"/>
                  <a:gd name="connsiteY5" fmla="*/ 356716 h 2162103"/>
                  <a:gd name="connsiteX6" fmla="*/ 166823 w 166823"/>
                  <a:gd name="connsiteY6" fmla="*/ 151826 h 2162103"/>
                  <a:gd name="connsiteX7" fmla="*/ 56287 w 166823"/>
                  <a:gd name="connsiteY7" fmla="*/ 150698 h 2162103"/>
                  <a:gd name="connsiteX8" fmla="*/ 0 w 166823"/>
                  <a:gd name="connsiteY8" fmla="*/ 148924 h 2162103"/>
                  <a:gd name="connsiteX9" fmla="*/ 1770 w 166823"/>
                  <a:gd name="connsiteY9" fmla="*/ 2161956 h 2162103"/>
                  <a:gd name="connsiteX10" fmla="*/ 108013 w 166823"/>
                  <a:gd name="connsiteY10" fmla="*/ 2162103 h 2162103"/>
                  <a:gd name="connsiteX0" fmla="*/ 108013 w 166823"/>
                  <a:gd name="connsiteY0" fmla="*/ 2169259 h 2169259"/>
                  <a:gd name="connsiteX1" fmla="*/ 135127 w 166823"/>
                  <a:gd name="connsiteY1" fmla="*/ 1875507 h 2169259"/>
                  <a:gd name="connsiteX2" fmla="*/ 97027 w 166823"/>
                  <a:gd name="connsiteY2" fmla="*/ 1680244 h 2169259"/>
                  <a:gd name="connsiteX3" fmla="*/ 139890 w 166823"/>
                  <a:gd name="connsiteY3" fmla="*/ 1099219 h 2169259"/>
                  <a:gd name="connsiteX4" fmla="*/ 87502 w 166823"/>
                  <a:gd name="connsiteY4" fmla="*/ 732507 h 2169259"/>
                  <a:gd name="connsiteX5" fmla="*/ 74675 w 166823"/>
                  <a:gd name="connsiteY5" fmla="*/ 363872 h 2169259"/>
                  <a:gd name="connsiteX6" fmla="*/ 166823 w 166823"/>
                  <a:gd name="connsiteY6" fmla="*/ 158982 h 2169259"/>
                  <a:gd name="connsiteX7" fmla="*/ 0 w 166823"/>
                  <a:gd name="connsiteY7" fmla="*/ 156080 h 2169259"/>
                  <a:gd name="connsiteX8" fmla="*/ 1770 w 166823"/>
                  <a:gd name="connsiteY8" fmla="*/ 2169112 h 2169259"/>
                  <a:gd name="connsiteX9" fmla="*/ 108013 w 166823"/>
                  <a:gd name="connsiteY9" fmla="*/ 2169259 h 2169259"/>
                  <a:gd name="connsiteX0" fmla="*/ 108013 w 166823"/>
                  <a:gd name="connsiteY0" fmla="*/ 2013179 h 2013179"/>
                  <a:gd name="connsiteX1" fmla="*/ 135127 w 166823"/>
                  <a:gd name="connsiteY1" fmla="*/ 1719427 h 2013179"/>
                  <a:gd name="connsiteX2" fmla="*/ 97027 w 166823"/>
                  <a:gd name="connsiteY2" fmla="*/ 1524164 h 2013179"/>
                  <a:gd name="connsiteX3" fmla="*/ 139890 w 166823"/>
                  <a:gd name="connsiteY3" fmla="*/ 943139 h 2013179"/>
                  <a:gd name="connsiteX4" fmla="*/ 87502 w 166823"/>
                  <a:gd name="connsiteY4" fmla="*/ 576427 h 2013179"/>
                  <a:gd name="connsiteX5" fmla="*/ 74675 w 166823"/>
                  <a:gd name="connsiteY5" fmla="*/ 207792 h 2013179"/>
                  <a:gd name="connsiteX6" fmla="*/ 166823 w 166823"/>
                  <a:gd name="connsiteY6" fmla="*/ 2902 h 2013179"/>
                  <a:gd name="connsiteX7" fmla="*/ 0 w 166823"/>
                  <a:gd name="connsiteY7" fmla="*/ 0 h 2013179"/>
                  <a:gd name="connsiteX8" fmla="*/ 1770 w 166823"/>
                  <a:gd name="connsiteY8" fmla="*/ 2013032 h 2013179"/>
                  <a:gd name="connsiteX9" fmla="*/ 108013 w 166823"/>
                  <a:gd name="connsiteY9" fmla="*/ 2013179 h 20131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66823" h="2013179">
                    <a:moveTo>
                      <a:pt x="108013" y="2013179"/>
                    </a:moveTo>
                    <a:cubicBezTo>
                      <a:pt x="107526" y="1916849"/>
                      <a:pt x="135614" y="1815757"/>
                      <a:pt x="135127" y="1719427"/>
                    </a:cubicBezTo>
                    <a:cubicBezTo>
                      <a:pt x="135127" y="1682914"/>
                      <a:pt x="97027" y="1560677"/>
                      <a:pt x="97027" y="1524164"/>
                    </a:cubicBezTo>
                    <a:cubicBezTo>
                      <a:pt x="100202" y="1335252"/>
                      <a:pt x="136715" y="1132051"/>
                      <a:pt x="139890" y="943139"/>
                    </a:cubicBezTo>
                    <a:cubicBezTo>
                      <a:pt x="136715" y="825664"/>
                      <a:pt x="90677" y="693902"/>
                      <a:pt x="87502" y="576427"/>
                    </a:cubicBezTo>
                    <a:cubicBezTo>
                      <a:pt x="127676" y="431323"/>
                      <a:pt x="67838" y="329083"/>
                      <a:pt x="74675" y="207792"/>
                    </a:cubicBezTo>
                    <a:cubicBezTo>
                      <a:pt x="76263" y="123655"/>
                      <a:pt x="65291" y="98084"/>
                      <a:pt x="166823" y="2902"/>
                    </a:cubicBezTo>
                    <a:lnTo>
                      <a:pt x="0" y="0"/>
                    </a:lnTo>
                    <a:lnTo>
                      <a:pt x="1770" y="2013032"/>
                    </a:lnTo>
                    <a:lnTo>
                      <a:pt x="108013" y="2013179"/>
                    </a:lnTo>
                    <a:close/>
                  </a:path>
                </a:pathLst>
              </a:custGeom>
              <a:pattFill prst="wdUpDiag">
                <a:fgClr>
                  <a:srgbClr val="EE7713"/>
                </a:fgClr>
                <a:bgClr>
                  <a:srgbClr val="FFFF00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/>
              </a:p>
            </p:txBody>
          </p:sp>
          <p:sp>
            <p:nvSpPr>
              <p:cNvPr id="49" name="Freccia curva 2"/>
              <p:cNvSpPr/>
              <p:nvPr/>
            </p:nvSpPr>
            <p:spPr>
              <a:xfrm flipV="1">
                <a:off x="1784812" y="2487544"/>
                <a:ext cx="2730472" cy="3180096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51444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866756" y="0"/>
                      <a:pt x="1957243" y="0"/>
                    </a:cubicBezTo>
                    <a:lnTo>
                      <a:pt x="1881071" y="145914"/>
                    </a:lnTo>
                    <a:lnTo>
                      <a:pt x="2051444" y="26893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Rettangolo 6"/>
              <p:cNvSpPr/>
              <p:nvPr/>
            </p:nvSpPr>
            <p:spPr>
              <a:xfrm>
                <a:off x="409648" y="1140689"/>
                <a:ext cx="400126" cy="4030834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0621" h="3028426">
                    <a:moveTo>
                      <a:pt x="0" y="60154"/>
                    </a:moveTo>
                    <a:cubicBezTo>
                      <a:pt x="42672" y="57106"/>
                      <a:pt x="85296" y="106648"/>
                      <a:pt x="127968" y="103600"/>
                    </a:cubicBezTo>
                    <a:lnTo>
                      <a:pt x="283139" y="0"/>
                    </a:lnTo>
                    <a:cubicBezTo>
                      <a:pt x="285782" y="195136"/>
                      <a:pt x="272026" y="86821"/>
                      <a:pt x="278376" y="313040"/>
                    </a:cubicBezTo>
                    <a:cubicBezTo>
                      <a:pt x="284726" y="539259"/>
                      <a:pt x="297426" y="589265"/>
                      <a:pt x="292664" y="732140"/>
                    </a:cubicBezTo>
                    <a:cubicBezTo>
                      <a:pt x="287902" y="875015"/>
                      <a:pt x="262503" y="1053609"/>
                      <a:pt x="259328" y="1160765"/>
                    </a:cubicBezTo>
                    <a:cubicBezTo>
                      <a:pt x="257208" y="1534494"/>
                      <a:pt x="259327" y="1236966"/>
                      <a:pt x="264089" y="1384603"/>
                    </a:cubicBezTo>
                    <a:cubicBezTo>
                      <a:pt x="268851" y="1532240"/>
                      <a:pt x="287903" y="1887840"/>
                      <a:pt x="287903" y="2046590"/>
                    </a:cubicBezTo>
                    <a:cubicBezTo>
                      <a:pt x="293459" y="2255346"/>
                      <a:pt x="273614" y="2237884"/>
                      <a:pt x="273614" y="2327578"/>
                    </a:cubicBezTo>
                    <a:cubicBezTo>
                      <a:pt x="273614" y="2417272"/>
                      <a:pt x="275203" y="2502203"/>
                      <a:pt x="268853" y="2565703"/>
                    </a:cubicBezTo>
                    <a:cubicBezTo>
                      <a:pt x="262503" y="2629203"/>
                      <a:pt x="270702" y="2726708"/>
                      <a:pt x="273615" y="2794303"/>
                    </a:cubicBezTo>
                    <a:lnTo>
                      <a:pt x="300621" y="3028426"/>
                    </a:lnTo>
                    <a:lnTo>
                      <a:pt x="6870" y="3018901"/>
                    </a:lnTo>
                    <a:lnTo>
                      <a:pt x="0" y="60154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1" name="Titolo 1"/>
            <p:cNvSpPr txBox="1">
              <a:spLocks/>
            </p:cNvSpPr>
            <p:nvPr/>
          </p:nvSpPr>
          <p:spPr>
            <a:xfrm>
              <a:off x="-7611590" y="635224"/>
              <a:ext cx="1403770" cy="1841542"/>
            </a:xfrm>
            <a:prstGeom prst="rect">
              <a:avLst/>
            </a:prstGeom>
            <a:solidFill>
              <a:srgbClr val="CCFF33"/>
            </a:solidFill>
          </p:spPr>
          <p:txBody>
            <a:bodyPr wrap="square">
              <a:spAutoFit/>
            </a:bodyPr>
            <a:lstStyle>
              <a:defPPr>
                <a:defRPr lang="it-IT"/>
              </a:defPPr>
              <a:lvl1pPr eaLnBrk="0" hangingPunct="0">
                <a:defRPr sz="1400" b="1" i="0">
                  <a:latin typeface="Arial Narrow" panose="020B0606020202030204" pitchFamily="34" charset="0"/>
                  <a:ea typeface="ＭＳ Ｐゴシック" charset="0"/>
                  <a:cs typeface="Arial"/>
                </a:defRPr>
              </a:lvl1pPr>
              <a:lvl2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r>
                <a:rPr lang="en-US" sz="1050" dirty="0"/>
                <a:t>4. </a:t>
              </a:r>
              <a:r>
                <a:rPr lang="en-US" sz="1050" dirty="0"/>
                <a:t>Machined sacrificial material on both surfaces ensure seamless installation</a:t>
              </a:r>
            </a:p>
          </p:txBody>
        </p:sp>
        <p:sp>
          <p:nvSpPr>
            <p:cNvPr id="63" name="Titolo 1"/>
            <p:cNvSpPr txBox="1">
              <a:spLocks/>
            </p:cNvSpPr>
            <p:nvPr/>
          </p:nvSpPr>
          <p:spPr>
            <a:xfrm>
              <a:off x="-11210141" y="635224"/>
              <a:ext cx="1484799" cy="1111875"/>
            </a:xfrm>
            <a:prstGeom prst="rect">
              <a:avLst/>
            </a:prstGeom>
            <a:solidFill>
              <a:srgbClr val="CCFF33"/>
            </a:solidFill>
          </p:spPr>
          <p:txBody>
            <a:bodyPr wrap="square">
              <a:spAutoFit/>
            </a:bodyPr>
            <a:lstStyle>
              <a:defPPr>
                <a:defRPr lang="it-IT"/>
              </a:defPPr>
              <a:lvl1pPr eaLnBrk="0" hangingPunct="0">
                <a:defRPr sz="1400" b="1" i="0">
                  <a:latin typeface="Arial Narrow" panose="020B0606020202030204" pitchFamily="34" charset="0"/>
                  <a:ea typeface="ＭＳ Ｐゴシック" charset="0"/>
                  <a:cs typeface="Arial"/>
                </a:defRPr>
              </a:lvl1pPr>
              <a:lvl2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2pPr>
              <a:lvl3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3pPr>
              <a:lvl4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4pPr>
              <a:lvl5pPr algn="ctr" eaLnBrk="0" hangingPunct="0"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5pPr>
              <a:lvl6pPr marL="4572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6pPr>
              <a:lvl7pPr marL="9144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7pPr>
              <a:lvl8pPr marL="13716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8pPr>
              <a:lvl9pPr marL="1828800" algn="ctr" defTabSz="457200" fontAlgn="base">
                <a:spcBef>
                  <a:spcPct val="0"/>
                </a:spcBef>
                <a:spcAft>
                  <a:spcPct val="0"/>
                </a:spcAft>
                <a:defRPr sz="4400">
                  <a:latin typeface="Calibri" charset="0"/>
                  <a:ea typeface="ＭＳ Ｐゴシック" charset="0"/>
                  <a:cs typeface="ＭＳ Ｐゴシック" charset="0"/>
                </a:defRPr>
              </a:lvl9pPr>
            </a:lstStyle>
            <a:p>
              <a:r>
                <a:rPr lang="en-US" sz="1050" dirty="0"/>
                <a:t>3. Machine </a:t>
              </a:r>
              <a:r>
                <a:rPr lang="en-US" sz="1050" dirty="0"/>
                <a:t>sacrificial </a:t>
              </a:r>
              <a:r>
                <a:rPr lang="en-US" sz="1050" dirty="0"/>
                <a:t>material on Panel</a:t>
              </a:r>
              <a:endParaRPr lang="en-US" sz="1050" dirty="0"/>
            </a:p>
          </p:txBody>
        </p:sp>
      </p:grpSp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Stato dell’arte del processo di </a:t>
            </a:r>
            <a:r>
              <a:rPr lang="it-IT" dirty="0" err="1" smtClean="0"/>
              <a:t>shimming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sz="2700" dirty="0" smtClean="0"/>
              <a:t>Materiale Sacrifica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92357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olo 1"/>
          <p:cNvSpPr txBox="1">
            <a:spLocks/>
          </p:cNvSpPr>
          <p:nvPr/>
        </p:nvSpPr>
        <p:spPr>
          <a:xfrm>
            <a:off x="408059" y="2379966"/>
            <a:ext cx="2399010" cy="321306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err="1" smtClean="0"/>
              <a:t>Uso</a:t>
            </a:r>
            <a:r>
              <a:rPr lang="en-US" sz="1488" dirty="0" smtClean="0"/>
              <a:t> </a:t>
            </a:r>
            <a:r>
              <a:rPr lang="en-US" sz="1488" dirty="0" err="1" smtClean="0"/>
              <a:t>dello</a:t>
            </a:r>
            <a:r>
              <a:rPr lang="en-US" sz="1488" dirty="0" smtClean="0"/>
              <a:t> shim </a:t>
            </a:r>
            <a:r>
              <a:rPr lang="en-US" sz="1488" dirty="0" err="1" smtClean="0"/>
              <a:t>liquido</a:t>
            </a:r>
            <a:endParaRPr lang="en-US" sz="1488" dirty="0"/>
          </a:p>
        </p:txBody>
      </p:sp>
      <p:sp>
        <p:nvSpPr>
          <p:cNvPr id="24" name="Titolo 1"/>
          <p:cNvSpPr txBox="1">
            <a:spLocks/>
          </p:cNvSpPr>
          <p:nvPr/>
        </p:nvSpPr>
        <p:spPr>
          <a:xfrm>
            <a:off x="4826576" y="1637952"/>
            <a:ext cx="1243304" cy="415498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050" dirty="0"/>
              <a:t>1</a:t>
            </a:r>
            <a:r>
              <a:rPr lang="en-US" sz="1050" dirty="0"/>
              <a:t>. </a:t>
            </a:r>
            <a:r>
              <a:rPr lang="en-US" sz="1050" dirty="0" smtClean="0"/>
              <a:t>Apply liquid shim on a part</a:t>
            </a:r>
            <a:endParaRPr lang="en-US" sz="1050" dirty="0"/>
          </a:p>
        </p:txBody>
      </p:sp>
      <p:sp>
        <p:nvSpPr>
          <p:cNvPr id="25" name="Titolo 1"/>
          <p:cNvSpPr txBox="1">
            <a:spLocks/>
          </p:cNvSpPr>
          <p:nvPr/>
        </p:nvSpPr>
        <p:spPr>
          <a:xfrm>
            <a:off x="7845603" y="1639513"/>
            <a:ext cx="1274377" cy="415498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4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050" dirty="0"/>
              <a:t>2. </a:t>
            </a:r>
            <a:r>
              <a:rPr lang="en-US" sz="1050" dirty="0" smtClean="0"/>
              <a:t>Apply temporary load</a:t>
            </a:r>
            <a:endParaRPr lang="en-US" sz="1050" dirty="0"/>
          </a:p>
        </p:txBody>
      </p:sp>
      <p:sp>
        <p:nvSpPr>
          <p:cNvPr id="4" name="Rettangolo arrotondato 3"/>
          <p:cNvSpPr/>
          <p:nvPr/>
        </p:nvSpPr>
        <p:spPr>
          <a:xfrm>
            <a:off x="3321980" y="1533380"/>
            <a:ext cx="2891947" cy="1538458"/>
          </a:xfrm>
          <a:prstGeom prst="roundRect">
            <a:avLst/>
          </a:prstGeom>
          <a:noFill/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3" name="Rettangolo arrotondato 42"/>
          <p:cNvSpPr/>
          <p:nvPr/>
        </p:nvSpPr>
        <p:spPr>
          <a:xfrm>
            <a:off x="6340889" y="1533380"/>
            <a:ext cx="2891947" cy="1538458"/>
          </a:xfrm>
          <a:prstGeom prst="roundRect">
            <a:avLst/>
          </a:prstGeom>
          <a:noFill/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4" name="Rettangolo arrotondato 43"/>
          <p:cNvSpPr/>
          <p:nvPr/>
        </p:nvSpPr>
        <p:spPr>
          <a:xfrm>
            <a:off x="3307055" y="3195619"/>
            <a:ext cx="2891947" cy="1538458"/>
          </a:xfrm>
          <a:prstGeom prst="roundRect">
            <a:avLst/>
          </a:prstGeom>
          <a:noFill/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sp>
        <p:nvSpPr>
          <p:cNvPr id="45" name="Rettangolo arrotondato 44"/>
          <p:cNvSpPr/>
          <p:nvPr/>
        </p:nvSpPr>
        <p:spPr>
          <a:xfrm>
            <a:off x="6346039" y="3207676"/>
            <a:ext cx="2891947" cy="1538458"/>
          </a:xfrm>
          <a:prstGeom prst="roundRect">
            <a:avLst/>
          </a:prstGeom>
          <a:noFill/>
          <a:ln w="28575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/>
          </a:p>
        </p:txBody>
      </p:sp>
      <p:grpSp>
        <p:nvGrpSpPr>
          <p:cNvPr id="46" name="Gruppo 45"/>
          <p:cNvGrpSpPr/>
          <p:nvPr/>
        </p:nvGrpSpPr>
        <p:grpSpPr>
          <a:xfrm>
            <a:off x="3848514" y="1662151"/>
            <a:ext cx="257441" cy="1140538"/>
            <a:chOff x="409648" y="1140689"/>
            <a:chExt cx="777608" cy="4030834"/>
          </a:xfrm>
        </p:grpSpPr>
        <p:sp>
          <p:nvSpPr>
            <p:cNvPr id="47" name="Rettangolo 6"/>
            <p:cNvSpPr/>
            <p:nvPr/>
          </p:nvSpPr>
          <p:spPr>
            <a:xfrm>
              <a:off x="629906" y="2449003"/>
              <a:ext cx="557350" cy="2718083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92664 w 403981"/>
                <a:gd name="connsiteY4" fmla="*/ 732140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72809 w 403981"/>
                <a:gd name="connsiteY4" fmla="*/ 986291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2809 w 403981"/>
                <a:gd name="connsiteY3" fmla="*/ 986291 h 3028426"/>
                <a:gd name="connsiteX4" fmla="*/ 259328 w 403981"/>
                <a:gd name="connsiteY4" fmla="*/ 1160765 h 3028426"/>
                <a:gd name="connsiteX5" fmla="*/ 264089 w 403981"/>
                <a:gd name="connsiteY5" fmla="*/ 1384603 h 3028426"/>
                <a:gd name="connsiteX6" fmla="*/ 287903 w 403981"/>
                <a:gd name="connsiteY6" fmla="*/ 2046590 h 3028426"/>
                <a:gd name="connsiteX7" fmla="*/ 273614 w 403981"/>
                <a:gd name="connsiteY7" fmla="*/ 2327578 h 3028426"/>
                <a:gd name="connsiteX8" fmla="*/ 268853 w 403981"/>
                <a:gd name="connsiteY8" fmla="*/ 2565703 h 3028426"/>
                <a:gd name="connsiteX9" fmla="*/ 273615 w 403981"/>
                <a:gd name="connsiteY9" fmla="*/ 2794303 h 3028426"/>
                <a:gd name="connsiteX10" fmla="*/ 300621 w 403981"/>
                <a:gd name="connsiteY10" fmla="*/ 3028426 h 3028426"/>
                <a:gd name="connsiteX11" fmla="*/ 403981 w 403981"/>
                <a:gd name="connsiteY11" fmla="*/ 3018901 h 3028426"/>
                <a:gd name="connsiteX12" fmla="*/ 0 w 403981"/>
                <a:gd name="connsiteY12" fmla="*/ 60154 h 3028426"/>
                <a:gd name="connsiteX0" fmla="*/ 276013 w 276013"/>
                <a:gd name="connsiteY0" fmla="*/ 3018901 h 3028426"/>
                <a:gd name="connsiteX1" fmla="*/ 0 w 276013"/>
                <a:gd name="connsiteY1" fmla="*/ 103600 h 3028426"/>
                <a:gd name="connsiteX2" fmla="*/ 155171 w 276013"/>
                <a:gd name="connsiteY2" fmla="*/ 0 h 3028426"/>
                <a:gd name="connsiteX3" fmla="*/ 144841 w 276013"/>
                <a:gd name="connsiteY3" fmla="*/ 986291 h 3028426"/>
                <a:gd name="connsiteX4" fmla="*/ 131360 w 276013"/>
                <a:gd name="connsiteY4" fmla="*/ 1160765 h 3028426"/>
                <a:gd name="connsiteX5" fmla="*/ 136121 w 276013"/>
                <a:gd name="connsiteY5" fmla="*/ 1384603 h 3028426"/>
                <a:gd name="connsiteX6" fmla="*/ 159935 w 276013"/>
                <a:gd name="connsiteY6" fmla="*/ 2046590 h 3028426"/>
                <a:gd name="connsiteX7" fmla="*/ 145646 w 276013"/>
                <a:gd name="connsiteY7" fmla="*/ 2327578 h 3028426"/>
                <a:gd name="connsiteX8" fmla="*/ 140885 w 276013"/>
                <a:gd name="connsiteY8" fmla="*/ 2565703 h 3028426"/>
                <a:gd name="connsiteX9" fmla="*/ 145647 w 276013"/>
                <a:gd name="connsiteY9" fmla="*/ 2794303 h 3028426"/>
                <a:gd name="connsiteX10" fmla="*/ 172653 w 276013"/>
                <a:gd name="connsiteY10" fmla="*/ 3028426 h 3028426"/>
                <a:gd name="connsiteX11" fmla="*/ 276013 w 276013"/>
                <a:gd name="connsiteY11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4970 w 280983"/>
                <a:gd name="connsiteY2" fmla="*/ 103600 h 3028426"/>
                <a:gd name="connsiteX3" fmla="*/ 160141 w 280983"/>
                <a:gd name="connsiteY3" fmla="*/ 0 h 3028426"/>
                <a:gd name="connsiteX4" fmla="*/ 149811 w 280983"/>
                <a:gd name="connsiteY4" fmla="*/ 986291 h 3028426"/>
                <a:gd name="connsiteX5" fmla="*/ 136330 w 280983"/>
                <a:gd name="connsiteY5" fmla="*/ 1160765 h 3028426"/>
                <a:gd name="connsiteX6" fmla="*/ 141091 w 280983"/>
                <a:gd name="connsiteY6" fmla="*/ 1384603 h 3028426"/>
                <a:gd name="connsiteX7" fmla="*/ 164905 w 280983"/>
                <a:gd name="connsiteY7" fmla="*/ 2046590 h 3028426"/>
                <a:gd name="connsiteX8" fmla="*/ 150616 w 280983"/>
                <a:gd name="connsiteY8" fmla="*/ 2327578 h 3028426"/>
                <a:gd name="connsiteX9" fmla="*/ 145855 w 280983"/>
                <a:gd name="connsiteY9" fmla="*/ 2565703 h 3028426"/>
                <a:gd name="connsiteX10" fmla="*/ 150617 w 280983"/>
                <a:gd name="connsiteY10" fmla="*/ 2794303 h 3028426"/>
                <a:gd name="connsiteX11" fmla="*/ 177623 w 280983"/>
                <a:gd name="connsiteY11" fmla="*/ 3028426 h 3028426"/>
                <a:gd name="connsiteX12" fmla="*/ 280983 w 280983"/>
                <a:gd name="connsiteY12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160141 w 280983"/>
                <a:gd name="connsiteY2" fmla="*/ 0 h 3028426"/>
                <a:gd name="connsiteX3" fmla="*/ 149811 w 280983"/>
                <a:gd name="connsiteY3" fmla="*/ 986291 h 3028426"/>
                <a:gd name="connsiteX4" fmla="*/ 136330 w 280983"/>
                <a:gd name="connsiteY4" fmla="*/ 1160765 h 3028426"/>
                <a:gd name="connsiteX5" fmla="*/ 141091 w 280983"/>
                <a:gd name="connsiteY5" fmla="*/ 1384603 h 3028426"/>
                <a:gd name="connsiteX6" fmla="*/ 164905 w 280983"/>
                <a:gd name="connsiteY6" fmla="*/ 2046590 h 3028426"/>
                <a:gd name="connsiteX7" fmla="*/ 150616 w 280983"/>
                <a:gd name="connsiteY7" fmla="*/ 2327578 h 3028426"/>
                <a:gd name="connsiteX8" fmla="*/ 145855 w 280983"/>
                <a:gd name="connsiteY8" fmla="*/ 2565703 h 3028426"/>
                <a:gd name="connsiteX9" fmla="*/ 150617 w 280983"/>
                <a:gd name="connsiteY9" fmla="*/ 2794303 h 3028426"/>
                <a:gd name="connsiteX10" fmla="*/ 177623 w 280983"/>
                <a:gd name="connsiteY10" fmla="*/ 3028426 h 3028426"/>
                <a:gd name="connsiteX11" fmla="*/ 280983 w 280983"/>
                <a:gd name="connsiteY11" fmla="*/ 3018901 h 3028426"/>
                <a:gd name="connsiteX0" fmla="*/ 145476 w 145476"/>
                <a:gd name="connsiteY0" fmla="*/ 3018901 h 3028426"/>
                <a:gd name="connsiteX1" fmla="*/ 24634 w 145476"/>
                <a:gd name="connsiteY1" fmla="*/ 0 h 3028426"/>
                <a:gd name="connsiteX2" fmla="*/ 14304 w 145476"/>
                <a:gd name="connsiteY2" fmla="*/ 986291 h 3028426"/>
                <a:gd name="connsiteX3" fmla="*/ 823 w 145476"/>
                <a:gd name="connsiteY3" fmla="*/ 1160765 h 3028426"/>
                <a:gd name="connsiteX4" fmla="*/ 5584 w 145476"/>
                <a:gd name="connsiteY4" fmla="*/ 1384603 h 3028426"/>
                <a:gd name="connsiteX5" fmla="*/ 29398 w 145476"/>
                <a:gd name="connsiteY5" fmla="*/ 2046590 h 3028426"/>
                <a:gd name="connsiteX6" fmla="*/ 15109 w 145476"/>
                <a:gd name="connsiteY6" fmla="*/ 2327578 h 3028426"/>
                <a:gd name="connsiteX7" fmla="*/ 10348 w 145476"/>
                <a:gd name="connsiteY7" fmla="*/ 2565703 h 3028426"/>
                <a:gd name="connsiteX8" fmla="*/ 15110 w 145476"/>
                <a:gd name="connsiteY8" fmla="*/ 2794303 h 3028426"/>
                <a:gd name="connsiteX9" fmla="*/ 42116 w 145476"/>
                <a:gd name="connsiteY9" fmla="*/ 3028426 h 3028426"/>
                <a:gd name="connsiteX10" fmla="*/ 145476 w 145476"/>
                <a:gd name="connsiteY10" fmla="*/ 3018901 h 3028426"/>
                <a:gd name="connsiteX0" fmla="*/ 145476 w 145476"/>
                <a:gd name="connsiteY0" fmla="*/ 2032610 h 2042135"/>
                <a:gd name="connsiteX1" fmla="*/ 14304 w 145476"/>
                <a:gd name="connsiteY1" fmla="*/ 0 h 2042135"/>
                <a:gd name="connsiteX2" fmla="*/ 823 w 145476"/>
                <a:gd name="connsiteY2" fmla="*/ 174474 h 2042135"/>
                <a:gd name="connsiteX3" fmla="*/ 5584 w 145476"/>
                <a:gd name="connsiteY3" fmla="*/ 398312 h 2042135"/>
                <a:gd name="connsiteX4" fmla="*/ 29398 w 145476"/>
                <a:gd name="connsiteY4" fmla="*/ 1060299 h 2042135"/>
                <a:gd name="connsiteX5" fmla="*/ 15109 w 145476"/>
                <a:gd name="connsiteY5" fmla="*/ 1341287 h 2042135"/>
                <a:gd name="connsiteX6" fmla="*/ 10348 w 145476"/>
                <a:gd name="connsiteY6" fmla="*/ 1579412 h 2042135"/>
                <a:gd name="connsiteX7" fmla="*/ 15110 w 145476"/>
                <a:gd name="connsiteY7" fmla="*/ 1808012 h 2042135"/>
                <a:gd name="connsiteX8" fmla="*/ 42116 w 145476"/>
                <a:gd name="connsiteY8" fmla="*/ 2042135 h 2042135"/>
                <a:gd name="connsiteX9" fmla="*/ 145476 w 145476"/>
                <a:gd name="connsiteY9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37534 w 137534"/>
                <a:gd name="connsiteY0" fmla="*/ 2040552 h 2042135"/>
                <a:gd name="connsiteX1" fmla="*/ 130558 w 137534"/>
                <a:gd name="connsiteY1" fmla="*/ 2544 h 2042135"/>
                <a:gd name="connsiteX2" fmla="*/ 14304 w 137534"/>
                <a:gd name="connsiteY2" fmla="*/ 0 h 2042135"/>
                <a:gd name="connsiteX3" fmla="*/ 823 w 137534"/>
                <a:gd name="connsiteY3" fmla="*/ 174474 h 2042135"/>
                <a:gd name="connsiteX4" fmla="*/ 5584 w 137534"/>
                <a:gd name="connsiteY4" fmla="*/ 398312 h 2042135"/>
                <a:gd name="connsiteX5" fmla="*/ 29398 w 137534"/>
                <a:gd name="connsiteY5" fmla="*/ 1060299 h 2042135"/>
                <a:gd name="connsiteX6" fmla="*/ 15109 w 137534"/>
                <a:gd name="connsiteY6" fmla="*/ 1341287 h 2042135"/>
                <a:gd name="connsiteX7" fmla="*/ 10348 w 137534"/>
                <a:gd name="connsiteY7" fmla="*/ 1579412 h 2042135"/>
                <a:gd name="connsiteX8" fmla="*/ 15110 w 137534"/>
                <a:gd name="connsiteY8" fmla="*/ 1808012 h 2042135"/>
                <a:gd name="connsiteX9" fmla="*/ 42116 w 137534"/>
                <a:gd name="connsiteY9" fmla="*/ 2042135 h 2042135"/>
                <a:gd name="connsiteX10" fmla="*/ 137534 w 137534"/>
                <a:gd name="connsiteY10" fmla="*/ 2040552 h 204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34" h="2042135">
                  <a:moveTo>
                    <a:pt x="137534" y="2040552"/>
                  </a:moveTo>
                  <a:cubicBezTo>
                    <a:pt x="135209" y="1361216"/>
                    <a:pt x="132883" y="681880"/>
                    <a:pt x="130558" y="2544"/>
                  </a:cubicBezTo>
                  <a:lnTo>
                    <a:pt x="14304" y="0"/>
                  </a:lnTo>
                  <a:cubicBezTo>
                    <a:pt x="9542" y="142875"/>
                    <a:pt x="3998" y="67318"/>
                    <a:pt x="823" y="174474"/>
                  </a:cubicBezTo>
                  <a:cubicBezTo>
                    <a:pt x="-1297" y="548203"/>
                    <a:pt x="822" y="250675"/>
                    <a:pt x="5584" y="398312"/>
                  </a:cubicBezTo>
                  <a:cubicBezTo>
                    <a:pt x="10346" y="545949"/>
                    <a:pt x="29398" y="901549"/>
                    <a:pt x="29398" y="1060299"/>
                  </a:cubicBezTo>
                  <a:cubicBezTo>
                    <a:pt x="34954" y="1269055"/>
                    <a:pt x="15109" y="1251593"/>
                    <a:pt x="15109" y="1341287"/>
                  </a:cubicBezTo>
                  <a:cubicBezTo>
                    <a:pt x="15109" y="1430981"/>
                    <a:pt x="16698" y="1515912"/>
                    <a:pt x="10348" y="1579412"/>
                  </a:cubicBezTo>
                  <a:cubicBezTo>
                    <a:pt x="3998" y="1642912"/>
                    <a:pt x="12197" y="1740417"/>
                    <a:pt x="15110" y="1808012"/>
                  </a:cubicBezTo>
                  <a:lnTo>
                    <a:pt x="42116" y="2042135"/>
                  </a:lnTo>
                  <a:lnTo>
                    <a:pt x="137534" y="2040552"/>
                  </a:lnTo>
                  <a:close/>
                </a:path>
              </a:pathLst>
            </a:custGeom>
            <a:pattFill prst="wdDnDiag">
              <a:fgClr>
                <a:srgbClr val="FFFF00"/>
              </a:fgClr>
              <a:bgClr>
                <a:srgbClr val="EE7713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50" name="Rettangolo 6"/>
            <p:cNvSpPr/>
            <p:nvPr/>
          </p:nvSpPr>
          <p:spPr>
            <a:xfrm>
              <a:off x="409648" y="1140689"/>
              <a:ext cx="400126" cy="4030834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621" h="3028426">
                  <a:moveTo>
                    <a:pt x="0" y="60154"/>
                  </a:moveTo>
                  <a:cubicBezTo>
                    <a:pt x="42672" y="57106"/>
                    <a:pt x="85296" y="106648"/>
                    <a:pt x="127968" y="103600"/>
                  </a:cubicBezTo>
                  <a:lnTo>
                    <a:pt x="283139" y="0"/>
                  </a:lnTo>
                  <a:cubicBezTo>
                    <a:pt x="285782" y="195136"/>
                    <a:pt x="272026" y="86821"/>
                    <a:pt x="278376" y="313040"/>
                  </a:cubicBezTo>
                  <a:cubicBezTo>
                    <a:pt x="284726" y="539259"/>
                    <a:pt x="297426" y="589265"/>
                    <a:pt x="292664" y="732140"/>
                  </a:cubicBezTo>
                  <a:cubicBezTo>
                    <a:pt x="287902" y="875015"/>
                    <a:pt x="262503" y="1053609"/>
                    <a:pt x="259328" y="1160765"/>
                  </a:cubicBezTo>
                  <a:cubicBezTo>
                    <a:pt x="257208" y="1534494"/>
                    <a:pt x="259327" y="1236966"/>
                    <a:pt x="264089" y="1384603"/>
                  </a:cubicBezTo>
                  <a:cubicBezTo>
                    <a:pt x="268851" y="1532240"/>
                    <a:pt x="287903" y="1887840"/>
                    <a:pt x="287903" y="2046590"/>
                  </a:cubicBezTo>
                  <a:cubicBezTo>
                    <a:pt x="293459" y="2255346"/>
                    <a:pt x="273614" y="2237884"/>
                    <a:pt x="273614" y="2327578"/>
                  </a:cubicBezTo>
                  <a:cubicBezTo>
                    <a:pt x="273614" y="2417272"/>
                    <a:pt x="275203" y="2502203"/>
                    <a:pt x="268853" y="2565703"/>
                  </a:cubicBezTo>
                  <a:cubicBezTo>
                    <a:pt x="262503" y="2629203"/>
                    <a:pt x="270702" y="2726708"/>
                    <a:pt x="273615" y="2794303"/>
                  </a:cubicBezTo>
                  <a:lnTo>
                    <a:pt x="300621" y="3028426"/>
                  </a:lnTo>
                  <a:lnTo>
                    <a:pt x="6870" y="3018901"/>
                  </a:lnTo>
                  <a:lnTo>
                    <a:pt x="0" y="60154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51" name="Titolo 1"/>
          <p:cNvSpPr txBox="1">
            <a:spLocks/>
          </p:cNvSpPr>
          <p:nvPr/>
        </p:nvSpPr>
        <p:spPr>
          <a:xfrm>
            <a:off x="7874091" y="3344646"/>
            <a:ext cx="1204831" cy="415498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4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050" dirty="0" smtClean="0"/>
              <a:t>4. Complete installation</a:t>
            </a:r>
            <a:endParaRPr lang="en-US" sz="1050" dirty="0"/>
          </a:p>
        </p:txBody>
      </p:sp>
      <p:sp>
        <p:nvSpPr>
          <p:cNvPr id="63" name="Titolo 1"/>
          <p:cNvSpPr txBox="1">
            <a:spLocks/>
          </p:cNvSpPr>
          <p:nvPr/>
        </p:nvSpPr>
        <p:spPr>
          <a:xfrm>
            <a:off x="4826576" y="3338947"/>
            <a:ext cx="1274377" cy="415498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4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050" dirty="0"/>
              <a:t>3. </a:t>
            </a:r>
            <a:r>
              <a:rPr lang="en-US" sz="1050" dirty="0" smtClean="0"/>
              <a:t>Dry, check and clean</a:t>
            </a:r>
            <a:endParaRPr lang="en-US" sz="1050" dirty="0"/>
          </a:p>
        </p:txBody>
      </p:sp>
      <p:sp>
        <p:nvSpPr>
          <p:cNvPr id="5" name="Titolo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Stato dell’arte del processo di </a:t>
            </a:r>
            <a:r>
              <a:rPr lang="it-IT" dirty="0" err="1" smtClean="0"/>
              <a:t>shimming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sz="2700" dirty="0" err="1" smtClean="0"/>
              <a:t>Shim</a:t>
            </a:r>
            <a:r>
              <a:rPr lang="it-IT" sz="2700" dirty="0" smtClean="0"/>
              <a:t> Liquido</a:t>
            </a:r>
            <a:endParaRPr lang="en-GB" dirty="0"/>
          </a:p>
        </p:txBody>
      </p:sp>
      <p:sp>
        <p:nvSpPr>
          <p:cNvPr id="6" name="Ovale 5"/>
          <p:cNvSpPr/>
          <p:nvPr/>
        </p:nvSpPr>
        <p:spPr>
          <a:xfrm>
            <a:off x="4148481" y="2352625"/>
            <a:ext cx="180238" cy="164072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Connettore diritto 7"/>
          <p:cNvCxnSpPr/>
          <p:nvPr/>
        </p:nvCxnSpPr>
        <p:spPr>
          <a:xfrm>
            <a:off x="4220669" y="2374106"/>
            <a:ext cx="127920" cy="33623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ttangolo 9"/>
          <p:cNvSpPr/>
          <p:nvPr/>
        </p:nvSpPr>
        <p:spPr>
          <a:xfrm rot="20544963" flipV="1">
            <a:off x="4330534" y="2619390"/>
            <a:ext cx="45720" cy="23866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4" name="Gruppo 63"/>
          <p:cNvGrpSpPr/>
          <p:nvPr/>
        </p:nvGrpSpPr>
        <p:grpSpPr>
          <a:xfrm>
            <a:off x="6669964" y="3349383"/>
            <a:ext cx="1247240" cy="1255044"/>
            <a:chOff x="4954196" y="1007789"/>
            <a:chExt cx="3767328" cy="4435511"/>
          </a:xfrm>
        </p:grpSpPr>
        <p:sp>
          <p:nvSpPr>
            <p:cNvPr id="65" name="Freccia curva 2"/>
            <p:cNvSpPr/>
            <p:nvPr/>
          </p:nvSpPr>
          <p:spPr>
            <a:xfrm flipV="1">
              <a:off x="5913015" y="2263204"/>
              <a:ext cx="222042" cy="2679542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612790"/>
                <a:gd name="connsiteY0" fmla="*/ 2389253 h 2389253"/>
                <a:gd name="connsiteX1" fmla="*/ 72468 w 2612790"/>
                <a:gd name="connsiteY1" fmla="*/ 2095501 h 2389253"/>
                <a:gd name="connsiteX2" fmla="*/ 34368 w 2612790"/>
                <a:gd name="connsiteY2" fmla="*/ 1900238 h 2389253"/>
                <a:gd name="connsiteX3" fmla="*/ 77231 w 2612790"/>
                <a:gd name="connsiteY3" fmla="*/ 1319213 h 2389253"/>
                <a:gd name="connsiteX4" fmla="*/ 24843 w 2612790"/>
                <a:gd name="connsiteY4" fmla="*/ 952501 h 2389253"/>
                <a:gd name="connsiteX5" fmla="*/ 12016 w 2612790"/>
                <a:gd name="connsiteY5" fmla="*/ 583866 h 2389253"/>
                <a:gd name="connsiteX6" fmla="*/ 62944 w 2612790"/>
                <a:gd name="connsiteY6" fmla="*/ 447676 h 2389253"/>
                <a:gd name="connsiteX7" fmla="*/ 191532 w 2612790"/>
                <a:gd name="connsiteY7" fmla="*/ 252413 h 2389253"/>
                <a:gd name="connsiteX8" fmla="*/ 353457 w 2612790"/>
                <a:gd name="connsiteY8" fmla="*/ 123826 h 2389253"/>
                <a:gd name="connsiteX9" fmla="*/ 621210 w 2612790"/>
                <a:gd name="connsiteY9" fmla="*/ 12772 h 2389253"/>
                <a:gd name="connsiteX10" fmla="*/ 1339294 w 2612790"/>
                <a:gd name="connsiteY10" fmla="*/ 33338 h 2389253"/>
                <a:gd name="connsiteX11" fmla="*/ 1601232 w 2612790"/>
                <a:gd name="connsiteY11" fmla="*/ 14288 h 2389253"/>
                <a:gd name="connsiteX12" fmla="*/ 1867932 w 2612790"/>
                <a:gd name="connsiteY12" fmla="*/ 0 h 2389253"/>
                <a:gd name="connsiteX13" fmla="*/ 2210832 w 2612790"/>
                <a:gd name="connsiteY13" fmla="*/ 42864 h 2389253"/>
                <a:gd name="connsiteX14" fmla="*/ 2612656 w 2612790"/>
                <a:gd name="connsiteY14" fmla="*/ 12772 h 2389253"/>
                <a:gd name="connsiteX15" fmla="*/ 2607261 w 2612790"/>
                <a:gd name="connsiteY15" fmla="*/ 167260 h 2389253"/>
                <a:gd name="connsiteX16" fmla="*/ 2051444 w 2612790"/>
                <a:gd name="connsiteY16" fmla="*/ 268939 h 2389253"/>
                <a:gd name="connsiteX17" fmla="*/ 621210 w 2612790"/>
                <a:gd name="connsiteY17" fmla="*/ 271213 h 2389253"/>
                <a:gd name="connsiteX18" fmla="*/ 303794 w 2612790"/>
                <a:gd name="connsiteY18" fmla="*/ 588629 h 2389253"/>
                <a:gd name="connsiteX19" fmla="*/ 303795 w 2612790"/>
                <a:gd name="connsiteY19" fmla="*/ 2389253 h 2389253"/>
                <a:gd name="connsiteX20" fmla="*/ 45354 w 2612790"/>
                <a:gd name="connsiteY20" fmla="*/ 2389253 h 2389253"/>
                <a:gd name="connsiteX0" fmla="*/ 45354 w 2612656"/>
                <a:gd name="connsiteY0" fmla="*/ 2389253 h 2389253"/>
                <a:gd name="connsiteX1" fmla="*/ 72468 w 2612656"/>
                <a:gd name="connsiteY1" fmla="*/ 2095501 h 2389253"/>
                <a:gd name="connsiteX2" fmla="*/ 34368 w 2612656"/>
                <a:gd name="connsiteY2" fmla="*/ 1900238 h 2389253"/>
                <a:gd name="connsiteX3" fmla="*/ 77231 w 2612656"/>
                <a:gd name="connsiteY3" fmla="*/ 1319213 h 2389253"/>
                <a:gd name="connsiteX4" fmla="*/ 24843 w 2612656"/>
                <a:gd name="connsiteY4" fmla="*/ 952501 h 2389253"/>
                <a:gd name="connsiteX5" fmla="*/ 12016 w 2612656"/>
                <a:gd name="connsiteY5" fmla="*/ 583866 h 2389253"/>
                <a:gd name="connsiteX6" fmla="*/ 62944 w 2612656"/>
                <a:gd name="connsiteY6" fmla="*/ 447676 h 2389253"/>
                <a:gd name="connsiteX7" fmla="*/ 191532 w 2612656"/>
                <a:gd name="connsiteY7" fmla="*/ 252413 h 2389253"/>
                <a:gd name="connsiteX8" fmla="*/ 353457 w 2612656"/>
                <a:gd name="connsiteY8" fmla="*/ 123826 h 2389253"/>
                <a:gd name="connsiteX9" fmla="*/ 621210 w 2612656"/>
                <a:gd name="connsiteY9" fmla="*/ 12772 h 2389253"/>
                <a:gd name="connsiteX10" fmla="*/ 1339294 w 2612656"/>
                <a:gd name="connsiteY10" fmla="*/ 33338 h 2389253"/>
                <a:gd name="connsiteX11" fmla="*/ 1601232 w 2612656"/>
                <a:gd name="connsiteY11" fmla="*/ 14288 h 2389253"/>
                <a:gd name="connsiteX12" fmla="*/ 1867932 w 2612656"/>
                <a:gd name="connsiteY12" fmla="*/ 0 h 2389253"/>
                <a:gd name="connsiteX13" fmla="*/ 2210832 w 2612656"/>
                <a:gd name="connsiteY13" fmla="*/ 42864 h 2389253"/>
                <a:gd name="connsiteX14" fmla="*/ 2612656 w 2612656"/>
                <a:gd name="connsiteY14" fmla="*/ 12772 h 2389253"/>
                <a:gd name="connsiteX15" fmla="*/ 2051444 w 2612656"/>
                <a:gd name="connsiteY15" fmla="*/ 268939 h 2389253"/>
                <a:gd name="connsiteX16" fmla="*/ 621210 w 2612656"/>
                <a:gd name="connsiteY16" fmla="*/ 271213 h 2389253"/>
                <a:gd name="connsiteX17" fmla="*/ 303794 w 2612656"/>
                <a:gd name="connsiteY17" fmla="*/ 588629 h 2389253"/>
                <a:gd name="connsiteX18" fmla="*/ 303795 w 2612656"/>
                <a:gd name="connsiteY18" fmla="*/ 2389253 h 2389253"/>
                <a:gd name="connsiteX19" fmla="*/ 45354 w 2612656"/>
                <a:gd name="connsiteY19" fmla="*/ 2389253 h 2389253"/>
                <a:gd name="connsiteX0" fmla="*/ 45354 w 2210832"/>
                <a:gd name="connsiteY0" fmla="*/ 2389253 h 2389253"/>
                <a:gd name="connsiteX1" fmla="*/ 72468 w 2210832"/>
                <a:gd name="connsiteY1" fmla="*/ 2095501 h 2389253"/>
                <a:gd name="connsiteX2" fmla="*/ 34368 w 2210832"/>
                <a:gd name="connsiteY2" fmla="*/ 1900238 h 2389253"/>
                <a:gd name="connsiteX3" fmla="*/ 77231 w 2210832"/>
                <a:gd name="connsiteY3" fmla="*/ 1319213 h 2389253"/>
                <a:gd name="connsiteX4" fmla="*/ 24843 w 2210832"/>
                <a:gd name="connsiteY4" fmla="*/ 952501 h 2389253"/>
                <a:gd name="connsiteX5" fmla="*/ 12016 w 2210832"/>
                <a:gd name="connsiteY5" fmla="*/ 583866 h 2389253"/>
                <a:gd name="connsiteX6" fmla="*/ 62944 w 2210832"/>
                <a:gd name="connsiteY6" fmla="*/ 447676 h 2389253"/>
                <a:gd name="connsiteX7" fmla="*/ 191532 w 2210832"/>
                <a:gd name="connsiteY7" fmla="*/ 252413 h 2389253"/>
                <a:gd name="connsiteX8" fmla="*/ 353457 w 2210832"/>
                <a:gd name="connsiteY8" fmla="*/ 123826 h 2389253"/>
                <a:gd name="connsiteX9" fmla="*/ 621210 w 2210832"/>
                <a:gd name="connsiteY9" fmla="*/ 12772 h 2389253"/>
                <a:gd name="connsiteX10" fmla="*/ 1339294 w 2210832"/>
                <a:gd name="connsiteY10" fmla="*/ 33338 h 2389253"/>
                <a:gd name="connsiteX11" fmla="*/ 1601232 w 2210832"/>
                <a:gd name="connsiteY11" fmla="*/ 14288 h 2389253"/>
                <a:gd name="connsiteX12" fmla="*/ 1867932 w 2210832"/>
                <a:gd name="connsiteY12" fmla="*/ 0 h 2389253"/>
                <a:gd name="connsiteX13" fmla="*/ 2210832 w 2210832"/>
                <a:gd name="connsiteY13" fmla="*/ 42864 h 2389253"/>
                <a:gd name="connsiteX14" fmla="*/ 2051444 w 2210832"/>
                <a:gd name="connsiteY14" fmla="*/ 268939 h 2389253"/>
                <a:gd name="connsiteX15" fmla="*/ 621210 w 2210832"/>
                <a:gd name="connsiteY15" fmla="*/ 271213 h 2389253"/>
                <a:gd name="connsiteX16" fmla="*/ 303794 w 2210832"/>
                <a:gd name="connsiteY16" fmla="*/ 588629 h 2389253"/>
                <a:gd name="connsiteX17" fmla="*/ 303795 w 2210832"/>
                <a:gd name="connsiteY17" fmla="*/ 2389253 h 2389253"/>
                <a:gd name="connsiteX18" fmla="*/ 45354 w 2210832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957243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33889 w 2039979"/>
                <a:gd name="connsiteY0" fmla="*/ 2389253 h 2389253"/>
                <a:gd name="connsiteX1" fmla="*/ 61003 w 2039979"/>
                <a:gd name="connsiteY1" fmla="*/ 2095501 h 2389253"/>
                <a:gd name="connsiteX2" fmla="*/ 22903 w 2039979"/>
                <a:gd name="connsiteY2" fmla="*/ 1900238 h 2389253"/>
                <a:gd name="connsiteX3" fmla="*/ 65766 w 2039979"/>
                <a:gd name="connsiteY3" fmla="*/ 1319213 h 2389253"/>
                <a:gd name="connsiteX4" fmla="*/ 13378 w 2039979"/>
                <a:gd name="connsiteY4" fmla="*/ 952501 h 2389253"/>
                <a:gd name="connsiteX5" fmla="*/ 551 w 2039979"/>
                <a:gd name="connsiteY5" fmla="*/ 583866 h 2389253"/>
                <a:gd name="connsiteX6" fmla="*/ 92699 w 2039979"/>
                <a:gd name="connsiteY6" fmla="*/ 378976 h 2389253"/>
                <a:gd name="connsiteX7" fmla="*/ 180067 w 2039979"/>
                <a:gd name="connsiteY7" fmla="*/ 252413 h 2389253"/>
                <a:gd name="connsiteX8" fmla="*/ 341992 w 2039979"/>
                <a:gd name="connsiteY8" fmla="*/ 123826 h 2389253"/>
                <a:gd name="connsiteX9" fmla="*/ 609745 w 2039979"/>
                <a:gd name="connsiteY9" fmla="*/ 12772 h 2389253"/>
                <a:gd name="connsiteX10" fmla="*/ 1327829 w 2039979"/>
                <a:gd name="connsiteY10" fmla="*/ 33338 h 2389253"/>
                <a:gd name="connsiteX11" fmla="*/ 1589767 w 2039979"/>
                <a:gd name="connsiteY11" fmla="*/ 14288 h 2389253"/>
                <a:gd name="connsiteX12" fmla="*/ 1945778 w 2039979"/>
                <a:gd name="connsiteY12" fmla="*/ 0 h 2389253"/>
                <a:gd name="connsiteX13" fmla="*/ 1869606 w 2039979"/>
                <a:gd name="connsiteY13" fmla="*/ 145914 h 2389253"/>
                <a:gd name="connsiteX14" fmla="*/ 2039979 w 2039979"/>
                <a:gd name="connsiteY14" fmla="*/ 268939 h 2389253"/>
                <a:gd name="connsiteX15" fmla="*/ 609745 w 2039979"/>
                <a:gd name="connsiteY15" fmla="*/ 271213 h 2389253"/>
                <a:gd name="connsiteX16" fmla="*/ 292329 w 2039979"/>
                <a:gd name="connsiteY16" fmla="*/ 588629 h 2389253"/>
                <a:gd name="connsiteX17" fmla="*/ 292330 w 2039979"/>
                <a:gd name="connsiteY17" fmla="*/ 2389253 h 2389253"/>
                <a:gd name="connsiteX18" fmla="*/ 33889 w 2039979"/>
                <a:gd name="connsiteY18" fmla="*/ 2389253 h 2389253"/>
                <a:gd name="connsiteX0" fmla="*/ 114279 w 2120369"/>
                <a:gd name="connsiteY0" fmla="*/ 2389253 h 2389253"/>
                <a:gd name="connsiteX1" fmla="*/ 141393 w 2120369"/>
                <a:gd name="connsiteY1" fmla="*/ 2095501 h 2389253"/>
                <a:gd name="connsiteX2" fmla="*/ 103293 w 2120369"/>
                <a:gd name="connsiteY2" fmla="*/ 1900238 h 2389253"/>
                <a:gd name="connsiteX3" fmla="*/ 146156 w 2120369"/>
                <a:gd name="connsiteY3" fmla="*/ 1319213 h 2389253"/>
                <a:gd name="connsiteX4" fmla="*/ 93768 w 2120369"/>
                <a:gd name="connsiteY4" fmla="*/ 952501 h 2389253"/>
                <a:gd name="connsiteX5" fmla="*/ 80941 w 2120369"/>
                <a:gd name="connsiteY5" fmla="*/ 583866 h 2389253"/>
                <a:gd name="connsiteX6" fmla="*/ 173089 w 2120369"/>
                <a:gd name="connsiteY6" fmla="*/ 378976 h 2389253"/>
                <a:gd name="connsiteX7" fmla="*/ 6266 w 2120369"/>
                <a:gd name="connsiteY7" fmla="*/ 376074 h 2389253"/>
                <a:gd name="connsiteX8" fmla="*/ 422382 w 2120369"/>
                <a:gd name="connsiteY8" fmla="*/ 123826 h 2389253"/>
                <a:gd name="connsiteX9" fmla="*/ 690135 w 2120369"/>
                <a:gd name="connsiteY9" fmla="*/ 12772 h 2389253"/>
                <a:gd name="connsiteX10" fmla="*/ 1408219 w 2120369"/>
                <a:gd name="connsiteY10" fmla="*/ 33338 h 2389253"/>
                <a:gd name="connsiteX11" fmla="*/ 1670157 w 2120369"/>
                <a:gd name="connsiteY11" fmla="*/ 14288 h 2389253"/>
                <a:gd name="connsiteX12" fmla="*/ 2026168 w 2120369"/>
                <a:gd name="connsiteY12" fmla="*/ 0 h 2389253"/>
                <a:gd name="connsiteX13" fmla="*/ 1949996 w 2120369"/>
                <a:gd name="connsiteY13" fmla="*/ 145914 h 2389253"/>
                <a:gd name="connsiteX14" fmla="*/ 2120369 w 2120369"/>
                <a:gd name="connsiteY14" fmla="*/ 268939 h 2389253"/>
                <a:gd name="connsiteX15" fmla="*/ 690135 w 2120369"/>
                <a:gd name="connsiteY15" fmla="*/ 271213 h 2389253"/>
                <a:gd name="connsiteX16" fmla="*/ 372719 w 2120369"/>
                <a:gd name="connsiteY16" fmla="*/ 588629 h 2389253"/>
                <a:gd name="connsiteX17" fmla="*/ 372720 w 2120369"/>
                <a:gd name="connsiteY17" fmla="*/ 2389253 h 2389253"/>
                <a:gd name="connsiteX18" fmla="*/ 114279 w 2120369"/>
                <a:gd name="connsiteY18" fmla="*/ 2389253 h 2389253"/>
                <a:gd name="connsiteX0" fmla="*/ 114998 w 2121088"/>
                <a:gd name="connsiteY0" fmla="*/ 2389253 h 2389253"/>
                <a:gd name="connsiteX1" fmla="*/ 142112 w 2121088"/>
                <a:gd name="connsiteY1" fmla="*/ 2095501 h 2389253"/>
                <a:gd name="connsiteX2" fmla="*/ 104012 w 2121088"/>
                <a:gd name="connsiteY2" fmla="*/ 1900238 h 2389253"/>
                <a:gd name="connsiteX3" fmla="*/ 146875 w 2121088"/>
                <a:gd name="connsiteY3" fmla="*/ 1319213 h 2389253"/>
                <a:gd name="connsiteX4" fmla="*/ 94487 w 2121088"/>
                <a:gd name="connsiteY4" fmla="*/ 952501 h 2389253"/>
                <a:gd name="connsiteX5" fmla="*/ 81660 w 2121088"/>
                <a:gd name="connsiteY5" fmla="*/ 583866 h 2389253"/>
                <a:gd name="connsiteX6" fmla="*/ 173808 w 2121088"/>
                <a:gd name="connsiteY6" fmla="*/ 378976 h 2389253"/>
                <a:gd name="connsiteX7" fmla="*/ 6985 w 2121088"/>
                <a:gd name="connsiteY7" fmla="*/ 376074 h 2389253"/>
                <a:gd name="connsiteX8" fmla="*/ 24639 w 2121088"/>
                <a:gd name="connsiteY8" fmla="*/ 2377193 h 2389253"/>
                <a:gd name="connsiteX9" fmla="*/ 690854 w 2121088"/>
                <a:gd name="connsiteY9" fmla="*/ 12772 h 2389253"/>
                <a:gd name="connsiteX10" fmla="*/ 1408938 w 2121088"/>
                <a:gd name="connsiteY10" fmla="*/ 33338 h 2389253"/>
                <a:gd name="connsiteX11" fmla="*/ 1670876 w 2121088"/>
                <a:gd name="connsiteY11" fmla="*/ 14288 h 2389253"/>
                <a:gd name="connsiteX12" fmla="*/ 2026887 w 2121088"/>
                <a:gd name="connsiteY12" fmla="*/ 0 h 2389253"/>
                <a:gd name="connsiteX13" fmla="*/ 1950715 w 2121088"/>
                <a:gd name="connsiteY13" fmla="*/ 145914 h 2389253"/>
                <a:gd name="connsiteX14" fmla="*/ 2121088 w 2121088"/>
                <a:gd name="connsiteY14" fmla="*/ 268939 h 2389253"/>
                <a:gd name="connsiteX15" fmla="*/ 690854 w 2121088"/>
                <a:gd name="connsiteY15" fmla="*/ 271213 h 2389253"/>
                <a:gd name="connsiteX16" fmla="*/ 373438 w 2121088"/>
                <a:gd name="connsiteY16" fmla="*/ 588629 h 2389253"/>
                <a:gd name="connsiteX17" fmla="*/ 373439 w 2121088"/>
                <a:gd name="connsiteY17" fmla="*/ 2389253 h 2389253"/>
                <a:gd name="connsiteX18" fmla="*/ 114998 w 2121088"/>
                <a:gd name="connsiteY18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764102 w 2194336"/>
                <a:gd name="connsiteY14" fmla="*/ 271213 h 2389253"/>
                <a:gd name="connsiteX15" fmla="*/ 446686 w 2194336"/>
                <a:gd name="connsiteY15" fmla="*/ 588629 h 2389253"/>
                <a:gd name="connsiteX16" fmla="*/ 446687 w 2194336"/>
                <a:gd name="connsiteY16" fmla="*/ 2389253 h 2389253"/>
                <a:gd name="connsiteX17" fmla="*/ 188246 w 2194336"/>
                <a:gd name="connsiteY17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446686 w 2194336"/>
                <a:gd name="connsiteY14" fmla="*/ 588629 h 2389253"/>
                <a:gd name="connsiteX15" fmla="*/ 446687 w 2194336"/>
                <a:gd name="connsiteY15" fmla="*/ 2389253 h 2389253"/>
                <a:gd name="connsiteX16" fmla="*/ 188246 w 2194336"/>
                <a:gd name="connsiteY16" fmla="*/ 2389253 h 2389253"/>
                <a:gd name="connsiteX0" fmla="*/ 188246 w 2194336"/>
                <a:gd name="connsiteY0" fmla="*/ 2389253 h 2389253"/>
                <a:gd name="connsiteX1" fmla="*/ 215360 w 2194336"/>
                <a:gd name="connsiteY1" fmla="*/ 2095501 h 2389253"/>
                <a:gd name="connsiteX2" fmla="*/ 177260 w 2194336"/>
                <a:gd name="connsiteY2" fmla="*/ 1900238 h 2389253"/>
                <a:gd name="connsiteX3" fmla="*/ 220123 w 2194336"/>
                <a:gd name="connsiteY3" fmla="*/ 1319213 h 2389253"/>
                <a:gd name="connsiteX4" fmla="*/ 167735 w 2194336"/>
                <a:gd name="connsiteY4" fmla="*/ 952501 h 2389253"/>
                <a:gd name="connsiteX5" fmla="*/ 154908 w 2194336"/>
                <a:gd name="connsiteY5" fmla="*/ 583866 h 2389253"/>
                <a:gd name="connsiteX6" fmla="*/ 247056 w 2194336"/>
                <a:gd name="connsiteY6" fmla="*/ 378976 h 2389253"/>
                <a:gd name="connsiteX7" fmla="*/ 80233 w 2194336"/>
                <a:gd name="connsiteY7" fmla="*/ 376074 h 2389253"/>
                <a:gd name="connsiteX8" fmla="*/ 97887 w 2194336"/>
                <a:gd name="connsiteY8" fmla="*/ 2377193 h 2389253"/>
                <a:gd name="connsiteX9" fmla="*/ 1482186 w 2194336"/>
                <a:gd name="connsiteY9" fmla="*/ 33338 h 2389253"/>
                <a:gd name="connsiteX10" fmla="*/ 1744124 w 2194336"/>
                <a:gd name="connsiteY10" fmla="*/ 14288 h 2389253"/>
                <a:gd name="connsiteX11" fmla="*/ 2100135 w 2194336"/>
                <a:gd name="connsiteY11" fmla="*/ 0 h 2389253"/>
                <a:gd name="connsiteX12" fmla="*/ 2023963 w 2194336"/>
                <a:gd name="connsiteY12" fmla="*/ 145914 h 2389253"/>
                <a:gd name="connsiteX13" fmla="*/ 2194336 w 2194336"/>
                <a:gd name="connsiteY13" fmla="*/ 268939 h 2389253"/>
                <a:gd name="connsiteX14" fmla="*/ 446687 w 2194336"/>
                <a:gd name="connsiteY14" fmla="*/ 2389253 h 2389253"/>
                <a:gd name="connsiteX15" fmla="*/ 188246 w 2194336"/>
                <a:gd name="connsiteY15" fmla="*/ 2389253 h 2389253"/>
                <a:gd name="connsiteX0" fmla="*/ 207614 w 2213704"/>
                <a:gd name="connsiteY0" fmla="*/ 2389253 h 2389253"/>
                <a:gd name="connsiteX1" fmla="*/ 234728 w 2213704"/>
                <a:gd name="connsiteY1" fmla="*/ 2095501 h 2389253"/>
                <a:gd name="connsiteX2" fmla="*/ 196628 w 2213704"/>
                <a:gd name="connsiteY2" fmla="*/ 1900238 h 2389253"/>
                <a:gd name="connsiteX3" fmla="*/ 239491 w 2213704"/>
                <a:gd name="connsiteY3" fmla="*/ 1319213 h 2389253"/>
                <a:gd name="connsiteX4" fmla="*/ 187103 w 2213704"/>
                <a:gd name="connsiteY4" fmla="*/ 952501 h 2389253"/>
                <a:gd name="connsiteX5" fmla="*/ 174276 w 2213704"/>
                <a:gd name="connsiteY5" fmla="*/ 583866 h 2389253"/>
                <a:gd name="connsiteX6" fmla="*/ 266424 w 2213704"/>
                <a:gd name="connsiteY6" fmla="*/ 378976 h 2389253"/>
                <a:gd name="connsiteX7" fmla="*/ 99601 w 2213704"/>
                <a:gd name="connsiteY7" fmla="*/ 376074 h 2389253"/>
                <a:gd name="connsiteX8" fmla="*/ 117255 w 2213704"/>
                <a:gd name="connsiteY8" fmla="*/ 2377193 h 2389253"/>
                <a:gd name="connsiteX9" fmla="*/ 1763492 w 2213704"/>
                <a:gd name="connsiteY9" fmla="*/ 14288 h 2389253"/>
                <a:gd name="connsiteX10" fmla="*/ 2119503 w 2213704"/>
                <a:gd name="connsiteY10" fmla="*/ 0 h 2389253"/>
                <a:gd name="connsiteX11" fmla="*/ 2043331 w 2213704"/>
                <a:gd name="connsiteY11" fmla="*/ 145914 h 2389253"/>
                <a:gd name="connsiteX12" fmla="*/ 2213704 w 2213704"/>
                <a:gd name="connsiteY12" fmla="*/ 268939 h 2389253"/>
                <a:gd name="connsiteX13" fmla="*/ 466055 w 2213704"/>
                <a:gd name="connsiteY13" fmla="*/ 2389253 h 2389253"/>
                <a:gd name="connsiteX14" fmla="*/ 207614 w 2213704"/>
                <a:gd name="connsiteY14" fmla="*/ 2389253 h 2389253"/>
                <a:gd name="connsiteX0" fmla="*/ 233952 w 2240042"/>
                <a:gd name="connsiteY0" fmla="*/ 2389253 h 2389253"/>
                <a:gd name="connsiteX1" fmla="*/ 261066 w 2240042"/>
                <a:gd name="connsiteY1" fmla="*/ 2095501 h 2389253"/>
                <a:gd name="connsiteX2" fmla="*/ 222966 w 2240042"/>
                <a:gd name="connsiteY2" fmla="*/ 1900238 h 2389253"/>
                <a:gd name="connsiteX3" fmla="*/ 265829 w 2240042"/>
                <a:gd name="connsiteY3" fmla="*/ 1319213 h 2389253"/>
                <a:gd name="connsiteX4" fmla="*/ 213441 w 2240042"/>
                <a:gd name="connsiteY4" fmla="*/ 952501 h 2389253"/>
                <a:gd name="connsiteX5" fmla="*/ 200614 w 2240042"/>
                <a:gd name="connsiteY5" fmla="*/ 583866 h 2389253"/>
                <a:gd name="connsiteX6" fmla="*/ 292762 w 2240042"/>
                <a:gd name="connsiteY6" fmla="*/ 378976 h 2389253"/>
                <a:gd name="connsiteX7" fmla="*/ 125939 w 2240042"/>
                <a:gd name="connsiteY7" fmla="*/ 376074 h 2389253"/>
                <a:gd name="connsiteX8" fmla="*/ 143593 w 2240042"/>
                <a:gd name="connsiteY8" fmla="*/ 2377193 h 2389253"/>
                <a:gd name="connsiteX9" fmla="*/ 2145841 w 2240042"/>
                <a:gd name="connsiteY9" fmla="*/ 0 h 2389253"/>
                <a:gd name="connsiteX10" fmla="*/ 2069669 w 2240042"/>
                <a:gd name="connsiteY10" fmla="*/ 145914 h 2389253"/>
                <a:gd name="connsiteX11" fmla="*/ 2240042 w 2240042"/>
                <a:gd name="connsiteY11" fmla="*/ 268939 h 2389253"/>
                <a:gd name="connsiteX12" fmla="*/ 492393 w 2240042"/>
                <a:gd name="connsiteY12" fmla="*/ 2389253 h 2389253"/>
                <a:gd name="connsiteX13" fmla="*/ 233952 w 2240042"/>
                <a:gd name="connsiteY13" fmla="*/ 2389253 h 2389253"/>
                <a:gd name="connsiteX0" fmla="*/ 228317 w 2234407"/>
                <a:gd name="connsiteY0" fmla="*/ 2243339 h 2243339"/>
                <a:gd name="connsiteX1" fmla="*/ 255431 w 2234407"/>
                <a:gd name="connsiteY1" fmla="*/ 1949587 h 2243339"/>
                <a:gd name="connsiteX2" fmla="*/ 217331 w 2234407"/>
                <a:gd name="connsiteY2" fmla="*/ 1754324 h 2243339"/>
                <a:gd name="connsiteX3" fmla="*/ 260194 w 2234407"/>
                <a:gd name="connsiteY3" fmla="*/ 1173299 h 2243339"/>
                <a:gd name="connsiteX4" fmla="*/ 207806 w 2234407"/>
                <a:gd name="connsiteY4" fmla="*/ 806587 h 2243339"/>
                <a:gd name="connsiteX5" fmla="*/ 194979 w 2234407"/>
                <a:gd name="connsiteY5" fmla="*/ 437952 h 2243339"/>
                <a:gd name="connsiteX6" fmla="*/ 287127 w 2234407"/>
                <a:gd name="connsiteY6" fmla="*/ 233062 h 2243339"/>
                <a:gd name="connsiteX7" fmla="*/ 120304 w 2234407"/>
                <a:gd name="connsiteY7" fmla="*/ 230160 h 2243339"/>
                <a:gd name="connsiteX8" fmla="*/ 137958 w 2234407"/>
                <a:gd name="connsiteY8" fmla="*/ 2231279 h 2243339"/>
                <a:gd name="connsiteX9" fmla="*/ 2064034 w 2234407"/>
                <a:gd name="connsiteY9" fmla="*/ 0 h 2243339"/>
                <a:gd name="connsiteX10" fmla="*/ 2234407 w 2234407"/>
                <a:gd name="connsiteY10" fmla="*/ 123025 h 2243339"/>
                <a:gd name="connsiteX11" fmla="*/ 486758 w 2234407"/>
                <a:gd name="connsiteY11" fmla="*/ 2243339 h 2243339"/>
                <a:gd name="connsiteX12" fmla="*/ 228317 w 2234407"/>
                <a:gd name="connsiteY12" fmla="*/ 2243339 h 2243339"/>
                <a:gd name="connsiteX0" fmla="*/ 240923 w 2247013"/>
                <a:gd name="connsiteY0" fmla="*/ 2120316 h 2120316"/>
                <a:gd name="connsiteX1" fmla="*/ 268037 w 2247013"/>
                <a:gd name="connsiteY1" fmla="*/ 1826564 h 2120316"/>
                <a:gd name="connsiteX2" fmla="*/ 229937 w 2247013"/>
                <a:gd name="connsiteY2" fmla="*/ 1631301 h 2120316"/>
                <a:gd name="connsiteX3" fmla="*/ 272800 w 2247013"/>
                <a:gd name="connsiteY3" fmla="*/ 1050276 h 2120316"/>
                <a:gd name="connsiteX4" fmla="*/ 220412 w 2247013"/>
                <a:gd name="connsiteY4" fmla="*/ 683564 h 2120316"/>
                <a:gd name="connsiteX5" fmla="*/ 207585 w 2247013"/>
                <a:gd name="connsiteY5" fmla="*/ 314929 h 2120316"/>
                <a:gd name="connsiteX6" fmla="*/ 299733 w 2247013"/>
                <a:gd name="connsiteY6" fmla="*/ 110039 h 2120316"/>
                <a:gd name="connsiteX7" fmla="*/ 132910 w 2247013"/>
                <a:gd name="connsiteY7" fmla="*/ 107137 h 2120316"/>
                <a:gd name="connsiteX8" fmla="*/ 150564 w 2247013"/>
                <a:gd name="connsiteY8" fmla="*/ 2108256 h 2120316"/>
                <a:gd name="connsiteX9" fmla="*/ 2247013 w 2247013"/>
                <a:gd name="connsiteY9" fmla="*/ 2 h 2120316"/>
                <a:gd name="connsiteX10" fmla="*/ 499364 w 2247013"/>
                <a:gd name="connsiteY10" fmla="*/ 2120316 h 2120316"/>
                <a:gd name="connsiteX11" fmla="*/ 240923 w 2247013"/>
                <a:gd name="connsiteY11" fmla="*/ 2120316 h 2120316"/>
                <a:gd name="connsiteX0" fmla="*/ 114280 w 372721"/>
                <a:gd name="connsiteY0" fmla="*/ 2027025 h 2166819"/>
                <a:gd name="connsiteX1" fmla="*/ 141394 w 372721"/>
                <a:gd name="connsiteY1" fmla="*/ 1733273 h 2166819"/>
                <a:gd name="connsiteX2" fmla="*/ 103294 w 372721"/>
                <a:gd name="connsiteY2" fmla="*/ 1538010 h 2166819"/>
                <a:gd name="connsiteX3" fmla="*/ 146157 w 372721"/>
                <a:gd name="connsiteY3" fmla="*/ 956985 h 2166819"/>
                <a:gd name="connsiteX4" fmla="*/ 93769 w 372721"/>
                <a:gd name="connsiteY4" fmla="*/ 590273 h 2166819"/>
                <a:gd name="connsiteX5" fmla="*/ 80942 w 372721"/>
                <a:gd name="connsiteY5" fmla="*/ 221638 h 2166819"/>
                <a:gd name="connsiteX6" fmla="*/ 173090 w 372721"/>
                <a:gd name="connsiteY6" fmla="*/ 16748 h 2166819"/>
                <a:gd name="connsiteX7" fmla="*/ 6267 w 372721"/>
                <a:gd name="connsiteY7" fmla="*/ 13846 h 2166819"/>
                <a:gd name="connsiteX8" fmla="*/ 23921 w 372721"/>
                <a:gd name="connsiteY8" fmla="*/ 2014965 h 2166819"/>
                <a:gd name="connsiteX9" fmla="*/ 372721 w 372721"/>
                <a:gd name="connsiteY9" fmla="*/ 2027025 h 2166819"/>
                <a:gd name="connsiteX10" fmla="*/ 114280 w 372721"/>
                <a:gd name="connsiteY10" fmla="*/ 2027025 h 2166819"/>
                <a:gd name="connsiteX0" fmla="*/ 114280 w 176270"/>
                <a:gd name="connsiteY0" fmla="*/ 2027025 h 2178676"/>
                <a:gd name="connsiteX1" fmla="*/ 141394 w 176270"/>
                <a:gd name="connsiteY1" fmla="*/ 1733273 h 2178676"/>
                <a:gd name="connsiteX2" fmla="*/ 103294 w 176270"/>
                <a:gd name="connsiteY2" fmla="*/ 1538010 h 2178676"/>
                <a:gd name="connsiteX3" fmla="*/ 146157 w 176270"/>
                <a:gd name="connsiteY3" fmla="*/ 956985 h 2178676"/>
                <a:gd name="connsiteX4" fmla="*/ 93769 w 176270"/>
                <a:gd name="connsiteY4" fmla="*/ 590273 h 2178676"/>
                <a:gd name="connsiteX5" fmla="*/ 80942 w 176270"/>
                <a:gd name="connsiteY5" fmla="*/ 221638 h 2178676"/>
                <a:gd name="connsiteX6" fmla="*/ 173090 w 176270"/>
                <a:gd name="connsiteY6" fmla="*/ 16748 h 2178676"/>
                <a:gd name="connsiteX7" fmla="*/ 6267 w 176270"/>
                <a:gd name="connsiteY7" fmla="*/ 13846 h 2178676"/>
                <a:gd name="connsiteX8" fmla="*/ 23921 w 176270"/>
                <a:gd name="connsiteY8" fmla="*/ 2014965 h 2178676"/>
                <a:gd name="connsiteX9" fmla="*/ 114280 w 176270"/>
                <a:gd name="connsiteY9" fmla="*/ 2027025 h 2178676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23921 w 176270"/>
                <a:gd name="connsiteY8" fmla="*/ 2014965 h 2027025"/>
                <a:gd name="connsiteX9" fmla="*/ 114280 w 176270"/>
                <a:gd name="connsiteY9" fmla="*/ 2027025 h 2027025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23921 w 176270"/>
                <a:gd name="connsiteY8" fmla="*/ 2014965 h 2027025"/>
                <a:gd name="connsiteX9" fmla="*/ 114280 w 176270"/>
                <a:gd name="connsiteY9" fmla="*/ 2027025 h 2027025"/>
                <a:gd name="connsiteX0" fmla="*/ 114280 w 176270"/>
                <a:gd name="connsiteY0" fmla="*/ 2027025 h 2027025"/>
                <a:gd name="connsiteX1" fmla="*/ 141394 w 176270"/>
                <a:gd name="connsiteY1" fmla="*/ 1733273 h 2027025"/>
                <a:gd name="connsiteX2" fmla="*/ 103294 w 176270"/>
                <a:gd name="connsiteY2" fmla="*/ 1538010 h 2027025"/>
                <a:gd name="connsiteX3" fmla="*/ 146157 w 176270"/>
                <a:gd name="connsiteY3" fmla="*/ 956985 h 2027025"/>
                <a:gd name="connsiteX4" fmla="*/ 93769 w 176270"/>
                <a:gd name="connsiteY4" fmla="*/ 590273 h 2027025"/>
                <a:gd name="connsiteX5" fmla="*/ 80942 w 176270"/>
                <a:gd name="connsiteY5" fmla="*/ 221638 h 2027025"/>
                <a:gd name="connsiteX6" fmla="*/ 173090 w 176270"/>
                <a:gd name="connsiteY6" fmla="*/ 16748 h 2027025"/>
                <a:gd name="connsiteX7" fmla="*/ 6267 w 176270"/>
                <a:gd name="connsiteY7" fmla="*/ 13846 h 2027025"/>
                <a:gd name="connsiteX8" fmla="*/ 8037 w 176270"/>
                <a:gd name="connsiteY8" fmla="*/ 2026878 h 2027025"/>
                <a:gd name="connsiteX9" fmla="*/ 114280 w 176270"/>
                <a:gd name="connsiteY9" fmla="*/ 2027025 h 2027025"/>
                <a:gd name="connsiteX0" fmla="*/ 108013 w 166823"/>
                <a:gd name="connsiteY0" fmla="*/ 2162103 h 2162103"/>
                <a:gd name="connsiteX1" fmla="*/ 135127 w 166823"/>
                <a:gd name="connsiteY1" fmla="*/ 1868351 h 2162103"/>
                <a:gd name="connsiteX2" fmla="*/ 97027 w 166823"/>
                <a:gd name="connsiteY2" fmla="*/ 1673088 h 2162103"/>
                <a:gd name="connsiteX3" fmla="*/ 139890 w 166823"/>
                <a:gd name="connsiteY3" fmla="*/ 1092063 h 2162103"/>
                <a:gd name="connsiteX4" fmla="*/ 87502 w 166823"/>
                <a:gd name="connsiteY4" fmla="*/ 725351 h 2162103"/>
                <a:gd name="connsiteX5" fmla="*/ 74675 w 166823"/>
                <a:gd name="connsiteY5" fmla="*/ 356716 h 2162103"/>
                <a:gd name="connsiteX6" fmla="*/ 166823 w 166823"/>
                <a:gd name="connsiteY6" fmla="*/ 151826 h 2162103"/>
                <a:gd name="connsiteX7" fmla="*/ 56287 w 166823"/>
                <a:gd name="connsiteY7" fmla="*/ 150698 h 2162103"/>
                <a:gd name="connsiteX8" fmla="*/ 0 w 166823"/>
                <a:gd name="connsiteY8" fmla="*/ 148924 h 2162103"/>
                <a:gd name="connsiteX9" fmla="*/ 1770 w 166823"/>
                <a:gd name="connsiteY9" fmla="*/ 2161956 h 2162103"/>
                <a:gd name="connsiteX10" fmla="*/ 108013 w 166823"/>
                <a:gd name="connsiteY10" fmla="*/ 2162103 h 2162103"/>
                <a:gd name="connsiteX0" fmla="*/ 108013 w 166823"/>
                <a:gd name="connsiteY0" fmla="*/ 2169259 h 2169259"/>
                <a:gd name="connsiteX1" fmla="*/ 135127 w 166823"/>
                <a:gd name="connsiteY1" fmla="*/ 1875507 h 2169259"/>
                <a:gd name="connsiteX2" fmla="*/ 97027 w 166823"/>
                <a:gd name="connsiteY2" fmla="*/ 1680244 h 2169259"/>
                <a:gd name="connsiteX3" fmla="*/ 139890 w 166823"/>
                <a:gd name="connsiteY3" fmla="*/ 1099219 h 2169259"/>
                <a:gd name="connsiteX4" fmla="*/ 87502 w 166823"/>
                <a:gd name="connsiteY4" fmla="*/ 732507 h 2169259"/>
                <a:gd name="connsiteX5" fmla="*/ 74675 w 166823"/>
                <a:gd name="connsiteY5" fmla="*/ 363872 h 2169259"/>
                <a:gd name="connsiteX6" fmla="*/ 166823 w 166823"/>
                <a:gd name="connsiteY6" fmla="*/ 158982 h 2169259"/>
                <a:gd name="connsiteX7" fmla="*/ 0 w 166823"/>
                <a:gd name="connsiteY7" fmla="*/ 156080 h 2169259"/>
                <a:gd name="connsiteX8" fmla="*/ 1770 w 166823"/>
                <a:gd name="connsiteY8" fmla="*/ 2169112 h 2169259"/>
                <a:gd name="connsiteX9" fmla="*/ 108013 w 166823"/>
                <a:gd name="connsiteY9" fmla="*/ 2169259 h 2169259"/>
                <a:gd name="connsiteX0" fmla="*/ 108013 w 166823"/>
                <a:gd name="connsiteY0" fmla="*/ 2013179 h 2013179"/>
                <a:gd name="connsiteX1" fmla="*/ 135127 w 166823"/>
                <a:gd name="connsiteY1" fmla="*/ 1719427 h 2013179"/>
                <a:gd name="connsiteX2" fmla="*/ 97027 w 166823"/>
                <a:gd name="connsiteY2" fmla="*/ 1524164 h 2013179"/>
                <a:gd name="connsiteX3" fmla="*/ 139890 w 166823"/>
                <a:gd name="connsiteY3" fmla="*/ 943139 h 2013179"/>
                <a:gd name="connsiteX4" fmla="*/ 87502 w 166823"/>
                <a:gd name="connsiteY4" fmla="*/ 576427 h 2013179"/>
                <a:gd name="connsiteX5" fmla="*/ 74675 w 166823"/>
                <a:gd name="connsiteY5" fmla="*/ 207792 h 2013179"/>
                <a:gd name="connsiteX6" fmla="*/ 166823 w 166823"/>
                <a:gd name="connsiteY6" fmla="*/ 2902 h 2013179"/>
                <a:gd name="connsiteX7" fmla="*/ 0 w 166823"/>
                <a:gd name="connsiteY7" fmla="*/ 0 h 2013179"/>
                <a:gd name="connsiteX8" fmla="*/ 1770 w 166823"/>
                <a:gd name="connsiteY8" fmla="*/ 2013032 h 2013179"/>
                <a:gd name="connsiteX9" fmla="*/ 108013 w 166823"/>
                <a:gd name="connsiteY9" fmla="*/ 2013179 h 20131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66823" h="2013179">
                  <a:moveTo>
                    <a:pt x="108013" y="2013179"/>
                  </a:moveTo>
                  <a:cubicBezTo>
                    <a:pt x="107526" y="1916849"/>
                    <a:pt x="135614" y="1815757"/>
                    <a:pt x="135127" y="1719427"/>
                  </a:cubicBezTo>
                  <a:cubicBezTo>
                    <a:pt x="135127" y="1682914"/>
                    <a:pt x="97027" y="1560677"/>
                    <a:pt x="97027" y="1524164"/>
                  </a:cubicBezTo>
                  <a:cubicBezTo>
                    <a:pt x="100202" y="1335252"/>
                    <a:pt x="136715" y="1132051"/>
                    <a:pt x="139890" y="943139"/>
                  </a:cubicBezTo>
                  <a:cubicBezTo>
                    <a:pt x="136715" y="825664"/>
                    <a:pt x="90677" y="693902"/>
                    <a:pt x="87502" y="576427"/>
                  </a:cubicBezTo>
                  <a:cubicBezTo>
                    <a:pt x="127676" y="431323"/>
                    <a:pt x="67838" y="329083"/>
                    <a:pt x="74675" y="207792"/>
                  </a:cubicBezTo>
                  <a:cubicBezTo>
                    <a:pt x="76263" y="123655"/>
                    <a:pt x="65291" y="98084"/>
                    <a:pt x="166823" y="2902"/>
                  </a:cubicBezTo>
                  <a:lnTo>
                    <a:pt x="0" y="0"/>
                  </a:lnTo>
                  <a:lnTo>
                    <a:pt x="1770" y="2013032"/>
                  </a:lnTo>
                  <a:lnTo>
                    <a:pt x="108013" y="2013179"/>
                  </a:lnTo>
                  <a:close/>
                </a:path>
              </a:pathLst>
            </a:custGeom>
            <a:pattFill prst="wdUpDiag">
              <a:fgClr>
                <a:srgbClr val="EE7713"/>
              </a:fgClr>
              <a:bgClr>
                <a:srgbClr val="FFFF00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sp>
          <p:nvSpPr>
            <p:cNvPr id="66" name="Rettangolo 6"/>
            <p:cNvSpPr/>
            <p:nvPr/>
          </p:nvSpPr>
          <p:spPr>
            <a:xfrm>
              <a:off x="5743871" y="2263204"/>
              <a:ext cx="183058" cy="2718082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92664 w 403981"/>
                <a:gd name="connsiteY4" fmla="*/ 732140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72809 w 403981"/>
                <a:gd name="connsiteY4" fmla="*/ 986291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2809 w 403981"/>
                <a:gd name="connsiteY3" fmla="*/ 986291 h 3028426"/>
                <a:gd name="connsiteX4" fmla="*/ 259328 w 403981"/>
                <a:gd name="connsiteY4" fmla="*/ 1160765 h 3028426"/>
                <a:gd name="connsiteX5" fmla="*/ 264089 w 403981"/>
                <a:gd name="connsiteY5" fmla="*/ 1384603 h 3028426"/>
                <a:gd name="connsiteX6" fmla="*/ 287903 w 403981"/>
                <a:gd name="connsiteY6" fmla="*/ 2046590 h 3028426"/>
                <a:gd name="connsiteX7" fmla="*/ 273614 w 403981"/>
                <a:gd name="connsiteY7" fmla="*/ 2327578 h 3028426"/>
                <a:gd name="connsiteX8" fmla="*/ 268853 w 403981"/>
                <a:gd name="connsiteY8" fmla="*/ 2565703 h 3028426"/>
                <a:gd name="connsiteX9" fmla="*/ 273615 w 403981"/>
                <a:gd name="connsiteY9" fmla="*/ 2794303 h 3028426"/>
                <a:gd name="connsiteX10" fmla="*/ 300621 w 403981"/>
                <a:gd name="connsiteY10" fmla="*/ 3028426 h 3028426"/>
                <a:gd name="connsiteX11" fmla="*/ 403981 w 403981"/>
                <a:gd name="connsiteY11" fmla="*/ 3018901 h 3028426"/>
                <a:gd name="connsiteX12" fmla="*/ 0 w 403981"/>
                <a:gd name="connsiteY12" fmla="*/ 60154 h 3028426"/>
                <a:gd name="connsiteX0" fmla="*/ 276013 w 276013"/>
                <a:gd name="connsiteY0" fmla="*/ 3018901 h 3028426"/>
                <a:gd name="connsiteX1" fmla="*/ 0 w 276013"/>
                <a:gd name="connsiteY1" fmla="*/ 103600 h 3028426"/>
                <a:gd name="connsiteX2" fmla="*/ 155171 w 276013"/>
                <a:gd name="connsiteY2" fmla="*/ 0 h 3028426"/>
                <a:gd name="connsiteX3" fmla="*/ 144841 w 276013"/>
                <a:gd name="connsiteY3" fmla="*/ 986291 h 3028426"/>
                <a:gd name="connsiteX4" fmla="*/ 131360 w 276013"/>
                <a:gd name="connsiteY4" fmla="*/ 1160765 h 3028426"/>
                <a:gd name="connsiteX5" fmla="*/ 136121 w 276013"/>
                <a:gd name="connsiteY5" fmla="*/ 1384603 h 3028426"/>
                <a:gd name="connsiteX6" fmla="*/ 159935 w 276013"/>
                <a:gd name="connsiteY6" fmla="*/ 2046590 h 3028426"/>
                <a:gd name="connsiteX7" fmla="*/ 145646 w 276013"/>
                <a:gd name="connsiteY7" fmla="*/ 2327578 h 3028426"/>
                <a:gd name="connsiteX8" fmla="*/ 140885 w 276013"/>
                <a:gd name="connsiteY8" fmla="*/ 2565703 h 3028426"/>
                <a:gd name="connsiteX9" fmla="*/ 145647 w 276013"/>
                <a:gd name="connsiteY9" fmla="*/ 2794303 h 3028426"/>
                <a:gd name="connsiteX10" fmla="*/ 172653 w 276013"/>
                <a:gd name="connsiteY10" fmla="*/ 3028426 h 3028426"/>
                <a:gd name="connsiteX11" fmla="*/ 276013 w 276013"/>
                <a:gd name="connsiteY11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4970 w 280983"/>
                <a:gd name="connsiteY2" fmla="*/ 103600 h 3028426"/>
                <a:gd name="connsiteX3" fmla="*/ 160141 w 280983"/>
                <a:gd name="connsiteY3" fmla="*/ 0 h 3028426"/>
                <a:gd name="connsiteX4" fmla="*/ 149811 w 280983"/>
                <a:gd name="connsiteY4" fmla="*/ 986291 h 3028426"/>
                <a:gd name="connsiteX5" fmla="*/ 136330 w 280983"/>
                <a:gd name="connsiteY5" fmla="*/ 1160765 h 3028426"/>
                <a:gd name="connsiteX6" fmla="*/ 141091 w 280983"/>
                <a:gd name="connsiteY6" fmla="*/ 1384603 h 3028426"/>
                <a:gd name="connsiteX7" fmla="*/ 164905 w 280983"/>
                <a:gd name="connsiteY7" fmla="*/ 2046590 h 3028426"/>
                <a:gd name="connsiteX8" fmla="*/ 150616 w 280983"/>
                <a:gd name="connsiteY8" fmla="*/ 2327578 h 3028426"/>
                <a:gd name="connsiteX9" fmla="*/ 145855 w 280983"/>
                <a:gd name="connsiteY9" fmla="*/ 2565703 h 3028426"/>
                <a:gd name="connsiteX10" fmla="*/ 150617 w 280983"/>
                <a:gd name="connsiteY10" fmla="*/ 2794303 h 3028426"/>
                <a:gd name="connsiteX11" fmla="*/ 177623 w 280983"/>
                <a:gd name="connsiteY11" fmla="*/ 3028426 h 3028426"/>
                <a:gd name="connsiteX12" fmla="*/ 280983 w 280983"/>
                <a:gd name="connsiteY12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160141 w 280983"/>
                <a:gd name="connsiteY2" fmla="*/ 0 h 3028426"/>
                <a:gd name="connsiteX3" fmla="*/ 149811 w 280983"/>
                <a:gd name="connsiteY3" fmla="*/ 986291 h 3028426"/>
                <a:gd name="connsiteX4" fmla="*/ 136330 w 280983"/>
                <a:gd name="connsiteY4" fmla="*/ 1160765 h 3028426"/>
                <a:gd name="connsiteX5" fmla="*/ 141091 w 280983"/>
                <a:gd name="connsiteY5" fmla="*/ 1384603 h 3028426"/>
                <a:gd name="connsiteX6" fmla="*/ 164905 w 280983"/>
                <a:gd name="connsiteY6" fmla="*/ 2046590 h 3028426"/>
                <a:gd name="connsiteX7" fmla="*/ 150616 w 280983"/>
                <a:gd name="connsiteY7" fmla="*/ 2327578 h 3028426"/>
                <a:gd name="connsiteX8" fmla="*/ 145855 w 280983"/>
                <a:gd name="connsiteY8" fmla="*/ 2565703 h 3028426"/>
                <a:gd name="connsiteX9" fmla="*/ 150617 w 280983"/>
                <a:gd name="connsiteY9" fmla="*/ 2794303 h 3028426"/>
                <a:gd name="connsiteX10" fmla="*/ 177623 w 280983"/>
                <a:gd name="connsiteY10" fmla="*/ 3028426 h 3028426"/>
                <a:gd name="connsiteX11" fmla="*/ 280983 w 280983"/>
                <a:gd name="connsiteY11" fmla="*/ 3018901 h 3028426"/>
                <a:gd name="connsiteX0" fmla="*/ 145476 w 145476"/>
                <a:gd name="connsiteY0" fmla="*/ 3018901 h 3028426"/>
                <a:gd name="connsiteX1" fmla="*/ 24634 w 145476"/>
                <a:gd name="connsiteY1" fmla="*/ 0 h 3028426"/>
                <a:gd name="connsiteX2" fmla="*/ 14304 w 145476"/>
                <a:gd name="connsiteY2" fmla="*/ 986291 h 3028426"/>
                <a:gd name="connsiteX3" fmla="*/ 823 w 145476"/>
                <a:gd name="connsiteY3" fmla="*/ 1160765 h 3028426"/>
                <a:gd name="connsiteX4" fmla="*/ 5584 w 145476"/>
                <a:gd name="connsiteY4" fmla="*/ 1384603 h 3028426"/>
                <a:gd name="connsiteX5" fmla="*/ 29398 w 145476"/>
                <a:gd name="connsiteY5" fmla="*/ 2046590 h 3028426"/>
                <a:gd name="connsiteX6" fmla="*/ 15109 w 145476"/>
                <a:gd name="connsiteY6" fmla="*/ 2327578 h 3028426"/>
                <a:gd name="connsiteX7" fmla="*/ 10348 w 145476"/>
                <a:gd name="connsiteY7" fmla="*/ 2565703 h 3028426"/>
                <a:gd name="connsiteX8" fmla="*/ 15110 w 145476"/>
                <a:gd name="connsiteY8" fmla="*/ 2794303 h 3028426"/>
                <a:gd name="connsiteX9" fmla="*/ 42116 w 145476"/>
                <a:gd name="connsiteY9" fmla="*/ 3028426 h 3028426"/>
                <a:gd name="connsiteX10" fmla="*/ 145476 w 145476"/>
                <a:gd name="connsiteY10" fmla="*/ 3018901 h 3028426"/>
                <a:gd name="connsiteX0" fmla="*/ 145476 w 145476"/>
                <a:gd name="connsiteY0" fmla="*/ 2032610 h 2042135"/>
                <a:gd name="connsiteX1" fmla="*/ 14304 w 145476"/>
                <a:gd name="connsiteY1" fmla="*/ 0 h 2042135"/>
                <a:gd name="connsiteX2" fmla="*/ 823 w 145476"/>
                <a:gd name="connsiteY2" fmla="*/ 174474 h 2042135"/>
                <a:gd name="connsiteX3" fmla="*/ 5584 w 145476"/>
                <a:gd name="connsiteY3" fmla="*/ 398312 h 2042135"/>
                <a:gd name="connsiteX4" fmla="*/ 29398 w 145476"/>
                <a:gd name="connsiteY4" fmla="*/ 1060299 h 2042135"/>
                <a:gd name="connsiteX5" fmla="*/ 15109 w 145476"/>
                <a:gd name="connsiteY5" fmla="*/ 1341287 h 2042135"/>
                <a:gd name="connsiteX6" fmla="*/ 10348 w 145476"/>
                <a:gd name="connsiteY6" fmla="*/ 1579412 h 2042135"/>
                <a:gd name="connsiteX7" fmla="*/ 15110 w 145476"/>
                <a:gd name="connsiteY7" fmla="*/ 1808012 h 2042135"/>
                <a:gd name="connsiteX8" fmla="*/ 42116 w 145476"/>
                <a:gd name="connsiteY8" fmla="*/ 2042135 h 2042135"/>
                <a:gd name="connsiteX9" fmla="*/ 145476 w 145476"/>
                <a:gd name="connsiteY9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37534 w 137534"/>
                <a:gd name="connsiteY0" fmla="*/ 2040552 h 2042135"/>
                <a:gd name="connsiteX1" fmla="*/ 130558 w 137534"/>
                <a:gd name="connsiteY1" fmla="*/ 2544 h 2042135"/>
                <a:gd name="connsiteX2" fmla="*/ 14304 w 137534"/>
                <a:gd name="connsiteY2" fmla="*/ 0 h 2042135"/>
                <a:gd name="connsiteX3" fmla="*/ 823 w 137534"/>
                <a:gd name="connsiteY3" fmla="*/ 174474 h 2042135"/>
                <a:gd name="connsiteX4" fmla="*/ 5584 w 137534"/>
                <a:gd name="connsiteY4" fmla="*/ 398312 h 2042135"/>
                <a:gd name="connsiteX5" fmla="*/ 29398 w 137534"/>
                <a:gd name="connsiteY5" fmla="*/ 1060299 h 2042135"/>
                <a:gd name="connsiteX6" fmla="*/ 15109 w 137534"/>
                <a:gd name="connsiteY6" fmla="*/ 1341287 h 2042135"/>
                <a:gd name="connsiteX7" fmla="*/ 10348 w 137534"/>
                <a:gd name="connsiteY7" fmla="*/ 1579412 h 2042135"/>
                <a:gd name="connsiteX8" fmla="*/ 15110 w 137534"/>
                <a:gd name="connsiteY8" fmla="*/ 1808012 h 2042135"/>
                <a:gd name="connsiteX9" fmla="*/ 42116 w 137534"/>
                <a:gd name="connsiteY9" fmla="*/ 2042135 h 2042135"/>
                <a:gd name="connsiteX10" fmla="*/ 137534 w 137534"/>
                <a:gd name="connsiteY10" fmla="*/ 2040552 h 204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34" h="2042135">
                  <a:moveTo>
                    <a:pt x="137534" y="2040552"/>
                  </a:moveTo>
                  <a:cubicBezTo>
                    <a:pt x="135209" y="1361216"/>
                    <a:pt x="132883" y="681880"/>
                    <a:pt x="130558" y="2544"/>
                  </a:cubicBezTo>
                  <a:lnTo>
                    <a:pt x="14304" y="0"/>
                  </a:lnTo>
                  <a:cubicBezTo>
                    <a:pt x="9542" y="142875"/>
                    <a:pt x="3998" y="67318"/>
                    <a:pt x="823" y="174474"/>
                  </a:cubicBezTo>
                  <a:cubicBezTo>
                    <a:pt x="-1297" y="548203"/>
                    <a:pt x="822" y="250675"/>
                    <a:pt x="5584" y="398312"/>
                  </a:cubicBezTo>
                  <a:cubicBezTo>
                    <a:pt x="10346" y="545949"/>
                    <a:pt x="29398" y="901549"/>
                    <a:pt x="29398" y="1060299"/>
                  </a:cubicBezTo>
                  <a:cubicBezTo>
                    <a:pt x="34954" y="1269055"/>
                    <a:pt x="15109" y="1251593"/>
                    <a:pt x="15109" y="1341287"/>
                  </a:cubicBezTo>
                  <a:cubicBezTo>
                    <a:pt x="15109" y="1430981"/>
                    <a:pt x="16698" y="1515912"/>
                    <a:pt x="10348" y="1579412"/>
                  </a:cubicBezTo>
                  <a:cubicBezTo>
                    <a:pt x="3998" y="1642912"/>
                    <a:pt x="12197" y="1740417"/>
                    <a:pt x="15110" y="1808012"/>
                  </a:cubicBezTo>
                  <a:lnTo>
                    <a:pt x="42116" y="2042135"/>
                  </a:lnTo>
                  <a:lnTo>
                    <a:pt x="137534" y="2040552"/>
                  </a:lnTo>
                  <a:close/>
                </a:path>
              </a:pathLst>
            </a:custGeom>
            <a:pattFill prst="wdDnDiag">
              <a:fgClr>
                <a:srgbClr val="FFFF00"/>
              </a:fgClr>
              <a:bgClr>
                <a:srgbClr val="EE7713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/>
            </a:p>
          </p:txBody>
        </p:sp>
        <p:grpSp>
          <p:nvGrpSpPr>
            <p:cNvPr id="67" name="Gruppo 66"/>
            <p:cNvGrpSpPr/>
            <p:nvPr/>
          </p:nvGrpSpPr>
          <p:grpSpPr>
            <a:xfrm>
              <a:off x="5444417" y="1007789"/>
              <a:ext cx="3277107" cy="4435511"/>
              <a:chOff x="5674120" y="1790653"/>
              <a:chExt cx="2462139" cy="3332465"/>
            </a:xfrm>
          </p:grpSpPr>
          <p:sp>
            <p:nvSpPr>
              <p:cNvPr id="76" name="Freccia curva 2"/>
              <p:cNvSpPr/>
              <p:nvPr/>
            </p:nvSpPr>
            <p:spPr>
              <a:xfrm flipV="1">
                <a:off x="6084815" y="2733865"/>
                <a:ext cx="2051444" cy="2389253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51444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866756" y="0"/>
                      <a:pt x="1957243" y="0"/>
                    </a:cubicBezTo>
                    <a:lnTo>
                      <a:pt x="1881071" y="145914"/>
                    </a:lnTo>
                    <a:lnTo>
                      <a:pt x="2051444" y="26893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77" name="Rettangolo 6"/>
              <p:cNvSpPr/>
              <p:nvPr/>
            </p:nvSpPr>
            <p:spPr>
              <a:xfrm>
                <a:off x="5674120" y="1790653"/>
                <a:ext cx="300621" cy="3028426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0621" h="3028426">
                    <a:moveTo>
                      <a:pt x="0" y="60154"/>
                    </a:moveTo>
                    <a:cubicBezTo>
                      <a:pt x="42672" y="57106"/>
                      <a:pt x="85296" y="106648"/>
                      <a:pt x="127968" y="103600"/>
                    </a:cubicBezTo>
                    <a:lnTo>
                      <a:pt x="283139" y="0"/>
                    </a:lnTo>
                    <a:cubicBezTo>
                      <a:pt x="285782" y="195136"/>
                      <a:pt x="272026" y="86821"/>
                      <a:pt x="278376" y="313040"/>
                    </a:cubicBezTo>
                    <a:cubicBezTo>
                      <a:pt x="284726" y="539259"/>
                      <a:pt x="297426" y="589265"/>
                      <a:pt x="292664" y="732140"/>
                    </a:cubicBezTo>
                    <a:cubicBezTo>
                      <a:pt x="287902" y="875015"/>
                      <a:pt x="262503" y="1053609"/>
                      <a:pt x="259328" y="1160765"/>
                    </a:cubicBezTo>
                    <a:cubicBezTo>
                      <a:pt x="257208" y="1534494"/>
                      <a:pt x="259327" y="1236966"/>
                      <a:pt x="264089" y="1384603"/>
                    </a:cubicBezTo>
                    <a:cubicBezTo>
                      <a:pt x="268851" y="1532240"/>
                      <a:pt x="287903" y="1887840"/>
                      <a:pt x="287903" y="2046590"/>
                    </a:cubicBezTo>
                    <a:cubicBezTo>
                      <a:pt x="293459" y="2255346"/>
                      <a:pt x="273614" y="2237884"/>
                      <a:pt x="273614" y="2327578"/>
                    </a:cubicBezTo>
                    <a:cubicBezTo>
                      <a:pt x="273614" y="2417272"/>
                      <a:pt x="275203" y="2502203"/>
                      <a:pt x="268853" y="2565703"/>
                    </a:cubicBezTo>
                    <a:cubicBezTo>
                      <a:pt x="262503" y="2629203"/>
                      <a:pt x="270702" y="2726708"/>
                      <a:pt x="273615" y="2794303"/>
                    </a:cubicBezTo>
                    <a:lnTo>
                      <a:pt x="300621" y="3028426"/>
                    </a:lnTo>
                    <a:lnTo>
                      <a:pt x="6870" y="3018901"/>
                    </a:lnTo>
                    <a:lnTo>
                      <a:pt x="0" y="60154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5875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200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68" name="Gruppo 67"/>
            <p:cNvGrpSpPr/>
            <p:nvPr/>
          </p:nvGrpSpPr>
          <p:grpSpPr>
            <a:xfrm rot="16200000">
              <a:off x="5344893" y="2675117"/>
              <a:ext cx="773978" cy="1555367"/>
              <a:chOff x="5308435" y="4212641"/>
              <a:chExt cx="436890" cy="1168570"/>
            </a:xfrm>
          </p:grpSpPr>
          <p:sp>
            <p:nvSpPr>
              <p:cNvPr id="74" name="Rectangle 325"/>
              <p:cNvSpPr>
                <a:spLocks noChangeArrowheads="1"/>
              </p:cNvSpPr>
              <p:nvPr/>
            </p:nvSpPr>
            <p:spPr bwMode="auto">
              <a:xfrm rot="5400000">
                <a:off x="4961582" y="4652820"/>
                <a:ext cx="1129280" cy="248921"/>
              </a:xfrm>
              <a:prstGeom prst="rect">
                <a:avLst/>
              </a:prstGeom>
              <a:gradFill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050" b="1" dirty="0">
                  <a:latin typeface="Arial Narrow" pitchFamily="34" charset="0"/>
                </a:endParaRPr>
              </a:p>
            </p:txBody>
          </p:sp>
          <p:sp>
            <p:nvSpPr>
              <p:cNvPr id="75" name="Ritaglia angolo stesso lato rettangolo 38"/>
              <p:cNvSpPr/>
              <p:nvPr/>
            </p:nvSpPr>
            <p:spPr>
              <a:xfrm rot="10800000">
                <a:off x="5308435" y="5302631"/>
                <a:ext cx="436890" cy="78580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0" scaled="1"/>
                <a:tileRect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050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69" name="Group 327"/>
            <p:cNvGrpSpPr>
              <a:grpSpLocks/>
            </p:cNvGrpSpPr>
            <p:nvPr/>
          </p:nvGrpSpPr>
          <p:grpSpPr bwMode="auto">
            <a:xfrm flipV="1">
              <a:off x="5045397" y="3063167"/>
              <a:ext cx="390256" cy="761693"/>
              <a:chOff x="957" y="1985"/>
              <a:chExt cx="256" cy="318"/>
            </a:xfrm>
          </p:grpSpPr>
          <p:sp>
            <p:nvSpPr>
              <p:cNvPr id="71" name="AutoShape 328"/>
              <p:cNvSpPr>
                <a:spLocks noChangeArrowheads="1"/>
              </p:cNvSpPr>
              <p:nvPr/>
            </p:nvSpPr>
            <p:spPr bwMode="auto">
              <a:xfrm rot="5400000" flipH="1">
                <a:off x="974" y="2117"/>
                <a:ext cx="314" cy="53"/>
              </a:xfrm>
              <a:custGeom>
                <a:avLst/>
                <a:gdLst>
                  <a:gd name="T0" fmla="*/ 4 w 21600"/>
                  <a:gd name="T1" fmla="*/ 0 h 21600"/>
                  <a:gd name="T2" fmla="*/ 2 w 21600"/>
                  <a:gd name="T3" fmla="*/ 0 h 21600"/>
                  <a:gd name="T4" fmla="*/ 0 w 21600"/>
                  <a:gd name="T5" fmla="*/ 0 h 21600"/>
                  <a:gd name="T6" fmla="*/ 2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20 w 21600"/>
                  <a:gd name="T13" fmla="*/ 2853 h 21600"/>
                  <a:gd name="T14" fmla="*/ 18780 w 21600"/>
                  <a:gd name="T15" fmla="*/ 1874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2076" y="21600"/>
                    </a:lnTo>
                    <a:lnTo>
                      <a:pt x="19524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050" b="1" dirty="0">
                  <a:latin typeface="Arial Narrow" pitchFamily="34" charset="0"/>
                </a:endParaRPr>
              </a:p>
            </p:txBody>
          </p:sp>
          <p:sp>
            <p:nvSpPr>
              <p:cNvPr id="72" name="Rectangle 329"/>
              <p:cNvSpPr>
                <a:spLocks noChangeArrowheads="1"/>
              </p:cNvSpPr>
              <p:nvPr/>
            </p:nvSpPr>
            <p:spPr bwMode="auto">
              <a:xfrm flipH="1">
                <a:off x="957" y="2017"/>
                <a:ext cx="153" cy="256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050" b="1" dirty="0">
                  <a:latin typeface="Arial Narrow" pitchFamily="34" charset="0"/>
                </a:endParaRPr>
              </a:p>
            </p:txBody>
          </p:sp>
          <p:sp>
            <p:nvSpPr>
              <p:cNvPr id="73" name="Rectangle 330"/>
              <p:cNvSpPr>
                <a:spLocks noChangeArrowheads="1"/>
              </p:cNvSpPr>
              <p:nvPr/>
            </p:nvSpPr>
            <p:spPr bwMode="auto">
              <a:xfrm flipH="1">
                <a:off x="1158" y="1985"/>
                <a:ext cx="55" cy="318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050" b="1" dirty="0">
                  <a:latin typeface="Arial Narrow" pitchFamily="34" charset="0"/>
                </a:endParaRPr>
              </a:p>
            </p:txBody>
          </p:sp>
        </p:grpSp>
        <p:cxnSp>
          <p:nvCxnSpPr>
            <p:cNvPr id="70" name="Connettore 1 33"/>
            <p:cNvCxnSpPr>
              <a:stCxn id="74" idx="1"/>
              <a:endCxn id="74" idx="3"/>
            </p:cNvCxnSpPr>
            <p:nvPr/>
          </p:nvCxnSpPr>
          <p:spPr>
            <a:xfrm>
              <a:off x="4954196" y="3453967"/>
              <a:ext cx="1503072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lg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8" name="Freccia curva 2"/>
          <p:cNvSpPr/>
          <p:nvPr/>
        </p:nvSpPr>
        <p:spPr>
          <a:xfrm flipV="1">
            <a:off x="6915797" y="2017375"/>
            <a:ext cx="73511" cy="758186"/>
          </a:xfrm>
          <a:custGeom>
            <a:avLst/>
            <a:gdLst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404499 h 2651760"/>
              <a:gd name="connsiteX6" fmla="*/ 4432678 w 4432678"/>
              <a:gd name="connsiteY6" fmla="*/ 808999 h 2651760"/>
              <a:gd name="connsiteX7" fmla="*/ 4432678 w 4432678"/>
              <a:gd name="connsiteY7" fmla="*/ 533720 h 2651760"/>
              <a:gd name="connsiteX8" fmla="*/ 575856 w 4432678"/>
              <a:gd name="connsiteY8" fmla="*/ 533720 h 2651760"/>
              <a:gd name="connsiteX9" fmla="*/ 258440 w 4432678"/>
              <a:gd name="connsiteY9" fmla="*/ 851136 h 2651760"/>
              <a:gd name="connsiteX10" fmla="*/ 258441 w 4432678"/>
              <a:gd name="connsiteY10" fmla="*/ 2651760 h 2651760"/>
              <a:gd name="connsiteX11" fmla="*/ 0 w 4432678"/>
              <a:gd name="connsiteY11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808999 h 2651760"/>
              <a:gd name="connsiteX6" fmla="*/ 4432678 w 4432678"/>
              <a:gd name="connsiteY6" fmla="*/ 533720 h 2651760"/>
              <a:gd name="connsiteX7" fmla="*/ 575856 w 4432678"/>
              <a:gd name="connsiteY7" fmla="*/ 533720 h 2651760"/>
              <a:gd name="connsiteX8" fmla="*/ 258440 w 4432678"/>
              <a:gd name="connsiteY8" fmla="*/ 851136 h 2651760"/>
              <a:gd name="connsiteX9" fmla="*/ 258441 w 4432678"/>
              <a:gd name="connsiteY9" fmla="*/ 2651760 h 2651760"/>
              <a:gd name="connsiteX10" fmla="*/ 0 w 4432678"/>
              <a:gd name="connsiteY10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533720 h 2651760"/>
              <a:gd name="connsiteX6" fmla="*/ 575856 w 4432678"/>
              <a:gd name="connsiteY6" fmla="*/ 533720 h 2651760"/>
              <a:gd name="connsiteX7" fmla="*/ 258440 w 4432678"/>
              <a:gd name="connsiteY7" fmla="*/ 851136 h 2651760"/>
              <a:gd name="connsiteX8" fmla="*/ 258441 w 4432678"/>
              <a:gd name="connsiteY8" fmla="*/ 2651760 h 2651760"/>
              <a:gd name="connsiteX9" fmla="*/ 0 w 4432678"/>
              <a:gd name="connsiteY9" fmla="*/ 2651760 h 2651760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4432678 w 4432678"/>
              <a:gd name="connsiteY3" fmla="*/ 0 h 2376481"/>
              <a:gd name="connsiteX4" fmla="*/ 4432678 w 4432678"/>
              <a:gd name="connsiteY4" fmla="*/ 258441 h 2376481"/>
              <a:gd name="connsiteX5" fmla="*/ 575856 w 4432678"/>
              <a:gd name="connsiteY5" fmla="*/ 258441 h 2376481"/>
              <a:gd name="connsiteX6" fmla="*/ 258440 w 4432678"/>
              <a:gd name="connsiteY6" fmla="*/ 575857 h 2376481"/>
              <a:gd name="connsiteX7" fmla="*/ 258441 w 4432678"/>
              <a:gd name="connsiteY7" fmla="*/ 2376481 h 2376481"/>
              <a:gd name="connsiteX8" fmla="*/ 0 w 4432678"/>
              <a:gd name="connsiteY8" fmla="*/ 2376481 h 2376481"/>
              <a:gd name="connsiteX0" fmla="*/ 0 w 4432703"/>
              <a:gd name="connsiteY0" fmla="*/ 2376481 h 2376481"/>
              <a:gd name="connsiteX1" fmla="*/ 0 w 4432703"/>
              <a:gd name="connsiteY1" fmla="*/ 575856 h 2376481"/>
              <a:gd name="connsiteX2" fmla="*/ 575856 w 4432703"/>
              <a:gd name="connsiteY2" fmla="*/ 0 h 2376481"/>
              <a:gd name="connsiteX3" fmla="*/ 4432678 w 4432703"/>
              <a:gd name="connsiteY3" fmla="*/ 0 h 2376481"/>
              <a:gd name="connsiteX4" fmla="*/ 4390707 w 4432703"/>
              <a:gd name="connsiteY4" fmla="*/ 154488 h 2376481"/>
              <a:gd name="connsiteX5" fmla="*/ 4432678 w 4432703"/>
              <a:gd name="connsiteY5" fmla="*/ 258441 h 2376481"/>
              <a:gd name="connsiteX6" fmla="*/ 575856 w 4432703"/>
              <a:gd name="connsiteY6" fmla="*/ 258441 h 2376481"/>
              <a:gd name="connsiteX7" fmla="*/ 258440 w 4432703"/>
              <a:gd name="connsiteY7" fmla="*/ 575857 h 2376481"/>
              <a:gd name="connsiteX8" fmla="*/ 258441 w 4432703"/>
              <a:gd name="connsiteY8" fmla="*/ 2376481 h 2376481"/>
              <a:gd name="connsiteX9" fmla="*/ 0 w 4432703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43907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25619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2658742"/>
              <a:gd name="connsiteY0" fmla="*/ 2376481 h 2376481"/>
              <a:gd name="connsiteX1" fmla="*/ 0 w 2658742"/>
              <a:gd name="connsiteY1" fmla="*/ 575856 h 2376481"/>
              <a:gd name="connsiteX2" fmla="*/ 575856 w 2658742"/>
              <a:gd name="connsiteY2" fmla="*/ 0 h 2376481"/>
              <a:gd name="connsiteX3" fmla="*/ 2567302 w 2658742"/>
              <a:gd name="connsiteY3" fmla="*/ 0 h 2376481"/>
              <a:gd name="connsiteX4" fmla="*/ 2561907 w 2658742"/>
              <a:gd name="connsiteY4" fmla="*/ 154488 h 2376481"/>
              <a:gd name="connsiteX5" fmla="*/ 2658742 w 2658742"/>
              <a:gd name="connsiteY5" fmla="*/ 249297 h 2376481"/>
              <a:gd name="connsiteX6" fmla="*/ 575856 w 2658742"/>
              <a:gd name="connsiteY6" fmla="*/ 258441 h 2376481"/>
              <a:gd name="connsiteX7" fmla="*/ 258440 w 2658742"/>
              <a:gd name="connsiteY7" fmla="*/ 575857 h 2376481"/>
              <a:gd name="connsiteX8" fmla="*/ 258441 w 2658742"/>
              <a:gd name="connsiteY8" fmla="*/ 2376481 h 2376481"/>
              <a:gd name="connsiteX9" fmla="*/ 0 w 2658742"/>
              <a:gd name="connsiteY9" fmla="*/ 2376481 h 2376481"/>
              <a:gd name="connsiteX0" fmla="*/ 6 w 2658748"/>
              <a:gd name="connsiteY0" fmla="*/ 2376481 h 2376481"/>
              <a:gd name="connsiteX1" fmla="*/ 27120 w 2658748"/>
              <a:gd name="connsiteY1" fmla="*/ 2082729 h 2376481"/>
              <a:gd name="connsiteX2" fmla="*/ 6 w 2658748"/>
              <a:gd name="connsiteY2" fmla="*/ 575856 h 2376481"/>
              <a:gd name="connsiteX3" fmla="*/ 575862 w 2658748"/>
              <a:gd name="connsiteY3" fmla="*/ 0 h 2376481"/>
              <a:gd name="connsiteX4" fmla="*/ 2567308 w 2658748"/>
              <a:gd name="connsiteY4" fmla="*/ 0 h 2376481"/>
              <a:gd name="connsiteX5" fmla="*/ 2561913 w 2658748"/>
              <a:gd name="connsiteY5" fmla="*/ 154488 h 2376481"/>
              <a:gd name="connsiteX6" fmla="*/ 2658748 w 2658748"/>
              <a:gd name="connsiteY6" fmla="*/ 249297 h 2376481"/>
              <a:gd name="connsiteX7" fmla="*/ 575862 w 2658748"/>
              <a:gd name="connsiteY7" fmla="*/ 258441 h 2376481"/>
              <a:gd name="connsiteX8" fmla="*/ 258446 w 2658748"/>
              <a:gd name="connsiteY8" fmla="*/ 575857 h 2376481"/>
              <a:gd name="connsiteX9" fmla="*/ 258447 w 2658748"/>
              <a:gd name="connsiteY9" fmla="*/ 2376481 h 2376481"/>
              <a:gd name="connsiteX10" fmla="*/ 6 w 2658748"/>
              <a:gd name="connsiteY10" fmla="*/ 2376481 h 2376481"/>
              <a:gd name="connsiteX0" fmla="*/ 10986 w 2669728"/>
              <a:gd name="connsiteY0" fmla="*/ 2376481 h 2376481"/>
              <a:gd name="connsiteX1" fmla="*/ 38100 w 2669728"/>
              <a:gd name="connsiteY1" fmla="*/ 2082729 h 2376481"/>
              <a:gd name="connsiteX2" fmla="*/ 0 w 2669728"/>
              <a:gd name="connsiteY2" fmla="*/ 1887466 h 2376481"/>
              <a:gd name="connsiteX3" fmla="*/ 10986 w 2669728"/>
              <a:gd name="connsiteY3" fmla="*/ 575856 h 2376481"/>
              <a:gd name="connsiteX4" fmla="*/ 586842 w 2669728"/>
              <a:gd name="connsiteY4" fmla="*/ 0 h 2376481"/>
              <a:gd name="connsiteX5" fmla="*/ 2578288 w 2669728"/>
              <a:gd name="connsiteY5" fmla="*/ 0 h 2376481"/>
              <a:gd name="connsiteX6" fmla="*/ 2572893 w 2669728"/>
              <a:gd name="connsiteY6" fmla="*/ 154488 h 2376481"/>
              <a:gd name="connsiteX7" fmla="*/ 2669728 w 2669728"/>
              <a:gd name="connsiteY7" fmla="*/ 249297 h 2376481"/>
              <a:gd name="connsiteX8" fmla="*/ 586842 w 2669728"/>
              <a:gd name="connsiteY8" fmla="*/ 258441 h 2376481"/>
              <a:gd name="connsiteX9" fmla="*/ 269426 w 2669728"/>
              <a:gd name="connsiteY9" fmla="*/ 575857 h 2376481"/>
              <a:gd name="connsiteX10" fmla="*/ 269427 w 2669728"/>
              <a:gd name="connsiteY10" fmla="*/ 2376481 h 2376481"/>
              <a:gd name="connsiteX11" fmla="*/ 10986 w 2669728"/>
              <a:gd name="connsiteY11" fmla="*/ 2376481 h 2376481"/>
              <a:gd name="connsiteX0" fmla="*/ 10986 w 2669728"/>
              <a:gd name="connsiteY0" fmla="*/ 2376481 h 2376481"/>
              <a:gd name="connsiteX1" fmla="*/ 38100 w 2669728"/>
              <a:gd name="connsiteY1" fmla="*/ 2082729 h 2376481"/>
              <a:gd name="connsiteX2" fmla="*/ 0 w 2669728"/>
              <a:gd name="connsiteY2" fmla="*/ 1887466 h 2376481"/>
              <a:gd name="connsiteX3" fmla="*/ 42863 w 2669728"/>
              <a:gd name="connsiteY3" fmla="*/ 1306441 h 2376481"/>
              <a:gd name="connsiteX4" fmla="*/ 10986 w 2669728"/>
              <a:gd name="connsiteY4" fmla="*/ 575856 h 2376481"/>
              <a:gd name="connsiteX5" fmla="*/ 586842 w 2669728"/>
              <a:gd name="connsiteY5" fmla="*/ 0 h 2376481"/>
              <a:gd name="connsiteX6" fmla="*/ 2578288 w 2669728"/>
              <a:gd name="connsiteY6" fmla="*/ 0 h 2376481"/>
              <a:gd name="connsiteX7" fmla="*/ 2572893 w 2669728"/>
              <a:gd name="connsiteY7" fmla="*/ 154488 h 2376481"/>
              <a:gd name="connsiteX8" fmla="*/ 2669728 w 2669728"/>
              <a:gd name="connsiteY8" fmla="*/ 249297 h 2376481"/>
              <a:gd name="connsiteX9" fmla="*/ 586842 w 2669728"/>
              <a:gd name="connsiteY9" fmla="*/ 258441 h 2376481"/>
              <a:gd name="connsiteX10" fmla="*/ 269426 w 2669728"/>
              <a:gd name="connsiteY10" fmla="*/ 575857 h 2376481"/>
              <a:gd name="connsiteX11" fmla="*/ 269427 w 2669728"/>
              <a:gd name="connsiteY11" fmla="*/ 2376481 h 2376481"/>
              <a:gd name="connsiteX12" fmla="*/ 10986 w 2669728"/>
              <a:gd name="connsiteY12" fmla="*/ 2376481 h 2376481"/>
              <a:gd name="connsiteX0" fmla="*/ 20511 w 2679253"/>
              <a:gd name="connsiteY0" fmla="*/ 2376481 h 2376481"/>
              <a:gd name="connsiteX1" fmla="*/ 47625 w 2679253"/>
              <a:gd name="connsiteY1" fmla="*/ 2082729 h 2376481"/>
              <a:gd name="connsiteX2" fmla="*/ 9525 w 2679253"/>
              <a:gd name="connsiteY2" fmla="*/ 1887466 h 2376481"/>
              <a:gd name="connsiteX3" fmla="*/ 52388 w 2679253"/>
              <a:gd name="connsiteY3" fmla="*/ 1306441 h 2376481"/>
              <a:gd name="connsiteX4" fmla="*/ 0 w 2679253"/>
              <a:gd name="connsiteY4" fmla="*/ 939729 h 2376481"/>
              <a:gd name="connsiteX5" fmla="*/ 20511 w 2679253"/>
              <a:gd name="connsiteY5" fmla="*/ 575856 h 2376481"/>
              <a:gd name="connsiteX6" fmla="*/ 596367 w 2679253"/>
              <a:gd name="connsiteY6" fmla="*/ 0 h 2376481"/>
              <a:gd name="connsiteX7" fmla="*/ 2587813 w 2679253"/>
              <a:gd name="connsiteY7" fmla="*/ 0 h 2376481"/>
              <a:gd name="connsiteX8" fmla="*/ 2582418 w 2679253"/>
              <a:gd name="connsiteY8" fmla="*/ 154488 h 2376481"/>
              <a:gd name="connsiteX9" fmla="*/ 2679253 w 2679253"/>
              <a:gd name="connsiteY9" fmla="*/ 249297 h 2376481"/>
              <a:gd name="connsiteX10" fmla="*/ 596367 w 2679253"/>
              <a:gd name="connsiteY10" fmla="*/ 258441 h 2376481"/>
              <a:gd name="connsiteX11" fmla="*/ 278951 w 2679253"/>
              <a:gd name="connsiteY11" fmla="*/ 575857 h 2376481"/>
              <a:gd name="connsiteX12" fmla="*/ 278952 w 2679253"/>
              <a:gd name="connsiteY12" fmla="*/ 2376481 h 2376481"/>
              <a:gd name="connsiteX13" fmla="*/ 20511 w 2679253"/>
              <a:gd name="connsiteY13" fmla="*/ 2376481 h 2376481"/>
              <a:gd name="connsiteX0" fmla="*/ 20511 w 2679253"/>
              <a:gd name="connsiteY0" fmla="*/ 2376481 h 2376481"/>
              <a:gd name="connsiteX1" fmla="*/ 47625 w 2679253"/>
              <a:gd name="connsiteY1" fmla="*/ 2082729 h 2376481"/>
              <a:gd name="connsiteX2" fmla="*/ 9525 w 2679253"/>
              <a:gd name="connsiteY2" fmla="*/ 1887466 h 2376481"/>
              <a:gd name="connsiteX3" fmla="*/ 52388 w 2679253"/>
              <a:gd name="connsiteY3" fmla="*/ 1306441 h 2376481"/>
              <a:gd name="connsiteX4" fmla="*/ 0 w 2679253"/>
              <a:gd name="connsiteY4" fmla="*/ 939729 h 2376481"/>
              <a:gd name="connsiteX5" fmla="*/ 20511 w 2679253"/>
              <a:gd name="connsiteY5" fmla="*/ 575856 h 2376481"/>
              <a:gd name="connsiteX6" fmla="*/ 596367 w 2679253"/>
              <a:gd name="connsiteY6" fmla="*/ 0 h 2376481"/>
              <a:gd name="connsiteX7" fmla="*/ 2587813 w 2679253"/>
              <a:gd name="connsiteY7" fmla="*/ 0 h 2376481"/>
              <a:gd name="connsiteX8" fmla="*/ 2582418 w 2679253"/>
              <a:gd name="connsiteY8" fmla="*/ 154488 h 2376481"/>
              <a:gd name="connsiteX9" fmla="*/ 2679253 w 2679253"/>
              <a:gd name="connsiteY9" fmla="*/ 249297 h 2376481"/>
              <a:gd name="connsiteX10" fmla="*/ 596367 w 2679253"/>
              <a:gd name="connsiteY10" fmla="*/ 258441 h 2376481"/>
              <a:gd name="connsiteX11" fmla="*/ 278951 w 2679253"/>
              <a:gd name="connsiteY11" fmla="*/ 575857 h 2376481"/>
              <a:gd name="connsiteX12" fmla="*/ 278952 w 2679253"/>
              <a:gd name="connsiteY12" fmla="*/ 2376481 h 2376481"/>
              <a:gd name="connsiteX13" fmla="*/ 20511 w 2679253"/>
              <a:gd name="connsiteY13" fmla="*/ 2376481 h 2376481"/>
              <a:gd name="connsiteX0" fmla="*/ 33888 w 2692630"/>
              <a:gd name="connsiteY0" fmla="*/ 2376481 h 2376481"/>
              <a:gd name="connsiteX1" fmla="*/ 61002 w 2692630"/>
              <a:gd name="connsiteY1" fmla="*/ 2082729 h 2376481"/>
              <a:gd name="connsiteX2" fmla="*/ 22902 w 2692630"/>
              <a:gd name="connsiteY2" fmla="*/ 1887466 h 2376481"/>
              <a:gd name="connsiteX3" fmla="*/ 65765 w 2692630"/>
              <a:gd name="connsiteY3" fmla="*/ 1306441 h 2376481"/>
              <a:gd name="connsiteX4" fmla="*/ 13377 w 2692630"/>
              <a:gd name="connsiteY4" fmla="*/ 939729 h 2376481"/>
              <a:gd name="connsiteX5" fmla="*/ 550 w 2692630"/>
              <a:gd name="connsiteY5" fmla="*/ 571094 h 2376481"/>
              <a:gd name="connsiteX6" fmla="*/ 609744 w 2692630"/>
              <a:gd name="connsiteY6" fmla="*/ 0 h 2376481"/>
              <a:gd name="connsiteX7" fmla="*/ 2601190 w 2692630"/>
              <a:gd name="connsiteY7" fmla="*/ 0 h 2376481"/>
              <a:gd name="connsiteX8" fmla="*/ 2595795 w 2692630"/>
              <a:gd name="connsiteY8" fmla="*/ 154488 h 2376481"/>
              <a:gd name="connsiteX9" fmla="*/ 2692630 w 2692630"/>
              <a:gd name="connsiteY9" fmla="*/ 249297 h 2376481"/>
              <a:gd name="connsiteX10" fmla="*/ 609744 w 2692630"/>
              <a:gd name="connsiteY10" fmla="*/ 258441 h 2376481"/>
              <a:gd name="connsiteX11" fmla="*/ 292328 w 2692630"/>
              <a:gd name="connsiteY11" fmla="*/ 575857 h 2376481"/>
              <a:gd name="connsiteX12" fmla="*/ 292329 w 2692630"/>
              <a:gd name="connsiteY12" fmla="*/ 2376481 h 2376481"/>
              <a:gd name="connsiteX13" fmla="*/ 33888 w 2692630"/>
              <a:gd name="connsiteY13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621210 w 2704096"/>
              <a:gd name="connsiteY7" fmla="*/ 0 h 2376481"/>
              <a:gd name="connsiteX8" fmla="*/ 2612656 w 2704096"/>
              <a:gd name="connsiteY8" fmla="*/ 0 h 2376481"/>
              <a:gd name="connsiteX9" fmla="*/ 2607261 w 2704096"/>
              <a:gd name="connsiteY9" fmla="*/ 154488 h 2376481"/>
              <a:gd name="connsiteX10" fmla="*/ 2704096 w 2704096"/>
              <a:gd name="connsiteY10" fmla="*/ 249297 h 2376481"/>
              <a:gd name="connsiteX11" fmla="*/ 621210 w 2704096"/>
              <a:gd name="connsiteY11" fmla="*/ 258441 h 2376481"/>
              <a:gd name="connsiteX12" fmla="*/ 303794 w 2704096"/>
              <a:gd name="connsiteY12" fmla="*/ 575857 h 2376481"/>
              <a:gd name="connsiteX13" fmla="*/ 303795 w 2704096"/>
              <a:gd name="connsiteY13" fmla="*/ 2376481 h 2376481"/>
              <a:gd name="connsiteX14" fmla="*/ 45354 w 2704096"/>
              <a:gd name="connsiteY14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621210 w 2704096"/>
              <a:gd name="connsiteY7" fmla="*/ 0 h 2376481"/>
              <a:gd name="connsiteX8" fmla="*/ 1601232 w 2704096"/>
              <a:gd name="connsiteY8" fmla="*/ 1516 h 2376481"/>
              <a:gd name="connsiteX9" fmla="*/ 2612656 w 2704096"/>
              <a:gd name="connsiteY9" fmla="*/ 0 h 2376481"/>
              <a:gd name="connsiteX10" fmla="*/ 2607261 w 2704096"/>
              <a:gd name="connsiteY10" fmla="*/ 154488 h 2376481"/>
              <a:gd name="connsiteX11" fmla="*/ 2704096 w 2704096"/>
              <a:gd name="connsiteY11" fmla="*/ 249297 h 2376481"/>
              <a:gd name="connsiteX12" fmla="*/ 621210 w 2704096"/>
              <a:gd name="connsiteY12" fmla="*/ 258441 h 2376481"/>
              <a:gd name="connsiteX13" fmla="*/ 303794 w 2704096"/>
              <a:gd name="connsiteY13" fmla="*/ 575857 h 2376481"/>
              <a:gd name="connsiteX14" fmla="*/ 303795 w 2704096"/>
              <a:gd name="connsiteY14" fmla="*/ 2376481 h 2376481"/>
              <a:gd name="connsiteX15" fmla="*/ 45354 w 2704096"/>
              <a:gd name="connsiteY15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353457 w 2704096"/>
              <a:gd name="connsiteY7" fmla="*/ 111054 h 2376481"/>
              <a:gd name="connsiteX8" fmla="*/ 621210 w 2704096"/>
              <a:gd name="connsiteY8" fmla="*/ 0 h 2376481"/>
              <a:gd name="connsiteX9" fmla="*/ 1601232 w 2704096"/>
              <a:gd name="connsiteY9" fmla="*/ 1516 h 2376481"/>
              <a:gd name="connsiteX10" fmla="*/ 2612656 w 2704096"/>
              <a:gd name="connsiteY10" fmla="*/ 0 h 2376481"/>
              <a:gd name="connsiteX11" fmla="*/ 2607261 w 2704096"/>
              <a:gd name="connsiteY11" fmla="*/ 154488 h 2376481"/>
              <a:gd name="connsiteX12" fmla="*/ 2704096 w 2704096"/>
              <a:gd name="connsiteY12" fmla="*/ 249297 h 2376481"/>
              <a:gd name="connsiteX13" fmla="*/ 621210 w 2704096"/>
              <a:gd name="connsiteY13" fmla="*/ 258441 h 2376481"/>
              <a:gd name="connsiteX14" fmla="*/ 303794 w 2704096"/>
              <a:gd name="connsiteY14" fmla="*/ 575857 h 2376481"/>
              <a:gd name="connsiteX15" fmla="*/ 303795 w 2704096"/>
              <a:gd name="connsiteY15" fmla="*/ 2376481 h 2376481"/>
              <a:gd name="connsiteX16" fmla="*/ 45354 w 2704096"/>
              <a:gd name="connsiteY16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191532 w 2704096"/>
              <a:gd name="connsiteY7" fmla="*/ 239641 h 2376481"/>
              <a:gd name="connsiteX8" fmla="*/ 353457 w 2704096"/>
              <a:gd name="connsiteY8" fmla="*/ 111054 h 2376481"/>
              <a:gd name="connsiteX9" fmla="*/ 621210 w 2704096"/>
              <a:gd name="connsiteY9" fmla="*/ 0 h 2376481"/>
              <a:gd name="connsiteX10" fmla="*/ 1601232 w 2704096"/>
              <a:gd name="connsiteY10" fmla="*/ 1516 h 2376481"/>
              <a:gd name="connsiteX11" fmla="*/ 2612656 w 2704096"/>
              <a:gd name="connsiteY11" fmla="*/ 0 h 2376481"/>
              <a:gd name="connsiteX12" fmla="*/ 2607261 w 2704096"/>
              <a:gd name="connsiteY12" fmla="*/ 154488 h 2376481"/>
              <a:gd name="connsiteX13" fmla="*/ 2704096 w 2704096"/>
              <a:gd name="connsiteY13" fmla="*/ 249297 h 2376481"/>
              <a:gd name="connsiteX14" fmla="*/ 621210 w 2704096"/>
              <a:gd name="connsiteY14" fmla="*/ 258441 h 2376481"/>
              <a:gd name="connsiteX15" fmla="*/ 303794 w 2704096"/>
              <a:gd name="connsiteY15" fmla="*/ 575857 h 2376481"/>
              <a:gd name="connsiteX16" fmla="*/ 303795 w 2704096"/>
              <a:gd name="connsiteY16" fmla="*/ 2376481 h 2376481"/>
              <a:gd name="connsiteX17" fmla="*/ 45354 w 2704096"/>
              <a:gd name="connsiteY17" fmla="*/ 2376481 h 2376481"/>
              <a:gd name="connsiteX0" fmla="*/ 45354 w 2704096"/>
              <a:gd name="connsiteY0" fmla="*/ 2403540 h 2403540"/>
              <a:gd name="connsiteX1" fmla="*/ 72468 w 2704096"/>
              <a:gd name="connsiteY1" fmla="*/ 2109788 h 2403540"/>
              <a:gd name="connsiteX2" fmla="*/ 34368 w 2704096"/>
              <a:gd name="connsiteY2" fmla="*/ 1914525 h 2403540"/>
              <a:gd name="connsiteX3" fmla="*/ 77231 w 2704096"/>
              <a:gd name="connsiteY3" fmla="*/ 1333500 h 2403540"/>
              <a:gd name="connsiteX4" fmla="*/ 24843 w 2704096"/>
              <a:gd name="connsiteY4" fmla="*/ 966788 h 2403540"/>
              <a:gd name="connsiteX5" fmla="*/ 12016 w 2704096"/>
              <a:gd name="connsiteY5" fmla="*/ 598153 h 2403540"/>
              <a:gd name="connsiteX6" fmla="*/ 62944 w 2704096"/>
              <a:gd name="connsiteY6" fmla="*/ 461963 h 2403540"/>
              <a:gd name="connsiteX7" fmla="*/ 191532 w 2704096"/>
              <a:gd name="connsiteY7" fmla="*/ 266700 h 2403540"/>
              <a:gd name="connsiteX8" fmla="*/ 353457 w 2704096"/>
              <a:gd name="connsiteY8" fmla="*/ 138113 h 2403540"/>
              <a:gd name="connsiteX9" fmla="*/ 621210 w 2704096"/>
              <a:gd name="connsiteY9" fmla="*/ 27059 h 2403540"/>
              <a:gd name="connsiteX10" fmla="*/ 1601232 w 2704096"/>
              <a:gd name="connsiteY10" fmla="*/ 28575 h 2403540"/>
              <a:gd name="connsiteX11" fmla="*/ 1882219 w 2704096"/>
              <a:gd name="connsiteY11" fmla="*/ 0 h 2403540"/>
              <a:gd name="connsiteX12" fmla="*/ 2612656 w 2704096"/>
              <a:gd name="connsiteY12" fmla="*/ 27059 h 2403540"/>
              <a:gd name="connsiteX13" fmla="*/ 2607261 w 2704096"/>
              <a:gd name="connsiteY13" fmla="*/ 181547 h 2403540"/>
              <a:gd name="connsiteX14" fmla="*/ 2704096 w 2704096"/>
              <a:gd name="connsiteY14" fmla="*/ 276356 h 2403540"/>
              <a:gd name="connsiteX15" fmla="*/ 621210 w 2704096"/>
              <a:gd name="connsiteY15" fmla="*/ 285500 h 2403540"/>
              <a:gd name="connsiteX16" fmla="*/ 303794 w 2704096"/>
              <a:gd name="connsiteY16" fmla="*/ 602916 h 2403540"/>
              <a:gd name="connsiteX17" fmla="*/ 303795 w 2704096"/>
              <a:gd name="connsiteY17" fmla="*/ 2403540 h 2403540"/>
              <a:gd name="connsiteX18" fmla="*/ 45354 w 2704096"/>
              <a:gd name="connsiteY18" fmla="*/ 2403540 h 2403540"/>
              <a:gd name="connsiteX0" fmla="*/ 45354 w 2704096"/>
              <a:gd name="connsiteY0" fmla="*/ 2403540 h 2403540"/>
              <a:gd name="connsiteX1" fmla="*/ 72468 w 2704096"/>
              <a:gd name="connsiteY1" fmla="*/ 2109788 h 2403540"/>
              <a:gd name="connsiteX2" fmla="*/ 34368 w 2704096"/>
              <a:gd name="connsiteY2" fmla="*/ 1914525 h 2403540"/>
              <a:gd name="connsiteX3" fmla="*/ 77231 w 2704096"/>
              <a:gd name="connsiteY3" fmla="*/ 1333500 h 2403540"/>
              <a:gd name="connsiteX4" fmla="*/ 24843 w 2704096"/>
              <a:gd name="connsiteY4" fmla="*/ 966788 h 2403540"/>
              <a:gd name="connsiteX5" fmla="*/ 12016 w 2704096"/>
              <a:gd name="connsiteY5" fmla="*/ 598153 h 2403540"/>
              <a:gd name="connsiteX6" fmla="*/ 62944 w 2704096"/>
              <a:gd name="connsiteY6" fmla="*/ 461963 h 2403540"/>
              <a:gd name="connsiteX7" fmla="*/ 191532 w 2704096"/>
              <a:gd name="connsiteY7" fmla="*/ 266700 h 2403540"/>
              <a:gd name="connsiteX8" fmla="*/ 353457 w 2704096"/>
              <a:gd name="connsiteY8" fmla="*/ 138113 h 2403540"/>
              <a:gd name="connsiteX9" fmla="*/ 621210 w 2704096"/>
              <a:gd name="connsiteY9" fmla="*/ 27059 h 2403540"/>
              <a:gd name="connsiteX10" fmla="*/ 1601232 w 2704096"/>
              <a:gd name="connsiteY10" fmla="*/ 28575 h 2403540"/>
              <a:gd name="connsiteX11" fmla="*/ 1882219 w 2704096"/>
              <a:gd name="connsiteY11" fmla="*/ 0 h 2403540"/>
              <a:gd name="connsiteX12" fmla="*/ 2210832 w 2704096"/>
              <a:gd name="connsiteY12" fmla="*/ 57151 h 2403540"/>
              <a:gd name="connsiteX13" fmla="*/ 2612656 w 2704096"/>
              <a:gd name="connsiteY13" fmla="*/ 27059 h 2403540"/>
              <a:gd name="connsiteX14" fmla="*/ 2607261 w 2704096"/>
              <a:gd name="connsiteY14" fmla="*/ 181547 h 2403540"/>
              <a:gd name="connsiteX15" fmla="*/ 2704096 w 2704096"/>
              <a:gd name="connsiteY15" fmla="*/ 276356 h 2403540"/>
              <a:gd name="connsiteX16" fmla="*/ 621210 w 2704096"/>
              <a:gd name="connsiteY16" fmla="*/ 285500 h 2403540"/>
              <a:gd name="connsiteX17" fmla="*/ 303794 w 2704096"/>
              <a:gd name="connsiteY17" fmla="*/ 602916 h 2403540"/>
              <a:gd name="connsiteX18" fmla="*/ 303795 w 2704096"/>
              <a:gd name="connsiteY18" fmla="*/ 2403540 h 2403540"/>
              <a:gd name="connsiteX19" fmla="*/ 45354 w 2704096"/>
              <a:gd name="connsiteY19" fmla="*/ 2403540 h 2403540"/>
              <a:gd name="connsiteX0" fmla="*/ 45354 w 2704096"/>
              <a:gd name="connsiteY0" fmla="*/ 2389253 h 2389253"/>
              <a:gd name="connsiteX1" fmla="*/ 72468 w 2704096"/>
              <a:gd name="connsiteY1" fmla="*/ 2095501 h 2389253"/>
              <a:gd name="connsiteX2" fmla="*/ 34368 w 2704096"/>
              <a:gd name="connsiteY2" fmla="*/ 1900238 h 2389253"/>
              <a:gd name="connsiteX3" fmla="*/ 77231 w 2704096"/>
              <a:gd name="connsiteY3" fmla="*/ 1319213 h 2389253"/>
              <a:gd name="connsiteX4" fmla="*/ 24843 w 2704096"/>
              <a:gd name="connsiteY4" fmla="*/ 952501 h 2389253"/>
              <a:gd name="connsiteX5" fmla="*/ 12016 w 2704096"/>
              <a:gd name="connsiteY5" fmla="*/ 583866 h 2389253"/>
              <a:gd name="connsiteX6" fmla="*/ 62944 w 2704096"/>
              <a:gd name="connsiteY6" fmla="*/ 447676 h 2389253"/>
              <a:gd name="connsiteX7" fmla="*/ 191532 w 2704096"/>
              <a:gd name="connsiteY7" fmla="*/ 252413 h 2389253"/>
              <a:gd name="connsiteX8" fmla="*/ 353457 w 2704096"/>
              <a:gd name="connsiteY8" fmla="*/ 123826 h 2389253"/>
              <a:gd name="connsiteX9" fmla="*/ 621210 w 2704096"/>
              <a:gd name="connsiteY9" fmla="*/ 12772 h 2389253"/>
              <a:gd name="connsiteX10" fmla="*/ 1601232 w 2704096"/>
              <a:gd name="connsiteY10" fmla="*/ 14288 h 2389253"/>
              <a:gd name="connsiteX11" fmla="*/ 1867932 w 2704096"/>
              <a:gd name="connsiteY11" fmla="*/ 0 h 2389253"/>
              <a:gd name="connsiteX12" fmla="*/ 2210832 w 2704096"/>
              <a:gd name="connsiteY12" fmla="*/ 42864 h 2389253"/>
              <a:gd name="connsiteX13" fmla="*/ 2612656 w 2704096"/>
              <a:gd name="connsiteY13" fmla="*/ 12772 h 2389253"/>
              <a:gd name="connsiteX14" fmla="*/ 2607261 w 2704096"/>
              <a:gd name="connsiteY14" fmla="*/ 167260 h 2389253"/>
              <a:gd name="connsiteX15" fmla="*/ 2704096 w 2704096"/>
              <a:gd name="connsiteY15" fmla="*/ 262069 h 2389253"/>
              <a:gd name="connsiteX16" fmla="*/ 621210 w 2704096"/>
              <a:gd name="connsiteY16" fmla="*/ 271213 h 2389253"/>
              <a:gd name="connsiteX17" fmla="*/ 303794 w 2704096"/>
              <a:gd name="connsiteY17" fmla="*/ 588629 h 2389253"/>
              <a:gd name="connsiteX18" fmla="*/ 303795 w 2704096"/>
              <a:gd name="connsiteY18" fmla="*/ 2389253 h 2389253"/>
              <a:gd name="connsiteX19" fmla="*/ 45354 w 2704096"/>
              <a:gd name="connsiteY19" fmla="*/ 2389253 h 2389253"/>
              <a:gd name="connsiteX0" fmla="*/ 45354 w 2704096"/>
              <a:gd name="connsiteY0" fmla="*/ 2389253 h 2389253"/>
              <a:gd name="connsiteX1" fmla="*/ 72468 w 2704096"/>
              <a:gd name="connsiteY1" fmla="*/ 2095501 h 2389253"/>
              <a:gd name="connsiteX2" fmla="*/ 34368 w 2704096"/>
              <a:gd name="connsiteY2" fmla="*/ 1900238 h 2389253"/>
              <a:gd name="connsiteX3" fmla="*/ 77231 w 2704096"/>
              <a:gd name="connsiteY3" fmla="*/ 1319213 h 2389253"/>
              <a:gd name="connsiteX4" fmla="*/ 24843 w 2704096"/>
              <a:gd name="connsiteY4" fmla="*/ 952501 h 2389253"/>
              <a:gd name="connsiteX5" fmla="*/ 12016 w 2704096"/>
              <a:gd name="connsiteY5" fmla="*/ 583866 h 2389253"/>
              <a:gd name="connsiteX6" fmla="*/ 62944 w 2704096"/>
              <a:gd name="connsiteY6" fmla="*/ 447676 h 2389253"/>
              <a:gd name="connsiteX7" fmla="*/ 191532 w 2704096"/>
              <a:gd name="connsiteY7" fmla="*/ 252413 h 2389253"/>
              <a:gd name="connsiteX8" fmla="*/ 353457 w 2704096"/>
              <a:gd name="connsiteY8" fmla="*/ 123826 h 2389253"/>
              <a:gd name="connsiteX9" fmla="*/ 621210 w 2704096"/>
              <a:gd name="connsiteY9" fmla="*/ 12772 h 2389253"/>
              <a:gd name="connsiteX10" fmla="*/ 1339294 w 2704096"/>
              <a:gd name="connsiteY10" fmla="*/ 33338 h 2389253"/>
              <a:gd name="connsiteX11" fmla="*/ 1601232 w 2704096"/>
              <a:gd name="connsiteY11" fmla="*/ 14288 h 2389253"/>
              <a:gd name="connsiteX12" fmla="*/ 1867932 w 2704096"/>
              <a:gd name="connsiteY12" fmla="*/ 0 h 2389253"/>
              <a:gd name="connsiteX13" fmla="*/ 2210832 w 2704096"/>
              <a:gd name="connsiteY13" fmla="*/ 42864 h 2389253"/>
              <a:gd name="connsiteX14" fmla="*/ 2612656 w 2704096"/>
              <a:gd name="connsiteY14" fmla="*/ 12772 h 2389253"/>
              <a:gd name="connsiteX15" fmla="*/ 2607261 w 2704096"/>
              <a:gd name="connsiteY15" fmla="*/ 167260 h 2389253"/>
              <a:gd name="connsiteX16" fmla="*/ 2704096 w 2704096"/>
              <a:gd name="connsiteY16" fmla="*/ 262069 h 2389253"/>
              <a:gd name="connsiteX17" fmla="*/ 621210 w 2704096"/>
              <a:gd name="connsiteY17" fmla="*/ 271213 h 2389253"/>
              <a:gd name="connsiteX18" fmla="*/ 303794 w 2704096"/>
              <a:gd name="connsiteY18" fmla="*/ 588629 h 2389253"/>
              <a:gd name="connsiteX19" fmla="*/ 303795 w 2704096"/>
              <a:gd name="connsiteY19" fmla="*/ 2389253 h 2389253"/>
              <a:gd name="connsiteX20" fmla="*/ 45354 w 2704096"/>
              <a:gd name="connsiteY20" fmla="*/ 2389253 h 2389253"/>
              <a:gd name="connsiteX0" fmla="*/ 45354 w 2612790"/>
              <a:gd name="connsiteY0" fmla="*/ 2389253 h 2389253"/>
              <a:gd name="connsiteX1" fmla="*/ 72468 w 2612790"/>
              <a:gd name="connsiteY1" fmla="*/ 2095501 h 2389253"/>
              <a:gd name="connsiteX2" fmla="*/ 34368 w 2612790"/>
              <a:gd name="connsiteY2" fmla="*/ 1900238 h 2389253"/>
              <a:gd name="connsiteX3" fmla="*/ 77231 w 2612790"/>
              <a:gd name="connsiteY3" fmla="*/ 1319213 h 2389253"/>
              <a:gd name="connsiteX4" fmla="*/ 24843 w 2612790"/>
              <a:gd name="connsiteY4" fmla="*/ 952501 h 2389253"/>
              <a:gd name="connsiteX5" fmla="*/ 12016 w 2612790"/>
              <a:gd name="connsiteY5" fmla="*/ 583866 h 2389253"/>
              <a:gd name="connsiteX6" fmla="*/ 62944 w 2612790"/>
              <a:gd name="connsiteY6" fmla="*/ 447676 h 2389253"/>
              <a:gd name="connsiteX7" fmla="*/ 191532 w 2612790"/>
              <a:gd name="connsiteY7" fmla="*/ 252413 h 2389253"/>
              <a:gd name="connsiteX8" fmla="*/ 353457 w 2612790"/>
              <a:gd name="connsiteY8" fmla="*/ 123826 h 2389253"/>
              <a:gd name="connsiteX9" fmla="*/ 621210 w 2612790"/>
              <a:gd name="connsiteY9" fmla="*/ 12772 h 2389253"/>
              <a:gd name="connsiteX10" fmla="*/ 1339294 w 2612790"/>
              <a:gd name="connsiteY10" fmla="*/ 33338 h 2389253"/>
              <a:gd name="connsiteX11" fmla="*/ 1601232 w 2612790"/>
              <a:gd name="connsiteY11" fmla="*/ 14288 h 2389253"/>
              <a:gd name="connsiteX12" fmla="*/ 1867932 w 2612790"/>
              <a:gd name="connsiteY12" fmla="*/ 0 h 2389253"/>
              <a:gd name="connsiteX13" fmla="*/ 2210832 w 2612790"/>
              <a:gd name="connsiteY13" fmla="*/ 42864 h 2389253"/>
              <a:gd name="connsiteX14" fmla="*/ 2612656 w 2612790"/>
              <a:gd name="connsiteY14" fmla="*/ 12772 h 2389253"/>
              <a:gd name="connsiteX15" fmla="*/ 2607261 w 2612790"/>
              <a:gd name="connsiteY15" fmla="*/ 167260 h 2389253"/>
              <a:gd name="connsiteX16" fmla="*/ 2051444 w 2612790"/>
              <a:gd name="connsiteY16" fmla="*/ 268939 h 2389253"/>
              <a:gd name="connsiteX17" fmla="*/ 621210 w 2612790"/>
              <a:gd name="connsiteY17" fmla="*/ 271213 h 2389253"/>
              <a:gd name="connsiteX18" fmla="*/ 303794 w 2612790"/>
              <a:gd name="connsiteY18" fmla="*/ 588629 h 2389253"/>
              <a:gd name="connsiteX19" fmla="*/ 303795 w 2612790"/>
              <a:gd name="connsiteY19" fmla="*/ 2389253 h 2389253"/>
              <a:gd name="connsiteX20" fmla="*/ 45354 w 2612790"/>
              <a:gd name="connsiteY20" fmla="*/ 2389253 h 2389253"/>
              <a:gd name="connsiteX0" fmla="*/ 45354 w 2612656"/>
              <a:gd name="connsiteY0" fmla="*/ 2389253 h 2389253"/>
              <a:gd name="connsiteX1" fmla="*/ 72468 w 2612656"/>
              <a:gd name="connsiteY1" fmla="*/ 2095501 h 2389253"/>
              <a:gd name="connsiteX2" fmla="*/ 34368 w 2612656"/>
              <a:gd name="connsiteY2" fmla="*/ 1900238 h 2389253"/>
              <a:gd name="connsiteX3" fmla="*/ 77231 w 2612656"/>
              <a:gd name="connsiteY3" fmla="*/ 1319213 h 2389253"/>
              <a:gd name="connsiteX4" fmla="*/ 24843 w 2612656"/>
              <a:gd name="connsiteY4" fmla="*/ 952501 h 2389253"/>
              <a:gd name="connsiteX5" fmla="*/ 12016 w 2612656"/>
              <a:gd name="connsiteY5" fmla="*/ 583866 h 2389253"/>
              <a:gd name="connsiteX6" fmla="*/ 62944 w 2612656"/>
              <a:gd name="connsiteY6" fmla="*/ 447676 h 2389253"/>
              <a:gd name="connsiteX7" fmla="*/ 191532 w 2612656"/>
              <a:gd name="connsiteY7" fmla="*/ 252413 h 2389253"/>
              <a:gd name="connsiteX8" fmla="*/ 353457 w 2612656"/>
              <a:gd name="connsiteY8" fmla="*/ 123826 h 2389253"/>
              <a:gd name="connsiteX9" fmla="*/ 621210 w 2612656"/>
              <a:gd name="connsiteY9" fmla="*/ 12772 h 2389253"/>
              <a:gd name="connsiteX10" fmla="*/ 1339294 w 2612656"/>
              <a:gd name="connsiteY10" fmla="*/ 33338 h 2389253"/>
              <a:gd name="connsiteX11" fmla="*/ 1601232 w 2612656"/>
              <a:gd name="connsiteY11" fmla="*/ 14288 h 2389253"/>
              <a:gd name="connsiteX12" fmla="*/ 1867932 w 2612656"/>
              <a:gd name="connsiteY12" fmla="*/ 0 h 2389253"/>
              <a:gd name="connsiteX13" fmla="*/ 2210832 w 2612656"/>
              <a:gd name="connsiteY13" fmla="*/ 42864 h 2389253"/>
              <a:gd name="connsiteX14" fmla="*/ 2612656 w 2612656"/>
              <a:gd name="connsiteY14" fmla="*/ 12772 h 2389253"/>
              <a:gd name="connsiteX15" fmla="*/ 2051444 w 2612656"/>
              <a:gd name="connsiteY15" fmla="*/ 268939 h 2389253"/>
              <a:gd name="connsiteX16" fmla="*/ 621210 w 2612656"/>
              <a:gd name="connsiteY16" fmla="*/ 271213 h 2389253"/>
              <a:gd name="connsiteX17" fmla="*/ 303794 w 2612656"/>
              <a:gd name="connsiteY17" fmla="*/ 588629 h 2389253"/>
              <a:gd name="connsiteX18" fmla="*/ 303795 w 2612656"/>
              <a:gd name="connsiteY18" fmla="*/ 2389253 h 2389253"/>
              <a:gd name="connsiteX19" fmla="*/ 45354 w 2612656"/>
              <a:gd name="connsiteY19" fmla="*/ 2389253 h 2389253"/>
              <a:gd name="connsiteX0" fmla="*/ 45354 w 2210832"/>
              <a:gd name="connsiteY0" fmla="*/ 2389253 h 2389253"/>
              <a:gd name="connsiteX1" fmla="*/ 72468 w 2210832"/>
              <a:gd name="connsiteY1" fmla="*/ 2095501 h 2389253"/>
              <a:gd name="connsiteX2" fmla="*/ 34368 w 2210832"/>
              <a:gd name="connsiteY2" fmla="*/ 1900238 h 2389253"/>
              <a:gd name="connsiteX3" fmla="*/ 77231 w 2210832"/>
              <a:gd name="connsiteY3" fmla="*/ 1319213 h 2389253"/>
              <a:gd name="connsiteX4" fmla="*/ 24843 w 2210832"/>
              <a:gd name="connsiteY4" fmla="*/ 952501 h 2389253"/>
              <a:gd name="connsiteX5" fmla="*/ 12016 w 2210832"/>
              <a:gd name="connsiteY5" fmla="*/ 583866 h 2389253"/>
              <a:gd name="connsiteX6" fmla="*/ 62944 w 2210832"/>
              <a:gd name="connsiteY6" fmla="*/ 447676 h 2389253"/>
              <a:gd name="connsiteX7" fmla="*/ 191532 w 2210832"/>
              <a:gd name="connsiteY7" fmla="*/ 252413 h 2389253"/>
              <a:gd name="connsiteX8" fmla="*/ 353457 w 2210832"/>
              <a:gd name="connsiteY8" fmla="*/ 123826 h 2389253"/>
              <a:gd name="connsiteX9" fmla="*/ 621210 w 2210832"/>
              <a:gd name="connsiteY9" fmla="*/ 12772 h 2389253"/>
              <a:gd name="connsiteX10" fmla="*/ 1339294 w 2210832"/>
              <a:gd name="connsiteY10" fmla="*/ 33338 h 2389253"/>
              <a:gd name="connsiteX11" fmla="*/ 1601232 w 2210832"/>
              <a:gd name="connsiteY11" fmla="*/ 14288 h 2389253"/>
              <a:gd name="connsiteX12" fmla="*/ 1867932 w 2210832"/>
              <a:gd name="connsiteY12" fmla="*/ 0 h 2389253"/>
              <a:gd name="connsiteX13" fmla="*/ 2210832 w 2210832"/>
              <a:gd name="connsiteY13" fmla="*/ 42864 h 2389253"/>
              <a:gd name="connsiteX14" fmla="*/ 2051444 w 2210832"/>
              <a:gd name="connsiteY14" fmla="*/ 268939 h 2389253"/>
              <a:gd name="connsiteX15" fmla="*/ 621210 w 2210832"/>
              <a:gd name="connsiteY15" fmla="*/ 271213 h 2389253"/>
              <a:gd name="connsiteX16" fmla="*/ 303794 w 2210832"/>
              <a:gd name="connsiteY16" fmla="*/ 588629 h 2389253"/>
              <a:gd name="connsiteX17" fmla="*/ 303795 w 2210832"/>
              <a:gd name="connsiteY17" fmla="*/ 2389253 h 2389253"/>
              <a:gd name="connsiteX18" fmla="*/ 45354 w 2210832"/>
              <a:gd name="connsiteY18" fmla="*/ 2389253 h 2389253"/>
              <a:gd name="connsiteX0" fmla="*/ 45354 w 2051444"/>
              <a:gd name="connsiteY0" fmla="*/ 2389253 h 2389253"/>
              <a:gd name="connsiteX1" fmla="*/ 72468 w 2051444"/>
              <a:gd name="connsiteY1" fmla="*/ 2095501 h 2389253"/>
              <a:gd name="connsiteX2" fmla="*/ 34368 w 2051444"/>
              <a:gd name="connsiteY2" fmla="*/ 1900238 h 2389253"/>
              <a:gd name="connsiteX3" fmla="*/ 77231 w 2051444"/>
              <a:gd name="connsiteY3" fmla="*/ 1319213 h 2389253"/>
              <a:gd name="connsiteX4" fmla="*/ 24843 w 2051444"/>
              <a:gd name="connsiteY4" fmla="*/ 952501 h 2389253"/>
              <a:gd name="connsiteX5" fmla="*/ 12016 w 2051444"/>
              <a:gd name="connsiteY5" fmla="*/ 583866 h 2389253"/>
              <a:gd name="connsiteX6" fmla="*/ 62944 w 2051444"/>
              <a:gd name="connsiteY6" fmla="*/ 447676 h 2389253"/>
              <a:gd name="connsiteX7" fmla="*/ 191532 w 2051444"/>
              <a:gd name="connsiteY7" fmla="*/ 252413 h 2389253"/>
              <a:gd name="connsiteX8" fmla="*/ 353457 w 2051444"/>
              <a:gd name="connsiteY8" fmla="*/ 123826 h 2389253"/>
              <a:gd name="connsiteX9" fmla="*/ 621210 w 2051444"/>
              <a:gd name="connsiteY9" fmla="*/ 12772 h 2389253"/>
              <a:gd name="connsiteX10" fmla="*/ 1339294 w 2051444"/>
              <a:gd name="connsiteY10" fmla="*/ 33338 h 2389253"/>
              <a:gd name="connsiteX11" fmla="*/ 1601232 w 2051444"/>
              <a:gd name="connsiteY11" fmla="*/ 14288 h 2389253"/>
              <a:gd name="connsiteX12" fmla="*/ 1867932 w 2051444"/>
              <a:gd name="connsiteY12" fmla="*/ 0 h 2389253"/>
              <a:gd name="connsiteX13" fmla="*/ 1881071 w 2051444"/>
              <a:gd name="connsiteY13" fmla="*/ 145914 h 2389253"/>
              <a:gd name="connsiteX14" fmla="*/ 2051444 w 2051444"/>
              <a:gd name="connsiteY14" fmla="*/ 268939 h 2389253"/>
              <a:gd name="connsiteX15" fmla="*/ 621210 w 2051444"/>
              <a:gd name="connsiteY15" fmla="*/ 271213 h 2389253"/>
              <a:gd name="connsiteX16" fmla="*/ 303794 w 2051444"/>
              <a:gd name="connsiteY16" fmla="*/ 588629 h 2389253"/>
              <a:gd name="connsiteX17" fmla="*/ 303795 w 2051444"/>
              <a:gd name="connsiteY17" fmla="*/ 2389253 h 2389253"/>
              <a:gd name="connsiteX18" fmla="*/ 45354 w 2051444"/>
              <a:gd name="connsiteY18" fmla="*/ 2389253 h 2389253"/>
              <a:gd name="connsiteX0" fmla="*/ 45354 w 2051444"/>
              <a:gd name="connsiteY0" fmla="*/ 2389253 h 2389253"/>
              <a:gd name="connsiteX1" fmla="*/ 72468 w 2051444"/>
              <a:gd name="connsiteY1" fmla="*/ 2095501 h 2389253"/>
              <a:gd name="connsiteX2" fmla="*/ 34368 w 2051444"/>
              <a:gd name="connsiteY2" fmla="*/ 1900238 h 2389253"/>
              <a:gd name="connsiteX3" fmla="*/ 77231 w 2051444"/>
              <a:gd name="connsiteY3" fmla="*/ 1319213 h 2389253"/>
              <a:gd name="connsiteX4" fmla="*/ 24843 w 2051444"/>
              <a:gd name="connsiteY4" fmla="*/ 952501 h 2389253"/>
              <a:gd name="connsiteX5" fmla="*/ 12016 w 2051444"/>
              <a:gd name="connsiteY5" fmla="*/ 583866 h 2389253"/>
              <a:gd name="connsiteX6" fmla="*/ 62944 w 2051444"/>
              <a:gd name="connsiteY6" fmla="*/ 447676 h 2389253"/>
              <a:gd name="connsiteX7" fmla="*/ 191532 w 2051444"/>
              <a:gd name="connsiteY7" fmla="*/ 252413 h 2389253"/>
              <a:gd name="connsiteX8" fmla="*/ 353457 w 2051444"/>
              <a:gd name="connsiteY8" fmla="*/ 123826 h 2389253"/>
              <a:gd name="connsiteX9" fmla="*/ 621210 w 2051444"/>
              <a:gd name="connsiteY9" fmla="*/ 12772 h 2389253"/>
              <a:gd name="connsiteX10" fmla="*/ 1339294 w 2051444"/>
              <a:gd name="connsiteY10" fmla="*/ 33338 h 2389253"/>
              <a:gd name="connsiteX11" fmla="*/ 1601232 w 2051444"/>
              <a:gd name="connsiteY11" fmla="*/ 14288 h 2389253"/>
              <a:gd name="connsiteX12" fmla="*/ 1867932 w 2051444"/>
              <a:gd name="connsiteY12" fmla="*/ 0 h 2389253"/>
              <a:gd name="connsiteX13" fmla="*/ 1881071 w 2051444"/>
              <a:gd name="connsiteY13" fmla="*/ 145914 h 2389253"/>
              <a:gd name="connsiteX14" fmla="*/ 2051444 w 2051444"/>
              <a:gd name="connsiteY14" fmla="*/ 268939 h 2389253"/>
              <a:gd name="connsiteX15" fmla="*/ 621210 w 2051444"/>
              <a:gd name="connsiteY15" fmla="*/ 271213 h 2389253"/>
              <a:gd name="connsiteX16" fmla="*/ 303794 w 2051444"/>
              <a:gd name="connsiteY16" fmla="*/ 588629 h 2389253"/>
              <a:gd name="connsiteX17" fmla="*/ 303795 w 2051444"/>
              <a:gd name="connsiteY17" fmla="*/ 2389253 h 2389253"/>
              <a:gd name="connsiteX18" fmla="*/ 45354 w 2051444"/>
              <a:gd name="connsiteY18" fmla="*/ 2389253 h 2389253"/>
              <a:gd name="connsiteX0" fmla="*/ 45354 w 2051444"/>
              <a:gd name="connsiteY0" fmla="*/ 2389253 h 2389253"/>
              <a:gd name="connsiteX1" fmla="*/ 72468 w 2051444"/>
              <a:gd name="connsiteY1" fmla="*/ 2095501 h 2389253"/>
              <a:gd name="connsiteX2" fmla="*/ 34368 w 2051444"/>
              <a:gd name="connsiteY2" fmla="*/ 1900238 h 2389253"/>
              <a:gd name="connsiteX3" fmla="*/ 77231 w 2051444"/>
              <a:gd name="connsiteY3" fmla="*/ 1319213 h 2389253"/>
              <a:gd name="connsiteX4" fmla="*/ 24843 w 2051444"/>
              <a:gd name="connsiteY4" fmla="*/ 952501 h 2389253"/>
              <a:gd name="connsiteX5" fmla="*/ 12016 w 2051444"/>
              <a:gd name="connsiteY5" fmla="*/ 583866 h 2389253"/>
              <a:gd name="connsiteX6" fmla="*/ 62944 w 2051444"/>
              <a:gd name="connsiteY6" fmla="*/ 447676 h 2389253"/>
              <a:gd name="connsiteX7" fmla="*/ 191532 w 2051444"/>
              <a:gd name="connsiteY7" fmla="*/ 252413 h 2389253"/>
              <a:gd name="connsiteX8" fmla="*/ 353457 w 2051444"/>
              <a:gd name="connsiteY8" fmla="*/ 123826 h 2389253"/>
              <a:gd name="connsiteX9" fmla="*/ 621210 w 2051444"/>
              <a:gd name="connsiteY9" fmla="*/ 12772 h 2389253"/>
              <a:gd name="connsiteX10" fmla="*/ 1339294 w 2051444"/>
              <a:gd name="connsiteY10" fmla="*/ 33338 h 2389253"/>
              <a:gd name="connsiteX11" fmla="*/ 1601232 w 2051444"/>
              <a:gd name="connsiteY11" fmla="*/ 14288 h 2389253"/>
              <a:gd name="connsiteX12" fmla="*/ 1957243 w 2051444"/>
              <a:gd name="connsiteY12" fmla="*/ 0 h 2389253"/>
              <a:gd name="connsiteX13" fmla="*/ 1881071 w 2051444"/>
              <a:gd name="connsiteY13" fmla="*/ 145914 h 2389253"/>
              <a:gd name="connsiteX14" fmla="*/ 2051444 w 2051444"/>
              <a:gd name="connsiteY14" fmla="*/ 268939 h 2389253"/>
              <a:gd name="connsiteX15" fmla="*/ 621210 w 2051444"/>
              <a:gd name="connsiteY15" fmla="*/ 271213 h 2389253"/>
              <a:gd name="connsiteX16" fmla="*/ 303794 w 2051444"/>
              <a:gd name="connsiteY16" fmla="*/ 588629 h 2389253"/>
              <a:gd name="connsiteX17" fmla="*/ 303795 w 2051444"/>
              <a:gd name="connsiteY17" fmla="*/ 2389253 h 2389253"/>
              <a:gd name="connsiteX18" fmla="*/ 45354 w 2051444"/>
              <a:gd name="connsiteY18" fmla="*/ 2389253 h 2389253"/>
              <a:gd name="connsiteX0" fmla="*/ 33889 w 2039979"/>
              <a:gd name="connsiteY0" fmla="*/ 2389253 h 2389253"/>
              <a:gd name="connsiteX1" fmla="*/ 61003 w 2039979"/>
              <a:gd name="connsiteY1" fmla="*/ 2095501 h 2389253"/>
              <a:gd name="connsiteX2" fmla="*/ 22903 w 2039979"/>
              <a:gd name="connsiteY2" fmla="*/ 1900238 h 2389253"/>
              <a:gd name="connsiteX3" fmla="*/ 65766 w 2039979"/>
              <a:gd name="connsiteY3" fmla="*/ 1319213 h 2389253"/>
              <a:gd name="connsiteX4" fmla="*/ 13378 w 2039979"/>
              <a:gd name="connsiteY4" fmla="*/ 952501 h 2389253"/>
              <a:gd name="connsiteX5" fmla="*/ 551 w 2039979"/>
              <a:gd name="connsiteY5" fmla="*/ 583866 h 2389253"/>
              <a:gd name="connsiteX6" fmla="*/ 92699 w 2039979"/>
              <a:gd name="connsiteY6" fmla="*/ 378976 h 2389253"/>
              <a:gd name="connsiteX7" fmla="*/ 180067 w 2039979"/>
              <a:gd name="connsiteY7" fmla="*/ 252413 h 2389253"/>
              <a:gd name="connsiteX8" fmla="*/ 341992 w 2039979"/>
              <a:gd name="connsiteY8" fmla="*/ 123826 h 2389253"/>
              <a:gd name="connsiteX9" fmla="*/ 609745 w 2039979"/>
              <a:gd name="connsiteY9" fmla="*/ 12772 h 2389253"/>
              <a:gd name="connsiteX10" fmla="*/ 1327829 w 2039979"/>
              <a:gd name="connsiteY10" fmla="*/ 33338 h 2389253"/>
              <a:gd name="connsiteX11" fmla="*/ 1589767 w 2039979"/>
              <a:gd name="connsiteY11" fmla="*/ 14288 h 2389253"/>
              <a:gd name="connsiteX12" fmla="*/ 1945778 w 2039979"/>
              <a:gd name="connsiteY12" fmla="*/ 0 h 2389253"/>
              <a:gd name="connsiteX13" fmla="*/ 1869606 w 2039979"/>
              <a:gd name="connsiteY13" fmla="*/ 145914 h 2389253"/>
              <a:gd name="connsiteX14" fmla="*/ 2039979 w 2039979"/>
              <a:gd name="connsiteY14" fmla="*/ 268939 h 2389253"/>
              <a:gd name="connsiteX15" fmla="*/ 609745 w 2039979"/>
              <a:gd name="connsiteY15" fmla="*/ 271213 h 2389253"/>
              <a:gd name="connsiteX16" fmla="*/ 292329 w 2039979"/>
              <a:gd name="connsiteY16" fmla="*/ 588629 h 2389253"/>
              <a:gd name="connsiteX17" fmla="*/ 292330 w 2039979"/>
              <a:gd name="connsiteY17" fmla="*/ 2389253 h 2389253"/>
              <a:gd name="connsiteX18" fmla="*/ 33889 w 2039979"/>
              <a:gd name="connsiteY18" fmla="*/ 2389253 h 2389253"/>
              <a:gd name="connsiteX0" fmla="*/ 114279 w 2120369"/>
              <a:gd name="connsiteY0" fmla="*/ 2389253 h 2389253"/>
              <a:gd name="connsiteX1" fmla="*/ 141393 w 2120369"/>
              <a:gd name="connsiteY1" fmla="*/ 2095501 h 2389253"/>
              <a:gd name="connsiteX2" fmla="*/ 103293 w 2120369"/>
              <a:gd name="connsiteY2" fmla="*/ 1900238 h 2389253"/>
              <a:gd name="connsiteX3" fmla="*/ 146156 w 2120369"/>
              <a:gd name="connsiteY3" fmla="*/ 1319213 h 2389253"/>
              <a:gd name="connsiteX4" fmla="*/ 93768 w 2120369"/>
              <a:gd name="connsiteY4" fmla="*/ 952501 h 2389253"/>
              <a:gd name="connsiteX5" fmla="*/ 80941 w 2120369"/>
              <a:gd name="connsiteY5" fmla="*/ 583866 h 2389253"/>
              <a:gd name="connsiteX6" fmla="*/ 173089 w 2120369"/>
              <a:gd name="connsiteY6" fmla="*/ 378976 h 2389253"/>
              <a:gd name="connsiteX7" fmla="*/ 6266 w 2120369"/>
              <a:gd name="connsiteY7" fmla="*/ 376074 h 2389253"/>
              <a:gd name="connsiteX8" fmla="*/ 422382 w 2120369"/>
              <a:gd name="connsiteY8" fmla="*/ 123826 h 2389253"/>
              <a:gd name="connsiteX9" fmla="*/ 690135 w 2120369"/>
              <a:gd name="connsiteY9" fmla="*/ 12772 h 2389253"/>
              <a:gd name="connsiteX10" fmla="*/ 1408219 w 2120369"/>
              <a:gd name="connsiteY10" fmla="*/ 33338 h 2389253"/>
              <a:gd name="connsiteX11" fmla="*/ 1670157 w 2120369"/>
              <a:gd name="connsiteY11" fmla="*/ 14288 h 2389253"/>
              <a:gd name="connsiteX12" fmla="*/ 2026168 w 2120369"/>
              <a:gd name="connsiteY12" fmla="*/ 0 h 2389253"/>
              <a:gd name="connsiteX13" fmla="*/ 1949996 w 2120369"/>
              <a:gd name="connsiteY13" fmla="*/ 145914 h 2389253"/>
              <a:gd name="connsiteX14" fmla="*/ 2120369 w 2120369"/>
              <a:gd name="connsiteY14" fmla="*/ 268939 h 2389253"/>
              <a:gd name="connsiteX15" fmla="*/ 690135 w 2120369"/>
              <a:gd name="connsiteY15" fmla="*/ 271213 h 2389253"/>
              <a:gd name="connsiteX16" fmla="*/ 372719 w 2120369"/>
              <a:gd name="connsiteY16" fmla="*/ 588629 h 2389253"/>
              <a:gd name="connsiteX17" fmla="*/ 372720 w 2120369"/>
              <a:gd name="connsiteY17" fmla="*/ 2389253 h 2389253"/>
              <a:gd name="connsiteX18" fmla="*/ 114279 w 2120369"/>
              <a:gd name="connsiteY18" fmla="*/ 2389253 h 2389253"/>
              <a:gd name="connsiteX0" fmla="*/ 114998 w 2121088"/>
              <a:gd name="connsiteY0" fmla="*/ 2389253 h 2389253"/>
              <a:gd name="connsiteX1" fmla="*/ 142112 w 2121088"/>
              <a:gd name="connsiteY1" fmla="*/ 2095501 h 2389253"/>
              <a:gd name="connsiteX2" fmla="*/ 104012 w 2121088"/>
              <a:gd name="connsiteY2" fmla="*/ 1900238 h 2389253"/>
              <a:gd name="connsiteX3" fmla="*/ 146875 w 2121088"/>
              <a:gd name="connsiteY3" fmla="*/ 1319213 h 2389253"/>
              <a:gd name="connsiteX4" fmla="*/ 94487 w 2121088"/>
              <a:gd name="connsiteY4" fmla="*/ 952501 h 2389253"/>
              <a:gd name="connsiteX5" fmla="*/ 81660 w 2121088"/>
              <a:gd name="connsiteY5" fmla="*/ 583866 h 2389253"/>
              <a:gd name="connsiteX6" fmla="*/ 173808 w 2121088"/>
              <a:gd name="connsiteY6" fmla="*/ 378976 h 2389253"/>
              <a:gd name="connsiteX7" fmla="*/ 6985 w 2121088"/>
              <a:gd name="connsiteY7" fmla="*/ 376074 h 2389253"/>
              <a:gd name="connsiteX8" fmla="*/ 24639 w 2121088"/>
              <a:gd name="connsiteY8" fmla="*/ 2377193 h 2389253"/>
              <a:gd name="connsiteX9" fmla="*/ 690854 w 2121088"/>
              <a:gd name="connsiteY9" fmla="*/ 12772 h 2389253"/>
              <a:gd name="connsiteX10" fmla="*/ 1408938 w 2121088"/>
              <a:gd name="connsiteY10" fmla="*/ 33338 h 2389253"/>
              <a:gd name="connsiteX11" fmla="*/ 1670876 w 2121088"/>
              <a:gd name="connsiteY11" fmla="*/ 14288 h 2389253"/>
              <a:gd name="connsiteX12" fmla="*/ 2026887 w 2121088"/>
              <a:gd name="connsiteY12" fmla="*/ 0 h 2389253"/>
              <a:gd name="connsiteX13" fmla="*/ 1950715 w 2121088"/>
              <a:gd name="connsiteY13" fmla="*/ 145914 h 2389253"/>
              <a:gd name="connsiteX14" fmla="*/ 2121088 w 2121088"/>
              <a:gd name="connsiteY14" fmla="*/ 268939 h 2389253"/>
              <a:gd name="connsiteX15" fmla="*/ 690854 w 2121088"/>
              <a:gd name="connsiteY15" fmla="*/ 271213 h 2389253"/>
              <a:gd name="connsiteX16" fmla="*/ 373438 w 2121088"/>
              <a:gd name="connsiteY16" fmla="*/ 588629 h 2389253"/>
              <a:gd name="connsiteX17" fmla="*/ 373439 w 2121088"/>
              <a:gd name="connsiteY17" fmla="*/ 2389253 h 2389253"/>
              <a:gd name="connsiteX18" fmla="*/ 114998 w 2121088"/>
              <a:gd name="connsiteY18" fmla="*/ 2389253 h 2389253"/>
              <a:gd name="connsiteX0" fmla="*/ 188246 w 2194336"/>
              <a:gd name="connsiteY0" fmla="*/ 2389253 h 2389253"/>
              <a:gd name="connsiteX1" fmla="*/ 215360 w 2194336"/>
              <a:gd name="connsiteY1" fmla="*/ 2095501 h 2389253"/>
              <a:gd name="connsiteX2" fmla="*/ 177260 w 2194336"/>
              <a:gd name="connsiteY2" fmla="*/ 1900238 h 2389253"/>
              <a:gd name="connsiteX3" fmla="*/ 220123 w 2194336"/>
              <a:gd name="connsiteY3" fmla="*/ 1319213 h 2389253"/>
              <a:gd name="connsiteX4" fmla="*/ 167735 w 2194336"/>
              <a:gd name="connsiteY4" fmla="*/ 952501 h 2389253"/>
              <a:gd name="connsiteX5" fmla="*/ 154908 w 2194336"/>
              <a:gd name="connsiteY5" fmla="*/ 583866 h 2389253"/>
              <a:gd name="connsiteX6" fmla="*/ 247056 w 2194336"/>
              <a:gd name="connsiteY6" fmla="*/ 378976 h 2389253"/>
              <a:gd name="connsiteX7" fmla="*/ 80233 w 2194336"/>
              <a:gd name="connsiteY7" fmla="*/ 376074 h 2389253"/>
              <a:gd name="connsiteX8" fmla="*/ 97887 w 2194336"/>
              <a:gd name="connsiteY8" fmla="*/ 2377193 h 2389253"/>
              <a:gd name="connsiteX9" fmla="*/ 1482186 w 2194336"/>
              <a:gd name="connsiteY9" fmla="*/ 33338 h 2389253"/>
              <a:gd name="connsiteX10" fmla="*/ 1744124 w 2194336"/>
              <a:gd name="connsiteY10" fmla="*/ 14288 h 2389253"/>
              <a:gd name="connsiteX11" fmla="*/ 2100135 w 2194336"/>
              <a:gd name="connsiteY11" fmla="*/ 0 h 2389253"/>
              <a:gd name="connsiteX12" fmla="*/ 2023963 w 2194336"/>
              <a:gd name="connsiteY12" fmla="*/ 145914 h 2389253"/>
              <a:gd name="connsiteX13" fmla="*/ 2194336 w 2194336"/>
              <a:gd name="connsiteY13" fmla="*/ 268939 h 2389253"/>
              <a:gd name="connsiteX14" fmla="*/ 764102 w 2194336"/>
              <a:gd name="connsiteY14" fmla="*/ 271213 h 2389253"/>
              <a:gd name="connsiteX15" fmla="*/ 446686 w 2194336"/>
              <a:gd name="connsiteY15" fmla="*/ 588629 h 2389253"/>
              <a:gd name="connsiteX16" fmla="*/ 446687 w 2194336"/>
              <a:gd name="connsiteY16" fmla="*/ 2389253 h 2389253"/>
              <a:gd name="connsiteX17" fmla="*/ 188246 w 2194336"/>
              <a:gd name="connsiteY17" fmla="*/ 2389253 h 2389253"/>
              <a:gd name="connsiteX0" fmla="*/ 188246 w 2194336"/>
              <a:gd name="connsiteY0" fmla="*/ 2389253 h 2389253"/>
              <a:gd name="connsiteX1" fmla="*/ 215360 w 2194336"/>
              <a:gd name="connsiteY1" fmla="*/ 2095501 h 2389253"/>
              <a:gd name="connsiteX2" fmla="*/ 177260 w 2194336"/>
              <a:gd name="connsiteY2" fmla="*/ 1900238 h 2389253"/>
              <a:gd name="connsiteX3" fmla="*/ 220123 w 2194336"/>
              <a:gd name="connsiteY3" fmla="*/ 1319213 h 2389253"/>
              <a:gd name="connsiteX4" fmla="*/ 167735 w 2194336"/>
              <a:gd name="connsiteY4" fmla="*/ 952501 h 2389253"/>
              <a:gd name="connsiteX5" fmla="*/ 154908 w 2194336"/>
              <a:gd name="connsiteY5" fmla="*/ 583866 h 2389253"/>
              <a:gd name="connsiteX6" fmla="*/ 247056 w 2194336"/>
              <a:gd name="connsiteY6" fmla="*/ 378976 h 2389253"/>
              <a:gd name="connsiteX7" fmla="*/ 80233 w 2194336"/>
              <a:gd name="connsiteY7" fmla="*/ 376074 h 2389253"/>
              <a:gd name="connsiteX8" fmla="*/ 97887 w 2194336"/>
              <a:gd name="connsiteY8" fmla="*/ 2377193 h 2389253"/>
              <a:gd name="connsiteX9" fmla="*/ 1482186 w 2194336"/>
              <a:gd name="connsiteY9" fmla="*/ 33338 h 2389253"/>
              <a:gd name="connsiteX10" fmla="*/ 1744124 w 2194336"/>
              <a:gd name="connsiteY10" fmla="*/ 14288 h 2389253"/>
              <a:gd name="connsiteX11" fmla="*/ 2100135 w 2194336"/>
              <a:gd name="connsiteY11" fmla="*/ 0 h 2389253"/>
              <a:gd name="connsiteX12" fmla="*/ 2023963 w 2194336"/>
              <a:gd name="connsiteY12" fmla="*/ 145914 h 2389253"/>
              <a:gd name="connsiteX13" fmla="*/ 2194336 w 2194336"/>
              <a:gd name="connsiteY13" fmla="*/ 268939 h 2389253"/>
              <a:gd name="connsiteX14" fmla="*/ 446686 w 2194336"/>
              <a:gd name="connsiteY14" fmla="*/ 588629 h 2389253"/>
              <a:gd name="connsiteX15" fmla="*/ 446687 w 2194336"/>
              <a:gd name="connsiteY15" fmla="*/ 2389253 h 2389253"/>
              <a:gd name="connsiteX16" fmla="*/ 188246 w 2194336"/>
              <a:gd name="connsiteY16" fmla="*/ 2389253 h 2389253"/>
              <a:gd name="connsiteX0" fmla="*/ 188246 w 2194336"/>
              <a:gd name="connsiteY0" fmla="*/ 2389253 h 2389253"/>
              <a:gd name="connsiteX1" fmla="*/ 215360 w 2194336"/>
              <a:gd name="connsiteY1" fmla="*/ 2095501 h 2389253"/>
              <a:gd name="connsiteX2" fmla="*/ 177260 w 2194336"/>
              <a:gd name="connsiteY2" fmla="*/ 1900238 h 2389253"/>
              <a:gd name="connsiteX3" fmla="*/ 220123 w 2194336"/>
              <a:gd name="connsiteY3" fmla="*/ 1319213 h 2389253"/>
              <a:gd name="connsiteX4" fmla="*/ 167735 w 2194336"/>
              <a:gd name="connsiteY4" fmla="*/ 952501 h 2389253"/>
              <a:gd name="connsiteX5" fmla="*/ 154908 w 2194336"/>
              <a:gd name="connsiteY5" fmla="*/ 583866 h 2389253"/>
              <a:gd name="connsiteX6" fmla="*/ 247056 w 2194336"/>
              <a:gd name="connsiteY6" fmla="*/ 378976 h 2389253"/>
              <a:gd name="connsiteX7" fmla="*/ 80233 w 2194336"/>
              <a:gd name="connsiteY7" fmla="*/ 376074 h 2389253"/>
              <a:gd name="connsiteX8" fmla="*/ 97887 w 2194336"/>
              <a:gd name="connsiteY8" fmla="*/ 2377193 h 2389253"/>
              <a:gd name="connsiteX9" fmla="*/ 1482186 w 2194336"/>
              <a:gd name="connsiteY9" fmla="*/ 33338 h 2389253"/>
              <a:gd name="connsiteX10" fmla="*/ 1744124 w 2194336"/>
              <a:gd name="connsiteY10" fmla="*/ 14288 h 2389253"/>
              <a:gd name="connsiteX11" fmla="*/ 2100135 w 2194336"/>
              <a:gd name="connsiteY11" fmla="*/ 0 h 2389253"/>
              <a:gd name="connsiteX12" fmla="*/ 2023963 w 2194336"/>
              <a:gd name="connsiteY12" fmla="*/ 145914 h 2389253"/>
              <a:gd name="connsiteX13" fmla="*/ 2194336 w 2194336"/>
              <a:gd name="connsiteY13" fmla="*/ 268939 h 2389253"/>
              <a:gd name="connsiteX14" fmla="*/ 446687 w 2194336"/>
              <a:gd name="connsiteY14" fmla="*/ 2389253 h 2389253"/>
              <a:gd name="connsiteX15" fmla="*/ 188246 w 2194336"/>
              <a:gd name="connsiteY15" fmla="*/ 2389253 h 2389253"/>
              <a:gd name="connsiteX0" fmla="*/ 207614 w 2213704"/>
              <a:gd name="connsiteY0" fmla="*/ 2389253 h 2389253"/>
              <a:gd name="connsiteX1" fmla="*/ 234728 w 2213704"/>
              <a:gd name="connsiteY1" fmla="*/ 2095501 h 2389253"/>
              <a:gd name="connsiteX2" fmla="*/ 196628 w 2213704"/>
              <a:gd name="connsiteY2" fmla="*/ 1900238 h 2389253"/>
              <a:gd name="connsiteX3" fmla="*/ 239491 w 2213704"/>
              <a:gd name="connsiteY3" fmla="*/ 1319213 h 2389253"/>
              <a:gd name="connsiteX4" fmla="*/ 187103 w 2213704"/>
              <a:gd name="connsiteY4" fmla="*/ 952501 h 2389253"/>
              <a:gd name="connsiteX5" fmla="*/ 174276 w 2213704"/>
              <a:gd name="connsiteY5" fmla="*/ 583866 h 2389253"/>
              <a:gd name="connsiteX6" fmla="*/ 266424 w 2213704"/>
              <a:gd name="connsiteY6" fmla="*/ 378976 h 2389253"/>
              <a:gd name="connsiteX7" fmla="*/ 99601 w 2213704"/>
              <a:gd name="connsiteY7" fmla="*/ 376074 h 2389253"/>
              <a:gd name="connsiteX8" fmla="*/ 117255 w 2213704"/>
              <a:gd name="connsiteY8" fmla="*/ 2377193 h 2389253"/>
              <a:gd name="connsiteX9" fmla="*/ 1763492 w 2213704"/>
              <a:gd name="connsiteY9" fmla="*/ 14288 h 2389253"/>
              <a:gd name="connsiteX10" fmla="*/ 2119503 w 2213704"/>
              <a:gd name="connsiteY10" fmla="*/ 0 h 2389253"/>
              <a:gd name="connsiteX11" fmla="*/ 2043331 w 2213704"/>
              <a:gd name="connsiteY11" fmla="*/ 145914 h 2389253"/>
              <a:gd name="connsiteX12" fmla="*/ 2213704 w 2213704"/>
              <a:gd name="connsiteY12" fmla="*/ 268939 h 2389253"/>
              <a:gd name="connsiteX13" fmla="*/ 466055 w 2213704"/>
              <a:gd name="connsiteY13" fmla="*/ 2389253 h 2389253"/>
              <a:gd name="connsiteX14" fmla="*/ 207614 w 2213704"/>
              <a:gd name="connsiteY14" fmla="*/ 2389253 h 2389253"/>
              <a:gd name="connsiteX0" fmla="*/ 233952 w 2240042"/>
              <a:gd name="connsiteY0" fmla="*/ 2389253 h 2389253"/>
              <a:gd name="connsiteX1" fmla="*/ 261066 w 2240042"/>
              <a:gd name="connsiteY1" fmla="*/ 2095501 h 2389253"/>
              <a:gd name="connsiteX2" fmla="*/ 222966 w 2240042"/>
              <a:gd name="connsiteY2" fmla="*/ 1900238 h 2389253"/>
              <a:gd name="connsiteX3" fmla="*/ 265829 w 2240042"/>
              <a:gd name="connsiteY3" fmla="*/ 1319213 h 2389253"/>
              <a:gd name="connsiteX4" fmla="*/ 213441 w 2240042"/>
              <a:gd name="connsiteY4" fmla="*/ 952501 h 2389253"/>
              <a:gd name="connsiteX5" fmla="*/ 200614 w 2240042"/>
              <a:gd name="connsiteY5" fmla="*/ 583866 h 2389253"/>
              <a:gd name="connsiteX6" fmla="*/ 292762 w 2240042"/>
              <a:gd name="connsiteY6" fmla="*/ 378976 h 2389253"/>
              <a:gd name="connsiteX7" fmla="*/ 125939 w 2240042"/>
              <a:gd name="connsiteY7" fmla="*/ 376074 h 2389253"/>
              <a:gd name="connsiteX8" fmla="*/ 143593 w 2240042"/>
              <a:gd name="connsiteY8" fmla="*/ 2377193 h 2389253"/>
              <a:gd name="connsiteX9" fmla="*/ 2145841 w 2240042"/>
              <a:gd name="connsiteY9" fmla="*/ 0 h 2389253"/>
              <a:gd name="connsiteX10" fmla="*/ 2069669 w 2240042"/>
              <a:gd name="connsiteY10" fmla="*/ 145914 h 2389253"/>
              <a:gd name="connsiteX11" fmla="*/ 2240042 w 2240042"/>
              <a:gd name="connsiteY11" fmla="*/ 268939 h 2389253"/>
              <a:gd name="connsiteX12" fmla="*/ 492393 w 2240042"/>
              <a:gd name="connsiteY12" fmla="*/ 2389253 h 2389253"/>
              <a:gd name="connsiteX13" fmla="*/ 233952 w 2240042"/>
              <a:gd name="connsiteY13" fmla="*/ 2389253 h 2389253"/>
              <a:gd name="connsiteX0" fmla="*/ 228317 w 2234407"/>
              <a:gd name="connsiteY0" fmla="*/ 2243339 h 2243339"/>
              <a:gd name="connsiteX1" fmla="*/ 255431 w 2234407"/>
              <a:gd name="connsiteY1" fmla="*/ 1949587 h 2243339"/>
              <a:gd name="connsiteX2" fmla="*/ 217331 w 2234407"/>
              <a:gd name="connsiteY2" fmla="*/ 1754324 h 2243339"/>
              <a:gd name="connsiteX3" fmla="*/ 260194 w 2234407"/>
              <a:gd name="connsiteY3" fmla="*/ 1173299 h 2243339"/>
              <a:gd name="connsiteX4" fmla="*/ 207806 w 2234407"/>
              <a:gd name="connsiteY4" fmla="*/ 806587 h 2243339"/>
              <a:gd name="connsiteX5" fmla="*/ 194979 w 2234407"/>
              <a:gd name="connsiteY5" fmla="*/ 437952 h 2243339"/>
              <a:gd name="connsiteX6" fmla="*/ 287127 w 2234407"/>
              <a:gd name="connsiteY6" fmla="*/ 233062 h 2243339"/>
              <a:gd name="connsiteX7" fmla="*/ 120304 w 2234407"/>
              <a:gd name="connsiteY7" fmla="*/ 230160 h 2243339"/>
              <a:gd name="connsiteX8" fmla="*/ 137958 w 2234407"/>
              <a:gd name="connsiteY8" fmla="*/ 2231279 h 2243339"/>
              <a:gd name="connsiteX9" fmla="*/ 2064034 w 2234407"/>
              <a:gd name="connsiteY9" fmla="*/ 0 h 2243339"/>
              <a:gd name="connsiteX10" fmla="*/ 2234407 w 2234407"/>
              <a:gd name="connsiteY10" fmla="*/ 123025 h 2243339"/>
              <a:gd name="connsiteX11" fmla="*/ 486758 w 2234407"/>
              <a:gd name="connsiteY11" fmla="*/ 2243339 h 2243339"/>
              <a:gd name="connsiteX12" fmla="*/ 228317 w 2234407"/>
              <a:gd name="connsiteY12" fmla="*/ 2243339 h 2243339"/>
              <a:gd name="connsiteX0" fmla="*/ 240923 w 2247013"/>
              <a:gd name="connsiteY0" fmla="*/ 2120316 h 2120316"/>
              <a:gd name="connsiteX1" fmla="*/ 268037 w 2247013"/>
              <a:gd name="connsiteY1" fmla="*/ 1826564 h 2120316"/>
              <a:gd name="connsiteX2" fmla="*/ 229937 w 2247013"/>
              <a:gd name="connsiteY2" fmla="*/ 1631301 h 2120316"/>
              <a:gd name="connsiteX3" fmla="*/ 272800 w 2247013"/>
              <a:gd name="connsiteY3" fmla="*/ 1050276 h 2120316"/>
              <a:gd name="connsiteX4" fmla="*/ 220412 w 2247013"/>
              <a:gd name="connsiteY4" fmla="*/ 683564 h 2120316"/>
              <a:gd name="connsiteX5" fmla="*/ 207585 w 2247013"/>
              <a:gd name="connsiteY5" fmla="*/ 314929 h 2120316"/>
              <a:gd name="connsiteX6" fmla="*/ 299733 w 2247013"/>
              <a:gd name="connsiteY6" fmla="*/ 110039 h 2120316"/>
              <a:gd name="connsiteX7" fmla="*/ 132910 w 2247013"/>
              <a:gd name="connsiteY7" fmla="*/ 107137 h 2120316"/>
              <a:gd name="connsiteX8" fmla="*/ 150564 w 2247013"/>
              <a:gd name="connsiteY8" fmla="*/ 2108256 h 2120316"/>
              <a:gd name="connsiteX9" fmla="*/ 2247013 w 2247013"/>
              <a:gd name="connsiteY9" fmla="*/ 2 h 2120316"/>
              <a:gd name="connsiteX10" fmla="*/ 499364 w 2247013"/>
              <a:gd name="connsiteY10" fmla="*/ 2120316 h 2120316"/>
              <a:gd name="connsiteX11" fmla="*/ 240923 w 2247013"/>
              <a:gd name="connsiteY11" fmla="*/ 2120316 h 2120316"/>
              <a:gd name="connsiteX0" fmla="*/ 114280 w 372721"/>
              <a:gd name="connsiteY0" fmla="*/ 2027025 h 2166819"/>
              <a:gd name="connsiteX1" fmla="*/ 141394 w 372721"/>
              <a:gd name="connsiteY1" fmla="*/ 1733273 h 2166819"/>
              <a:gd name="connsiteX2" fmla="*/ 103294 w 372721"/>
              <a:gd name="connsiteY2" fmla="*/ 1538010 h 2166819"/>
              <a:gd name="connsiteX3" fmla="*/ 146157 w 372721"/>
              <a:gd name="connsiteY3" fmla="*/ 956985 h 2166819"/>
              <a:gd name="connsiteX4" fmla="*/ 93769 w 372721"/>
              <a:gd name="connsiteY4" fmla="*/ 590273 h 2166819"/>
              <a:gd name="connsiteX5" fmla="*/ 80942 w 372721"/>
              <a:gd name="connsiteY5" fmla="*/ 221638 h 2166819"/>
              <a:gd name="connsiteX6" fmla="*/ 173090 w 372721"/>
              <a:gd name="connsiteY6" fmla="*/ 16748 h 2166819"/>
              <a:gd name="connsiteX7" fmla="*/ 6267 w 372721"/>
              <a:gd name="connsiteY7" fmla="*/ 13846 h 2166819"/>
              <a:gd name="connsiteX8" fmla="*/ 23921 w 372721"/>
              <a:gd name="connsiteY8" fmla="*/ 2014965 h 2166819"/>
              <a:gd name="connsiteX9" fmla="*/ 372721 w 372721"/>
              <a:gd name="connsiteY9" fmla="*/ 2027025 h 2166819"/>
              <a:gd name="connsiteX10" fmla="*/ 114280 w 372721"/>
              <a:gd name="connsiteY10" fmla="*/ 2027025 h 2166819"/>
              <a:gd name="connsiteX0" fmla="*/ 114280 w 176270"/>
              <a:gd name="connsiteY0" fmla="*/ 2027025 h 2178676"/>
              <a:gd name="connsiteX1" fmla="*/ 141394 w 176270"/>
              <a:gd name="connsiteY1" fmla="*/ 1733273 h 2178676"/>
              <a:gd name="connsiteX2" fmla="*/ 103294 w 176270"/>
              <a:gd name="connsiteY2" fmla="*/ 1538010 h 2178676"/>
              <a:gd name="connsiteX3" fmla="*/ 146157 w 176270"/>
              <a:gd name="connsiteY3" fmla="*/ 956985 h 2178676"/>
              <a:gd name="connsiteX4" fmla="*/ 93769 w 176270"/>
              <a:gd name="connsiteY4" fmla="*/ 590273 h 2178676"/>
              <a:gd name="connsiteX5" fmla="*/ 80942 w 176270"/>
              <a:gd name="connsiteY5" fmla="*/ 221638 h 2178676"/>
              <a:gd name="connsiteX6" fmla="*/ 173090 w 176270"/>
              <a:gd name="connsiteY6" fmla="*/ 16748 h 2178676"/>
              <a:gd name="connsiteX7" fmla="*/ 6267 w 176270"/>
              <a:gd name="connsiteY7" fmla="*/ 13846 h 2178676"/>
              <a:gd name="connsiteX8" fmla="*/ 23921 w 176270"/>
              <a:gd name="connsiteY8" fmla="*/ 2014965 h 2178676"/>
              <a:gd name="connsiteX9" fmla="*/ 114280 w 176270"/>
              <a:gd name="connsiteY9" fmla="*/ 2027025 h 2178676"/>
              <a:gd name="connsiteX0" fmla="*/ 114280 w 176270"/>
              <a:gd name="connsiteY0" fmla="*/ 2027025 h 2027025"/>
              <a:gd name="connsiteX1" fmla="*/ 141394 w 176270"/>
              <a:gd name="connsiteY1" fmla="*/ 1733273 h 2027025"/>
              <a:gd name="connsiteX2" fmla="*/ 103294 w 176270"/>
              <a:gd name="connsiteY2" fmla="*/ 1538010 h 2027025"/>
              <a:gd name="connsiteX3" fmla="*/ 146157 w 176270"/>
              <a:gd name="connsiteY3" fmla="*/ 956985 h 2027025"/>
              <a:gd name="connsiteX4" fmla="*/ 93769 w 176270"/>
              <a:gd name="connsiteY4" fmla="*/ 590273 h 2027025"/>
              <a:gd name="connsiteX5" fmla="*/ 80942 w 176270"/>
              <a:gd name="connsiteY5" fmla="*/ 221638 h 2027025"/>
              <a:gd name="connsiteX6" fmla="*/ 173090 w 176270"/>
              <a:gd name="connsiteY6" fmla="*/ 16748 h 2027025"/>
              <a:gd name="connsiteX7" fmla="*/ 6267 w 176270"/>
              <a:gd name="connsiteY7" fmla="*/ 13846 h 2027025"/>
              <a:gd name="connsiteX8" fmla="*/ 23921 w 176270"/>
              <a:gd name="connsiteY8" fmla="*/ 2014965 h 2027025"/>
              <a:gd name="connsiteX9" fmla="*/ 114280 w 176270"/>
              <a:gd name="connsiteY9" fmla="*/ 2027025 h 2027025"/>
              <a:gd name="connsiteX0" fmla="*/ 114280 w 176270"/>
              <a:gd name="connsiteY0" fmla="*/ 2027025 h 2027025"/>
              <a:gd name="connsiteX1" fmla="*/ 141394 w 176270"/>
              <a:gd name="connsiteY1" fmla="*/ 1733273 h 2027025"/>
              <a:gd name="connsiteX2" fmla="*/ 103294 w 176270"/>
              <a:gd name="connsiteY2" fmla="*/ 1538010 h 2027025"/>
              <a:gd name="connsiteX3" fmla="*/ 146157 w 176270"/>
              <a:gd name="connsiteY3" fmla="*/ 956985 h 2027025"/>
              <a:gd name="connsiteX4" fmla="*/ 93769 w 176270"/>
              <a:gd name="connsiteY4" fmla="*/ 590273 h 2027025"/>
              <a:gd name="connsiteX5" fmla="*/ 80942 w 176270"/>
              <a:gd name="connsiteY5" fmla="*/ 221638 h 2027025"/>
              <a:gd name="connsiteX6" fmla="*/ 173090 w 176270"/>
              <a:gd name="connsiteY6" fmla="*/ 16748 h 2027025"/>
              <a:gd name="connsiteX7" fmla="*/ 6267 w 176270"/>
              <a:gd name="connsiteY7" fmla="*/ 13846 h 2027025"/>
              <a:gd name="connsiteX8" fmla="*/ 23921 w 176270"/>
              <a:gd name="connsiteY8" fmla="*/ 2014965 h 2027025"/>
              <a:gd name="connsiteX9" fmla="*/ 114280 w 176270"/>
              <a:gd name="connsiteY9" fmla="*/ 2027025 h 2027025"/>
              <a:gd name="connsiteX0" fmla="*/ 114280 w 176270"/>
              <a:gd name="connsiteY0" fmla="*/ 2027025 h 2027025"/>
              <a:gd name="connsiteX1" fmla="*/ 141394 w 176270"/>
              <a:gd name="connsiteY1" fmla="*/ 1733273 h 2027025"/>
              <a:gd name="connsiteX2" fmla="*/ 103294 w 176270"/>
              <a:gd name="connsiteY2" fmla="*/ 1538010 h 2027025"/>
              <a:gd name="connsiteX3" fmla="*/ 146157 w 176270"/>
              <a:gd name="connsiteY3" fmla="*/ 956985 h 2027025"/>
              <a:gd name="connsiteX4" fmla="*/ 93769 w 176270"/>
              <a:gd name="connsiteY4" fmla="*/ 590273 h 2027025"/>
              <a:gd name="connsiteX5" fmla="*/ 80942 w 176270"/>
              <a:gd name="connsiteY5" fmla="*/ 221638 h 2027025"/>
              <a:gd name="connsiteX6" fmla="*/ 173090 w 176270"/>
              <a:gd name="connsiteY6" fmla="*/ 16748 h 2027025"/>
              <a:gd name="connsiteX7" fmla="*/ 6267 w 176270"/>
              <a:gd name="connsiteY7" fmla="*/ 13846 h 2027025"/>
              <a:gd name="connsiteX8" fmla="*/ 8037 w 176270"/>
              <a:gd name="connsiteY8" fmla="*/ 2026878 h 2027025"/>
              <a:gd name="connsiteX9" fmla="*/ 114280 w 176270"/>
              <a:gd name="connsiteY9" fmla="*/ 2027025 h 2027025"/>
              <a:gd name="connsiteX0" fmla="*/ 108013 w 166823"/>
              <a:gd name="connsiteY0" fmla="*/ 2162103 h 2162103"/>
              <a:gd name="connsiteX1" fmla="*/ 135127 w 166823"/>
              <a:gd name="connsiteY1" fmla="*/ 1868351 h 2162103"/>
              <a:gd name="connsiteX2" fmla="*/ 97027 w 166823"/>
              <a:gd name="connsiteY2" fmla="*/ 1673088 h 2162103"/>
              <a:gd name="connsiteX3" fmla="*/ 139890 w 166823"/>
              <a:gd name="connsiteY3" fmla="*/ 1092063 h 2162103"/>
              <a:gd name="connsiteX4" fmla="*/ 87502 w 166823"/>
              <a:gd name="connsiteY4" fmla="*/ 725351 h 2162103"/>
              <a:gd name="connsiteX5" fmla="*/ 74675 w 166823"/>
              <a:gd name="connsiteY5" fmla="*/ 356716 h 2162103"/>
              <a:gd name="connsiteX6" fmla="*/ 166823 w 166823"/>
              <a:gd name="connsiteY6" fmla="*/ 151826 h 2162103"/>
              <a:gd name="connsiteX7" fmla="*/ 56287 w 166823"/>
              <a:gd name="connsiteY7" fmla="*/ 150698 h 2162103"/>
              <a:gd name="connsiteX8" fmla="*/ 0 w 166823"/>
              <a:gd name="connsiteY8" fmla="*/ 148924 h 2162103"/>
              <a:gd name="connsiteX9" fmla="*/ 1770 w 166823"/>
              <a:gd name="connsiteY9" fmla="*/ 2161956 h 2162103"/>
              <a:gd name="connsiteX10" fmla="*/ 108013 w 166823"/>
              <a:gd name="connsiteY10" fmla="*/ 2162103 h 2162103"/>
              <a:gd name="connsiteX0" fmla="*/ 108013 w 166823"/>
              <a:gd name="connsiteY0" fmla="*/ 2169259 h 2169259"/>
              <a:gd name="connsiteX1" fmla="*/ 135127 w 166823"/>
              <a:gd name="connsiteY1" fmla="*/ 1875507 h 2169259"/>
              <a:gd name="connsiteX2" fmla="*/ 97027 w 166823"/>
              <a:gd name="connsiteY2" fmla="*/ 1680244 h 2169259"/>
              <a:gd name="connsiteX3" fmla="*/ 139890 w 166823"/>
              <a:gd name="connsiteY3" fmla="*/ 1099219 h 2169259"/>
              <a:gd name="connsiteX4" fmla="*/ 87502 w 166823"/>
              <a:gd name="connsiteY4" fmla="*/ 732507 h 2169259"/>
              <a:gd name="connsiteX5" fmla="*/ 74675 w 166823"/>
              <a:gd name="connsiteY5" fmla="*/ 363872 h 2169259"/>
              <a:gd name="connsiteX6" fmla="*/ 166823 w 166823"/>
              <a:gd name="connsiteY6" fmla="*/ 158982 h 2169259"/>
              <a:gd name="connsiteX7" fmla="*/ 0 w 166823"/>
              <a:gd name="connsiteY7" fmla="*/ 156080 h 2169259"/>
              <a:gd name="connsiteX8" fmla="*/ 1770 w 166823"/>
              <a:gd name="connsiteY8" fmla="*/ 2169112 h 2169259"/>
              <a:gd name="connsiteX9" fmla="*/ 108013 w 166823"/>
              <a:gd name="connsiteY9" fmla="*/ 2169259 h 2169259"/>
              <a:gd name="connsiteX0" fmla="*/ 108013 w 166823"/>
              <a:gd name="connsiteY0" fmla="*/ 2013179 h 2013179"/>
              <a:gd name="connsiteX1" fmla="*/ 135127 w 166823"/>
              <a:gd name="connsiteY1" fmla="*/ 1719427 h 2013179"/>
              <a:gd name="connsiteX2" fmla="*/ 97027 w 166823"/>
              <a:gd name="connsiteY2" fmla="*/ 1524164 h 2013179"/>
              <a:gd name="connsiteX3" fmla="*/ 139890 w 166823"/>
              <a:gd name="connsiteY3" fmla="*/ 943139 h 2013179"/>
              <a:gd name="connsiteX4" fmla="*/ 87502 w 166823"/>
              <a:gd name="connsiteY4" fmla="*/ 576427 h 2013179"/>
              <a:gd name="connsiteX5" fmla="*/ 74675 w 166823"/>
              <a:gd name="connsiteY5" fmla="*/ 207792 h 2013179"/>
              <a:gd name="connsiteX6" fmla="*/ 166823 w 166823"/>
              <a:gd name="connsiteY6" fmla="*/ 2902 h 2013179"/>
              <a:gd name="connsiteX7" fmla="*/ 0 w 166823"/>
              <a:gd name="connsiteY7" fmla="*/ 0 h 2013179"/>
              <a:gd name="connsiteX8" fmla="*/ 1770 w 166823"/>
              <a:gd name="connsiteY8" fmla="*/ 2013032 h 2013179"/>
              <a:gd name="connsiteX9" fmla="*/ 108013 w 166823"/>
              <a:gd name="connsiteY9" fmla="*/ 2013179 h 201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6823" h="2013179">
                <a:moveTo>
                  <a:pt x="108013" y="2013179"/>
                </a:moveTo>
                <a:cubicBezTo>
                  <a:pt x="107526" y="1916849"/>
                  <a:pt x="135614" y="1815757"/>
                  <a:pt x="135127" y="1719427"/>
                </a:cubicBezTo>
                <a:cubicBezTo>
                  <a:pt x="135127" y="1682914"/>
                  <a:pt x="97027" y="1560677"/>
                  <a:pt x="97027" y="1524164"/>
                </a:cubicBezTo>
                <a:cubicBezTo>
                  <a:pt x="100202" y="1335252"/>
                  <a:pt x="136715" y="1132051"/>
                  <a:pt x="139890" y="943139"/>
                </a:cubicBezTo>
                <a:cubicBezTo>
                  <a:pt x="136715" y="825664"/>
                  <a:pt x="90677" y="693902"/>
                  <a:pt x="87502" y="576427"/>
                </a:cubicBezTo>
                <a:cubicBezTo>
                  <a:pt x="127676" y="431323"/>
                  <a:pt x="67838" y="329083"/>
                  <a:pt x="74675" y="207792"/>
                </a:cubicBezTo>
                <a:cubicBezTo>
                  <a:pt x="76263" y="123655"/>
                  <a:pt x="65291" y="98084"/>
                  <a:pt x="166823" y="2902"/>
                </a:cubicBezTo>
                <a:lnTo>
                  <a:pt x="0" y="0"/>
                </a:lnTo>
                <a:lnTo>
                  <a:pt x="1770" y="2013032"/>
                </a:lnTo>
                <a:lnTo>
                  <a:pt x="108013" y="2013179"/>
                </a:lnTo>
                <a:close/>
              </a:path>
            </a:pathLst>
          </a:custGeom>
          <a:pattFill prst="wdUpDiag">
            <a:fgClr>
              <a:srgbClr val="EE7713"/>
            </a:fgClr>
            <a:bgClr>
              <a:srgbClr val="FFFF00"/>
            </a:bgClr>
          </a:patt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79" name="Rettangolo 6"/>
          <p:cNvSpPr/>
          <p:nvPr/>
        </p:nvSpPr>
        <p:spPr>
          <a:xfrm>
            <a:off x="6859799" y="2017375"/>
            <a:ext cx="60605" cy="769091"/>
          </a:xfrm>
          <a:custGeom>
            <a:avLst/>
            <a:gdLst>
              <a:gd name="connsiteX0" fmla="*/ 0 w 265176"/>
              <a:gd name="connsiteY0" fmla="*/ 0 h 3886200"/>
              <a:gd name="connsiteX1" fmla="*/ 265176 w 265176"/>
              <a:gd name="connsiteY1" fmla="*/ 0 h 3886200"/>
              <a:gd name="connsiteX2" fmla="*/ 265176 w 265176"/>
              <a:gd name="connsiteY2" fmla="*/ 3886200 h 3886200"/>
              <a:gd name="connsiteX3" fmla="*/ 0 w 265176"/>
              <a:gd name="connsiteY3" fmla="*/ 3886200 h 3886200"/>
              <a:gd name="connsiteX4" fmla="*/ 0 w 265176"/>
              <a:gd name="connsiteY4" fmla="*/ 0 h 3886200"/>
              <a:gd name="connsiteX0" fmla="*/ 0 w 265176"/>
              <a:gd name="connsiteY0" fmla="*/ 155 h 3886355"/>
              <a:gd name="connsiteX1" fmla="*/ 155448 w 265176"/>
              <a:gd name="connsiteY1" fmla="*/ 36731 h 3886355"/>
              <a:gd name="connsiteX2" fmla="*/ 265176 w 265176"/>
              <a:gd name="connsiteY2" fmla="*/ 155 h 3886355"/>
              <a:gd name="connsiteX3" fmla="*/ 265176 w 265176"/>
              <a:gd name="connsiteY3" fmla="*/ 3886355 h 3886355"/>
              <a:gd name="connsiteX4" fmla="*/ 0 w 265176"/>
              <a:gd name="connsiteY4" fmla="*/ 3886355 h 3886355"/>
              <a:gd name="connsiteX5" fmla="*/ 0 w 265176"/>
              <a:gd name="connsiteY5" fmla="*/ 155 h 3886355"/>
              <a:gd name="connsiteX0" fmla="*/ 0 w 265186"/>
              <a:gd name="connsiteY0" fmla="*/ 155 h 3886355"/>
              <a:gd name="connsiteX1" fmla="*/ 155448 w 265186"/>
              <a:gd name="connsiteY1" fmla="*/ 36731 h 3886355"/>
              <a:gd name="connsiteX2" fmla="*/ 265176 w 265186"/>
              <a:gd name="connsiteY2" fmla="*/ 155 h 3886355"/>
              <a:gd name="connsiteX3" fmla="*/ 247695 w 265186"/>
              <a:gd name="connsiteY3" fmla="*/ 3661757 h 3886355"/>
              <a:gd name="connsiteX4" fmla="*/ 265176 w 265186"/>
              <a:gd name="connsiteY4" fmla="*/ 3886355 h 3886355"/>
              <a:gd name="connsiteX5" fmla="*/ 0 w 265186"/>
              <a:gd name="connsiteY5" fmla="*/ 3886355 h 3886355"/>
              <a:gd name="connsiteX6" fmla="*/ 0 w 265186"/>
              <a:gd name="connsiteY6" fmla="*/ 155 h 3886355"/>
              <a:gd name="connsiteX0" fmla="*/ 0 w 281981"/>
              <a:gd name="connsiteY0" fmla="*/ 155 h 3886355"/>
              <a:gd name="connsiteX1" fmla="*/ 155448 w 281981"/>
              <a:gd name="connsiteY1" fmla="*/ 36731 h 3886355"/>
              <a:gd name="connsiteX2" fmla="*/ 265176 w 281981"/>
              <a:gd name="connsiteY2" fmla="*/ 155 h 3886355"/>
              <a:gd name="connsiteX3" fmla="*/ 281033 w 281981"/>
              <a:gd name="connsiteY3" fmla="*/ 3452207 h 3886355"/>
              <a:gd name="connsiteX4" fmla="*/ 247695 w 281981"/>
              <a:gd name="connsiteY4" fmla="*/ 3661757 h 3886355"/>
              <a:gd name="connsiteX5" fmla="*/ 265176 w 281981"/>
              <a:gd name="connsiteY5" fmla="*/ 3886355 h 3886355"/>
              <a:gd name="connsiteX6" fmla="*/ 0 w 281981"/>
              <a:gd name="connsiteY6" fmla="*/ 3886355 h 3886355"/>
              <a:gd name="connsiteX7" fmla="*/ 0 w 281981"/>
              <a:gd name="connsiteY7" fmla="*/ 155 h 3886355"/>
              <a:gd name="connsiteX0" fmla="*/ 0 w 281533"/>
              <a:gd name="connsiteY0" fmla="*/ 155 h 3886355"/>
              <a:gd name="connsiteX1" fmla="*/ 155448 w 281533"/>
              <a:gd name="connsiteY1" fmla="*/ 36731 h 3886355"/>
              <a:gd name="connsiteX2" fmla="*/ 265176 w 281533"/>
              <a:gd name="connsiteY2" fmla="*/ 155 h 3886355"/>
              <a:gd name="connsiteX3" fmla="*/ 252458 w 281533"/>
              <a:gd name="connsiteY3" fmla="*/ 2028219 h 3886355"/>
              <a:gd name="connsiteX4" fmla="*/ 281033 w 281533"/>
              <a:gd name="connsiteY4" fmla="*/ 3452207 h 3886355"/>
              <a:gd name="connsiteX5" fmla="*/ 247695 w 281533"/>
              <a:gd name="connsiteY5" fmla="*/ 3661757 h 3886355"/>
              <a:gd name="connsiteX6" fmla="*/ 265176 w 281533"/>
              <a:gd name="connsiteY6" fmla="*/ 3886355 h 3886355"/>
              <a:gd name="connsiteX7" fmla="*/ 0 w 281533"/>
              <a:gd name="connsiteY7" fmla="*/ 3886355 h 3886355"/>
              <a:gd name="connsiteX8" fmla="*/ 0 w 281533"/>
              <a:gd name="connsiteY8" fmla="*/ 155 h 3886355"/>
              <a:gd name="connsiteX0" fmla="*/ 0 w 284314"/>
              <a:gd name="connsiteY0" fmla="*/ 155 h 3886355"/>
              <a:gd name="connsiteX1" fmla="*/ 155448 w 284314"/>
              <a:gd name="connsiteY1" fmla="*/ 36731 h 3886355"/>
              <a:gd name="connsiteX2" fmla="*/ 265176 w 284314"/>
              <a:gd name="connsiteY2" fmla="*/ 155 h 3886355"/>
              <a:gd name="connsiteX3" fmla="*/ 252458 w 284314"/>
              <a:gd name="connsiteY3" fmla="*/ 2028219 h 3886355"/>
              <a:gd name="connsiteX4" fmla="*/ 281033 w 284314"/>
              <a:gd name="connsiteY4" fmla="*/ 2914044 h 3886355"/>
              <a:gd name="connsiteX5" fmla="*/ 281033 w 284314"/>
              <a:gd name="connsiteY5" fmla="*/ 3452207 h 3886355"/>
              <a:gd name="connsiteX6" fmla="*/ 247695 w 284314"/>
              <a:gd name="connsiteY6" fmla="*/ 3661757 h 3886355"/>
              <a:gd name="connsiteX7" fmla="*/ 265176 w 284314"/>
              <a:gd name="connsiteY7" fmla="*/ 3886355 h 3886355"/>
              <a:gd name="connsiteX8" fmla="*/ 0 w 284314"/>
              <a:gd name="connsiteY8" fmla="*/ 3886355 h 3886355"/>
              <a:gd name="connsiteX9" fmla="*/ 0 w 284314"/>
              <a:gd name="connsiteY9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81033 w 281804"/>
              <a:gd name="connsiteY4" fmla="*/ 2914044 h 3886355"/>
              <a:gd name="connsiteX5" fmla="*/ 252457 w 281804"/>
              <a:gd name="connsiteY5" fmla="*/ 3195032 h 3886355"/>
              <a:gd name="connsiteX6" fmla="*/ 281033 w 281804"/>
              <a:gd name="connsiteY6" fmla="*/ 3452207 h 3886355"/>
              <a:gd name="connsiteX7" fmla="*/ 247695 w 281804"/>
              <a:gd name="connsiteY7" fmla="*/ 3661757 h 3886355"/>
              <a:gd name="connsiteX8" fmla="*/ 265176 w 281804"/>
              <a:gd name="connsiteY8" fmla="*/ 3886355 h 3886355"/>
              <a:gd name="connsiteX9" fmla="*/ 0 w 281804"/>
              <a:gd name="connsiteY9" fmla="*/ 3886355 h 3886355"/>
              <a:gd name="connsiteX10" fmla="*/ 0 w 281804"/>
              <a:gd name="connsiteY10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81033 w 281804"/>
              <a:gd name="connsiteY4" fmla="*/ 2914044 h 3886355"/>
              <a:gd name="connsiteX5" fmla="*/ 252457 w 281804"/>
              <a:gd name="connsiteY5" fmla="*/ 3195032 h 3886355"/>
              <a:gd name="connsiteX6" fmla="*/ 281033 w 281804"/>
              <a:gd name="connsiteY6" fmla="*/ 3452207 h 3886355"/>
              <a:gd name="connsiteX7" fmla="*/ 266745 w 281804"/>
              <a:gd name="connsiteY7" fmla="*/ 3661757 h 3886355"/>
              <a:gd name="connsiteX8" fmla="*/ 265176 w 281804"/>
              <a:gd name="connsiteY8" fmla="*/ 3886355 h 3886355"/>
              <a:gd name="connsiteX9" fmla="*/ 0 w 281804"/>
              <a:gd name="connsiteY9" fmla="*/ 3886355 h 3886355"/>
              <a:gd name="connsiteX10" fmla="*/ 0 w 281804"/>
              <a:gd name="connsiteY10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33407 w 281804"/>
              <a:gd name="connsiteY4" fmla="*/ 2242532 h 3886355"/>
              <a:gd name="connsiteX5" fmla="*/ 281033 w 281804"/>
              <a:gd name="connsiteY5" fmla="*/ 2914044 h 3886355"/>
              <a:gd name="connsiteX6" fmla="*/ 252457 w 281804"/>
              <a:gd name="connsiteY6" fmla="*/ 3195032 h 3886355"/>
              <a:gd name="connsiteX7" fmla="*/ 281033 w 281804"/>
              <a:gd name="connsiteY7" fmla="*/ 3452207 h 3886355"/>
              <a:gd name="connsiteX8" fmla="*/ 266745 w 281804"/>
              <a:gd name="connsiteY8" fmla="*/ 3661757 h 3886355"/>
              <a:gd name="connsiteX9" fmla="*/ 265176 w 281804"/>
              <a:gd name="connsiteY9" fmla="*/ 3886355 h 3886355"/>
              <a:gd name="connsiteX10" fmla="*/ 0 w 281804"/>
              <a:gd name="connsiteY10" fmla="*/ 3886355 h 3886355"/>
              <a:gd name="connsiteX11" fmla="*/ 0 w 281804"/>
              <a:gd name="connsiteY11" fmla="*/ 155 h 3886355"/>
              <a:gd name="connsiteX0" fmla="*/ 0 w 286180"/>
              <a:gd name="connsiteY0" fmla="*/ 155 h 3886355"/>
              <a:gd name="connsiteX1" fmla="*/ 155448 w 286180"/>
              <a:gd name="connsiteY1" fmla="*/ 36731 h 3886355"/>
              <a:gd name="connsiteX2" fmla="*/ 265176 w 286180"/>
              <a:gd name="connsiteY2" fmla="*/ 155 h 3886355"/>
              <a:gd name="connsiteX3" fmla="*/ 285794 w 286180"/>
              <a:gd name="connsiteY3" fmla="*/ 1599594 h 3886355"/>
              <a:gd name="connsiteX4" fmla="*/ 252458 w 286180"/>
              <a:gd name="connsiteY4" fmla="*/ 2028219 h 3886355"/>
              <a:gd name="connsiteX5" fmla="*/ 233407 w 286180"/>
              <a:gd name="connsiteY5" fmla="*/ 2242532 h 3886355"/>
              <a:gd name="connsiteX6" fmla="*/ 281033 w 286180"/>
              <a:gd name="connsiteY6" fmla="*/ 2914044 h 3886355"/>
              <a:gd name="connsiteX7" fmla="*/ 252457 w 286180"/>
              <a:gd name="connsiteY7" fmla="*/ 3195032 h 3886355"/>
              <a:gd name="connsiteX8" fmla="*/ 281033 w 286180"/>
              <a:gd name="connsiteY8" fmla="*/ 3452207 h 3886355"/>
              <a:gd name="connsiteX9" fmla="*/ 266745 w 286180"/>
              <a:gd name="connsiteY9" fmla="*/ 3661757 h 3886355"/>
              <a:gd name="connsiteX10" fmla="*/ 265176 w 286180"/>
              <a:gd name="connsiteY10" fmla="*/ 3886355 h 3886355"/>
              <a:gd name="connsiteX11" fmla="*/ 0 w 286180"/>
              <a:gd name="connsiteY11" fmla="*/ 3886355 h 3886355"/>
              <a:gd name="connsiteX12" fmla="*/ 0 w 286180"/>
              <a:gd name="connsiteY12" fmla="*/ 155 h 3886355"/>
              <a:gd name="connsiteX0" fmla="*/ 0 w 285982"/>
              <a:gd name="connsiteY0" fmla="*/ 155 h 3886355"/>
              <a:gd name="connsiteX1" fmla="*/ 155448 w 285982"/>
              <a:gd name="connsiteY1" fmla="*/ 36731 h 3886355"/>
              <a:gd name="connsiteX2" fmla="*/ 265176 w 285982"/>
              <a:gd name="connsiteY2" fmla="*/ 155 h 3886355"/>
              <a:gd name="connsiteX3" fmla="*/ 247694 w 285982"/>
              <a:gd name="connsiteY3" fmla="*/ 242282 h 3886355"/>
              <a:gd name="connsiteX4" fmla="*/ 285794 w 285982"/>
              <a:gd name="connsiteY4" fmla="*/ 1599594 h 3886355"/>
              <a:gd name="connsiteX5" fmla="*/ 252458 w 285982"/>
              <a:gd name="connsiteY5" fmla="*/ 2028219 h 3886355"/>
              <a:gd name="connsiteX6" fmla="*/ 233407 w 285982"/>
              <a:gd name="connsiteY6" fmla="*/ 2242532 h 3886355"/>
              <a:gd name="connsiteX7" fmla="*/ 281033 w 285982"/>
              <a:gd name="connsiteY7" fmla="*/ 2914044 h 3886355"/>
              <a:gd name="connsiteX8" fmla="*/ 252457 w 285982"/>
              <a:gd name="connsiteY8" fmla="*/ 3195032 h 3886355"/>
              <a:gd name="connsiteX9" fmla="*/ 281033 w 285982"/>
              <a:gd name="connsiteY9" fmla="*/ 3452207 h 3886355"/>
              <a:gd name="connsiteX10" fmla="*/ 266745 w 285982"/>
              <a:gd name="connsiteY10" fmla="*/ 3661757 h 3886355"/>
              <a:gd name="connsiteX11" fmla="*/ 265176 w 285982"/>
              <a:gd name="connsiteY11" fmla="*/ 3886355 h 3886355"/>
              <a:gd name="connsiteX12" fmla="*/ 0 w 285982"/>
              <a:gd name="connsiteY12" fmla="*/ 3886355 h 3886355"/>
              <a:gd name="connsiteX13" fmla="*/ 0 w 285982"/>
              <a:gd name="connsiteY13" fmla="*/ 155 h 3886355"/>
              <a:gd name="connsiteX0" fmla="*/ 0 w 286354"/>
              <a:gd name="connsiteY0" fmla="*/ 155 h 3886355"/>
              <a:gd name="connsiteX1" fmla="*/ 155448 w 286354"/>
              <a:gd name="connsiteY1" fmla="*/ 36731 h 3886355"/>
              <a:gd name="connsiteX2" fmla="*/ 265176 w 286354"/>
              <a:gd name="connsiteY2" fmla="*/ 155 h 3886355"/>
              <a:gd name="connsiteX3" fmla="*/ 247694 w 286354"/>
              <a:gd name="connsiteY3" fmla="*/ 242282 h 3886355"/>
              <a:gd name="connsiteX4" fmla="*/ 257219 w 286354"/>
              <a:gd name="connsiteY4" fmla="*/ 1180494 h 3886355"/>
              <a:gd name="connsiteX5" fmla="*/ 285794 w 286354"/>
              <a:gd name="connsiteY5" fmla="*/ 1599594 h 3886355"/>
              <a:gd name="connsiteX6" fmla="*/ 252458 w 286354"/>
              <a:gd name="connsiteY6" fmla="*/ 2028219 h 3886355"/>
              <a:gd name="connsiteX7" fmla="*/ 233407 w 286354"/>
              <a:gd name="connsiteY7" fmla="*/ 2242532 h 3886355"/>
              <a:gd name="connsiteX8" fmla="*/ 281033 w 286354"/>
              <a:gd name="connsiteY8" fmla="*/ 2914044 h 3886355"/>
              <a:gd name="connsiteX9" fmla="*/ 252457 w 286354"/>
              <a:gd name="connsiteY9" fmla="*/ 3195032 h 3886355"/>
              <a:gd name="connsiteX10" fmla="*/ 281033 w 286354"/>
              <a:gd name="connsiteY10" fmla="*/ 3452207 h 3886355"/>
              <a:gd name="connsiteX11" fmla="*/ 266745 w 286354"/>
              <a:gd name="connsiteY11" fmla="*/ 3661757 h 3886355"/>
              <a:gd name="connsiteX12" fmla="*/ 265176 w 286354"/>
              <a:gd name="connsiteY12" fmla="*/ 3886355 h 3886355"/>
              <a:gd name="connsiteX13" fmla="*/ 0 w 286354"/>
              <a:gd name="connsiteY13" fmla="*/ 3886355 h 3886355"/>
              <a:gd name="connsiteX14" fmla="*/ 0 w 286354"/>
              <a:gd name="connsiteY14" fmla="*/ 155 h 3886355"/>
              <a:gd name="connsiteX0" fmla="*/ 0 w 286354"/>
              <a:gd name="connsiteY0" fmla="*/ 155 h 3886355"/>
              <a:gd name="connsiteX1" fmla="*/ 155448 w 286354"/>
              <a:gd name="connsiteY1" fmla="*/ 36731 h 3886355"/>
              <a:gd name="connsiteX2" fmla="*/ 265176 w 286354"/>
              <a:gd name="connsiteY2" fmla="*/ 155 h 3886355"/>
              <a:gd name="connsiteX3" fmla="*/ 276269 w 286354"/>
              <a:gd name="connsiteY3" fmla="*/ 242282 h 3886355"/>
              <a:gd name="connsiteX4" fmla="*/ 257219 w 286354"/>
              <a:gd name="connsiteY4" fmla="*/ 1180494 h 3886355"/>
              <a:gd name="connsiteX5" fmla="*/ 285794 w 286354"/>
              <a:gd name="connsiteY5" fmla="*/ 1599594 h 3886355"/>
              <a:gd name="connsiteX6" fmla="*/ 252458 w 286354"/>
              <a:gd name="connsiteY6" fmla="*/ 2028219 h 3886355"/>
              <a:gd name="connsiteX7" fmla="*/ 233407 w 286354"/>
              <a:gd name="connsiteY7" fmla="*/ 2242532 h 3886355"/>
              <a:gd name="connsiteX8" fmla="*/ 281033 w 286354"/>
              <a:gd name="connsiteY8" fmla="*/ 2914044 h 3886355"/>
              <a:gd name="connsiteX9" fmla="*/ 252457 w 286354"/>
              <a:gd name="connsiteY9" fmla="*/ 3195032 h 3886355"/>
              <a:gd name="connsiteX10" fmla="*/ 281033 w 286354"/>
              <a:gd name="connsiteY10" fmla="*/ 3452207 h 3886355"/>
              <a:gd name="connsiteX11" fmla="*/ 266745 w 286354"/>
              <a:gd name="connsiteY11" fmla="*/ 3661757 h 3886355"/>
              <a:gd name="connsiteX12" fmla="*/ 265176 w 286354"/>
              <a:gd name="connsiteY12" fmla="*/ 3886355 h 3886355"/>
              <a:gd name="connsiteX13" fmla="*/ 0 w 286354"/>
              <a:gd name="connsiteY13" fmla="*/ 3886355 h 3886355"/>
              <a:gd name="connsiteX14" fmla="*/ 0 w 286354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33407 w 286838"/>
              <a:gd name="connsiteY7" fmla="*/ 2242532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81033 w 286838"/>
              <a:gd name="connsiteY10" fmla="*/ 345220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81033 w 286838"/>
              <a:gd name="connsiteY10" fmla="*/ 345220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61983 w 286838"/>
              <a:gd name="connsiteY10" fmla="*/ 343315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66744 w 286838"/>
              <a:gd name="connsiteY9" fmla="*/ 3195032 h 3886355"/>
              <a:gd name="connsiteX10" fmla="*/ 261983 w 286838"/>
              <a:gd name="connsiteY10" fmla="*/ 343315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93751"/>
              <a:gd name="connsiteY0" fmla="*/ 155 h 3895880"/>
              <a:gd name="connsiteX1" fmla="*/ 155448 w 293751"/>
              <a:gd name="connsiteY1" fmla="*/ 36731 h 3895880"/>
              <a:gd name="connsiteX2" fmla="*/ 265176 w 293751"/>
              <a:gd name="connsiteY2" fmla="*/ 155 h 3895880"/>
              <a:gd name="connsiteX3" fmla="*/ 276269 w 293751"/>
              <a:gd name="connsiteY3" fmla="*/ 242282 h 3895880"/>
              <a:gd name="connsiteX4" fmla="*/ 271506 w 293751"/>
              <a:gd name="connsiteY4" fmla="*/ 1180494 h 3895880"/>
              <a:gd name="connsiteX5" fmla="*/ 285794 w 293751"/>
              <a:gd name="connsiteY5" fmla="*/ 1599594 h 3895880"/>
              <a:gd name="connsiteX6" fmla="*/ 252458 w 293751"/>
              <a:gd name="connsiteY6" fmla="*/ 2028219 h 3895880"/>
              <a:gd name="connsiteX7" fmla="*/ 257219 w 293751"/>
              <a:gd name="connsiteY7" fmla="*/ 2252057 h 3895880"/>
              <a:gd name="connsiteX8" fmla="*/ 281033 w 293751"/>
              <a:gd name="connsiteY8" fmla="*/ 2914044 h 3895880"/>
              <a:gd name="connsiteX9" fmla="*/ 266744 w 293751"/>
              <a:gd name="connsiteY9" fmla="*/ 3195032 h 3895880"/>
              <a:gd name="connsiteX10" fmla="*/ 261983 w 293751"/>
              <a:gd name="connsiteY10" fmla="*/ 3433157 h 3895880"/>
              <a:gd name="connsiteX11" fmla="*/ 266745 w 293751"/>
              <a:gd name="connsiteY11" fmla="*/ 3661757 h 3895880"/>
              <a:gd name="connsiteX12" fmla="*/ 293751 w 293751"/>
              <a:gd name="connsiteY12" fmla="*/ 3895880 h 3895880"/>
              <a:gd name="connsiteX13" fmla="*/ 0 w 293751"/>
              <a:gd name="connsiteY13" fmla="*/ 3886355 h 3895880"/>
              <a:gd name="connsiteX14" fmla="*/ 0 w 293751"/>
              <a:gd name="connsiteY14" fmla="*/ 155 h 3895880"/>
              <a:gd name="connsiteX0" fmla="*/ 0 w 300621"/>
              <a:gd name="connsiteY0" fmla="*/ 927453 h 3895725"/>
              <a:gd name="connsiteX1" fmla="*/ 162318 w 300621"/>
              <a:gd name="connsiteY1" fmla="*/ 36576 h 3895725"/>
              <a:gd name="connsiteX2" fmla="*/ 272046 w 300621"/>
              <a:gd name="connsiteY2" fmla="*/ 0 h 3895725"/>
              <a:gd name="connsiteX3" fmla="*/ 283139 w 300621"/>
              <a:gd name="connsiteY3" fmla="*/ 242127 h 3895725"/>
              <a:gd name="connsiteX4" fmla="*/ 278376 w 300621"/>
              <a:gd name="connsiteY4" fmla="*/ 1180339 h 3895725"/>
              <a:gd name="connsiteX5" fmla="*/ 292664 w 300621"/>
              <a:gd name="connsiteY5" fmla="*/ 1599439 h 3895725"/>
              <a:gd name="connsiteX6" fmla="*/ 259328 w 300621"/>
              <a:gd name="connsiteY6" fmla="*/ 2028064 h 3895725"/>
              <a:gd name="connsiteX7" fmla="*/ 264089 w 300621"/>
              <a:gd name="connsiteY7" fmla="*/ 2251902 h 3895725"/>
              <a:gd name="connsiteX8" fmla="*/ 287903 w 300621"/>
              <a:gd name="connsiteY8" fmla="*/ 2913889 h 3895725"/>
              <a:gd name="connsiteX9" fmla="*/ 273614 w 300621"/>
              <a:gd name="connsiteY9" fmla="*/ 3194877 h 3895725"/>
              <a:gd name="connsiteX10" fmla="*/ 268853 w 300621"/>
              <a:gd name="connsiteY10" fmla="*/ 3433002 h 3895725"/>
              <a:gd name="connsiteX11" fmla="*/ 273615 w 300621"/>
              <a:gd name="connsiteY11" fmla="*/ 3661602 h 3895725"/>
              <a:gd name="connsiteX12" fmla="*/ 300621 w 300621"/>
              <a:gd name="connsiteY12" fmla="*/ 3895725 h 3895725"/>
              <a:gd name="connsiteX13" fmla="*/ 6870 w 300621"/>
              <a:gd name="connsiteY13" fmla="*/ 3886200 h 3895725"/>
              <a:gd name="connsiteX14" fmla="*/ 0 w 300621"/>
              <a:gd name="connsiteY14" fmla="*/ 927453 h 3895725"/>
              <a:gd name="connsiteX0" fmla="*/ 0 w 300621"/>
              <a:gd name="connsiteY0" fmla="*/ 927453 h 3895725"/>
              <a:gd name="connsiteX1" fmla="*/ 127968 w 300621"/>
              <a:gd name="connsiteY1" fmla="*/ 970899 h 3895725"/>
              <a:gd name="connsiteX2" fmla="*/ 272046 w 300621"/>
              <a:gd name="connsiteY2" fmla="*/ 0 h 3895725"/>
              <a:gd name="connsiteX3" fmla="*/ 283139 w 300621"/>
              <a:gd name="connsiteY3" fmla="*/ 242127 h 3895725"/>
              <a:gd name="connsiteX4" fmla="*/ 278376 w 300621"/>
              <a:gd name="connsiteY4" fmla="*/ 1180339 h 3895725"/>
              <a:gd name="connsiteX5" fmla="*/ 292664 w 300621"/>
              <a:gd name="connsiteY5" fmla="*/ 1599439 h 3895725"/>
              <a:gd name="connsiteX6" fmla="*/ 259328 w 300621"/>
              <a:gd name="connsiteY6" fmla="*/ 2028064 h 3895725"/>
              <a:gd name="connsiteX7" fmla="*/ 264089 w 300621"/>
              <a:gd name="connsiteY7" fmla="*/ 2251902 h 3895725"/>
              <a:gd name="connsiteX8" fmla="*/ 287903 w 300621"/>
              <a:gd name="connsiteY8" fmla="*/ 2913889 h 3895725"/>
              <a:gd name="connsiteX9" fmla="*/ 273614 w 300621"/>
              <a:gd name="connsiteY9" fmla="*/ 3194877 h 3895725"/>
              <a:gd name="connsiteX10" fmla="*/ 268853 w 300621"/>
              <a:gd name="connsiteY10" fmla="*/ 3433002 h 3895725"/>
              <a:gd name="connsiteX11" fmla="*/ 273615 w 300621"/>
              <a:gd name="connsiteY11" fmla="*/ 3661602 h 3895725"/>
              <a:gd name="connsiteX12" fmla="*/ 300621 w 300621"/>
              <a:gd name="connsiteY12" fmla="*/ 3895725 h 3895725"/>
              <a:gd name="connsiteX13" fmla="*/ 6870 w 300621"/>
              <a:gd name="connsiteY13" fmla="*/ 3886200 h 3895725"/>
              <a:gd name="connsiteX14" fmla="*/ 0 w 300621"/>
              <a:gd name="connsiteY14" fmla="*/ 927453 h 3895725"/>
              <a:gd name="connsiteX0" fmla="*/ 0 w 300621"/>
              <a:gd name="connsiteY0" fmla="*/ 685326 h 3653598"/>
              <a:gd name="connsiteX1" fmla="*/ 127968 w 300621"/>
              <a:gd name="connsiteY1" fmla="*/ 728772 h 3653598"/>
              <a:gd name="connsiteX2" fmla="*/ 283139 w 300621"/>
              <a:gd name="connsiteY2" fmla="*/ 0 h 3653598"/>
              <a:gd name="connsiteX3" fmla="*/ 278376 w 300621"/>
              <a:gd name="connsiteY3" fmla="*/ 938212 h 3653598"/>
              <a:gd name="connsiteX4" fmla="*/ 292664 w 300621"/>
              <a:gd name="connsiteY4" fmla="*/ 1357312 h 3653598"/>
              <a:gd name="connsiteX5" fmla="*/ 259328 w 300621"/>
              <a:gd name="connsiteY5" fmla="*/ 1785937 h 3653598"/>
              <a:gd name="connsiteX6" fmla="*/ 264089 w 300621"/>
              <a:gd name="connsiteY6" fmla="*/ 2009775 h 3653598"/>
              <a:gd name="connsiteX7" fmla="*/ 287903 w 300621"/>
              <a:gd name="connsiteY7" fmla="*/ 2671762 h 3653598"/>
              <a:gd name="connsiteX8" fmla="*/ 273614 w 300621"/>
              <a:gd name="connsiteY8" fmla="*/ 2952750 h 3653598"/>
              <a:gd name="connsiteX9" fmla="*/ 268853 w 300621"/>
              <a:gd name="connsiteY9" fmla="*/ 3190875 h 3653598"/>
              <a:gd name="connsiteX10" fmla="*/ 273615 w 300621"/>
              <a:gd name="connsiteY10" fmla="*/ 3419475 h 3653598"/>
              <a:gd name="connsiteX11" fmla="*/ 300621 w 300621"/>
              <a:gd name="connsiteY11" fmla="*/ 3653598 h 3653598"/>
              <a:gd name="connsiteX12" fmla="*/ 6870 w 300621"/>
              <a:gd name="connsiteY12" fmla="*/ 3644073 h 3653598"/>
              <a:gd name="connsiteX13" fmla="*/ 0 w 300621"/>
              <a:gd name="connsiteY13" fmla="*/ 685326 h 3653598"/>
              <a:gd name="connsiteX0" fmla="*/ 0 w 300621"/>
              <a:gd name="connsiteY0" fmla="*/ 60154 h 3028426"/>
              <a:gd name="connsiteX1" fmla="*/ 127968 w 300621"/>
              <a:gd name="connsiteY1" fmla="*/ 103600 h 3028426"/>
              <a:gd name="connsiteX2" fmla="*/ 283139 w 300621"/>
              <a:gd name="connsiteY2" fmla="*/ 0 h 3028426"/>
              <a:gd name="connsiteX3" fmla="*/ 278376 w 300621"/>
              <a:gd name="connsiteY3" fmla="*/ 313040 h 3028426"/>
              <a:gd name="connsiteX4" fmla="*/ 292664 w 300621"/>
              <a:gd name="connsiteY4" fmla="*/ 732140 h 3028426"/>
              <a:gd name="connsiteX5" fmla="*/ 259328 w 300621"/>
              <a:gd name="connsiteY5" fmla="*/ 1160765 h 3028426"/>
              <a:gd name="connsiteX6" fmla="*/ 264089 w 300621"/>
              <a:gd name="connsiteY6" fmla="*/ 1384603 h 3028426"/>
              <a:gd name="connsiteX7" fmla="*/ 287903 w 300621"/>
              <a:gd name="connsiteY7" fmla="*/ 2046590 h 3028426"/>
              <a:gd name="connsiteX8" fmla="*/ 273614 w 300621"/>
              <a:gd name="connsiteY8" fmla="*/ 2327578 h 3028426"/>
              <a:gd name="connsiteX9" fmla="*/ 268853 w 300621"/>
              <a:gd name="connsiteY9" fmla="*/ 2565703 h 3028426"/>
              <a:gd name="connsiteX10" fmla="*/ 273615 w 300621"/>
              <a:gd name="connsiteY10" fmla="*/ 2794303 h 3028426"/>
              <a:gd name="connsiteX11" fmla="*/ 300621 w 300621"/>
              <a:gd name="connsiteY11" fmla="*/ 3028426 h 3028426"/>
              <a:gd name="connsiteX12" fmla="*/ 6870 w 300621"/>
              <a:gd name="connsiteY12" fmla="*/ 3018901 h 3028426"/>
              <a:gd name="connsiteX13" fmla="*/ 0 w 300621"/>
              <a:gd name="connsiteY13" fmla="*/ 60154 h 3028426"/>
              <a:gd name="connsiteX0" fmla="*/ 0 w 403981"/>
              <a:gd name="connsiteY0" fmla="*/ 60154 h 3028426"/>
              <a:gd name="connsiteX1" fmla="*/ 127968 w 403981"/>
              <a:gd name="connsiteY1" fmla="*/ 103600 h 3028426"/>
              <a:gd name="connsiteX2" fmla="*/ 283139 w 403981"/>
              <a:gd name="connsiteY2" fmla="*/ 0 h 3028426"/>
              <a:gd name="connsiteX3" fmla="*/ 278376 w 403981"/>
              <a:gd name="connsiteY3" fmla="*/ 313040 h 3028426"/>
              <a:gd name="connsiteX4" fmla="*/ 292664 w 403981"/>
              <a:gd name="connsiteY4" fmla="*/ 732140 h 3028426"/>
              <a:gd name="connsiteX5" fmla="*/ 259328 w 403981"/>
              <a:gd name="connsiteY5" fmla="*/ 1160765 h 3028426"/>
              <a:gd name="connsiteX6" fmla="*/ 264089 w 403981"/>
              <a:gd name="connsiteY6" fmla="*/ 1384603 h 3028426"/>
              <a:gd name="connsiteX7" fmla="*/ 287903 w 403981"/>
              <a:gd name="connsiteY7" fmla="*/ 2046590 h 3028426"/>
              <a:gd name="connsiteX8" fmla="*/ 273614 w 403981"/>
              <a:gd name="connsiteY8" fmla="*/ 2327578 h 3028426"/>
              <a:gd name="connsiteX9" fmla="*/ 268853 w 403981"/>
              <a:gd name="connsiteY9" fmla="*/ 2565703 h 3028426"/>
              <a:gd name="connsiteX10" fmla="*/ 273615 w 403981"/>
              <a:gd name="connsiteY10" fmla="*/ 2794303 h 3028426"/>
              <a:gd name="connsiteX11" fmla="*/ 300621 w 403981"/>
              <a:gd name="connsiteY11" fmla="*/ 3028426 h 3028426"/>
              <a:gd name="connsiteX12" fmla="*/ 403981 w 403981"/>
              <a:gd name="connsiteY12" fmla="*/ 3018901 h 3028426"/>
              <a:gd name="connsiteX13" fmla="*/ 0 w 403981"/>
              <a:gd name="connsiteY13" fmla="*/ 60154 h 3028426"/>
              <a:gd name="connsiteX0" fmla="*/ 0 w 403981"/>
              <a:gd name="connsiteY0" fmla="*/ 60154 h 3028426"/>
              <a:gd name="connsiteX1" fmla="*/ 127968 w 403981"/>
              <a:gd name="connsiteY1" fmla="*/ 103600 h 3028426"/>
              <a:gd name="connsiteX2" fmla="*/ 283139 w 403981"/>
              <a:gd name="connsiteY2" fmla="*/ 0 h 3028426"/>
              <a:gd name="connsiteX3" fmla="*/ 278376 w 403981"/>
              <a:gd name="connsiteY3" fmla="*/ 313040 h 3028426"/>
              <a:gd name="connsiteX4" fmla="*/ 272809 w 403981"/>
              <a:gd name="connsiteY4" fmla="*/ 986291 h 3028426"/>
              <a:gd name="connsiteX5" fmla="*/ 259328 w 403981"/>
              <a:gd name="connsiteY5" fmla="*/ 1160765 h 3028426"/>
              <a:gd name="connsiteX6" fmla="*/ 264089 w 403981"/>
              <a:gd name="connsiteY6" fmla="*/ 1384603 h 3028426"/>
              <a:gd name="connsiteX7" fmla="*/ 287903 w 403981"/>
              <a:gd name="connsiteY7" fmla="*/ 2046590 h 3028426"/>
              <a:gd name="connsiteX8" fmla="*/ 273614 w 403981"/>
              <a:gd name="connsiteY8" fmla="*/ 2327578 h 3028426"/>
              <a:gd name="connsiteX9" fmla="*/ 268853 w 403981"/>
              <a:gd name="connsiteY9" fmla="*/ 2565703 h 3028426"/>
              <a:gd name="connsiteX10" fmla="*/ 273615 w 403981"/>
              <a:gd name="connsiteY10" fmla="*/ 2794303 h 3028426"/>
              <a:gd name="connsiteX11" fmla="*/ 300621 w 403981"/>
              <a:gd name="connsiteY11" fmla="*/ 3028426 h 3028426"/>
              <a:gd name="connsiteX12" fmla="*/ 403981 w 403981"/>
              <a:gd name="connsiteY12" fmla="*/ 3018901 h 3028426"/>
              <a:gd name="connsiteX13" fmla="*/ 0 w 403981"/>
              <a:gd name="connsiteY13" fmla="*/ 60154 h 3028426"/>
              <a:gd name="connsiteX0" fmla="*/ 0 w 403981"/>
              <a:gd name="connsiteY0" fmla="*/ 60154 h 3028426"/>
              <a:gd name="connsiteX1" fmla="*/ 127968 w 403981"/>
              <a:gd name="connsiteY1" fmla="*/ 103600 h 3028426"/>
              <a:gd name="connsiteX2" fmla="*/ 283139 w 403981"/>
              <a:gd name="connsiteY2" fmla="*/ 0 h 3028426"/>
              <a:gd name="connsiteX3" fmla="*/ 272809 w 403981"/>
              <a:gd name="connsiteY3" fmla="*/ 986291 h 3028426"/>
              <a:gd name="connsiteX4" fmla="*/ 259328 w 403981"/>
              <a:gd name="connsiteY4" fmla="*/ 1160765 h 3028426"/>
              <a:gd name="connsiteX5" fmla="*/ 264089 w 403981"/>
              <a:gd name="connsiteY5" fmla="*/ 1384603 h 3028426"/>
              <a:gd name="connsiteX6" fmla="*/ 287903 w 403981"/>
              <a:gd name="connsiteY6" fmla="*/ 2046590 h 3028426"/>
              <a:gd name="connsiteX7" fmla="*/ 273614 w 403981"/>
              <a:gd name="connsiteY7" fmla="*/ 2327578 h 3028426"/>
              <a:gd name="connsiteX8" fmla="*/ 268853 w 403981"/>
              <a:gd name="connsiteY8" fmla="*/ 2565703 h 3028426"/>
              <a:gd name="connsiteX9" fmla="*/ 273615 w 403981"/>
              <a:gd name="connsiteY9" fmla="*/ 2794303 h 3028426"/>
              <a:gd name="connsiteX10" fmla="*/ 300621 w 403981"/>
              <a:gd name="connsiteY10" fmla="*/ 3028426 h 3028426"/>
              <a:gd name="connsiteX11" fmla="*/ 403981 w 403981"/>
              <a:gd name="connsiteY11" fmla="*/ 3018901 h 3028426"/>
              <a:gd name="connsiteX12" fmla="*/ 0 w 403981"/>
              <a:gd name="connsiteY12" fmla="*/ 60154 h 3028426"/>
              <a:gd name="connsiteX0" fmla="*/ 276013 w 276013"/>
              <a:gd name="connsiteY0" fmla="*/ 3018901 h 3028426"/>
              <a:gd name="connsiteX1" fmla="*/ 0 w 276013"/>
              <a:gd name="connsiteY1" fmla="*/ 103600 h 3028426"/>
              <a:gd name="connsiteX2" fmla="*/ 155171 w 276013"/>
              <a:gd name="connsiteY2" fmla="*/ 0 h 3028426"/>
              <a:gd name="connsiteX3" fmla="*/ 144841 w 276013"/>
              <a:gd name="connsiteY3" fmla="*/ 986291 h 3028426"/>
              <a:gd name="connsiteX4" fmla="*/ 131360 w 276013"/>
              <a:gd name="connsiteY4" fmla="*/ 1160765 h 3028426"/>
              <a:gd name="connsiteX5" fmla="*/ 136121 w 276013"/>
              <a:gd name="connsiteY5" fmla="*/ 1384603 h 3028426"/>
              <a:gd name="connsiteX6" fmla="*/ 159935 w 276013"/>
              <a:gd name="connsiteY6" fmla="*/ 2046590 h 3028426"/>
              <a:gd name="connsiteX7" fmla="*/ 145646 w 276013"/>
              <a:gd name="connsiteY7" fmla="*/ 2327578 h 3028426"/>
              <a:gd name="connsiteX8" fmla="*/ 140885 w 276013"/>
              <a:gd name="connsiteY8" fmla="*/ 2565703 h 3028426"/>
              <a:gd name="connsiteX9" fmla="*/ 145647 w 276013"/>
              <a:gd name="connsiteY9" fmla="*/ 2794303 h 3028426"/>
              <a:gd name="connsiteX10" fmla="*/ 172653 w 276013"/>
              <a:gd name="connsiteY10" fmla="*/ 3028426 h 3028426"/>
              <a:gd name="connsiteX11" fmla="*/ 276013 w 276013"/>
              <a:gd name="connsiteY11" fmla="*/ 3018901 h 3028426"/>
              <a:gd name="connsiteX0" fmla="*/ 280983 w 280983"/>
              <a:gd name="connsiteY0" fmla="*/ 3018901 h 3028426"/>
              <a:gd name="connsiteX1" fmla="*/ 0 w 280983"/>
              <a:gd name="connsiteY1" fmla="*/ 119162 h 3028426"/>
              <a:gd name="connsiteX2" fmla="*/ 4970 w 280983"/>
              <a:gd name="connsiteY2" fmla="*/ 103600 h 3028426"/>
              <a:gd name="connsiteX3" fmla="*/ 160141 w 280983"/>
              <a:gd name="connsiteY3" fmla="*/ 0 h 3028426"/>
              <a:gd name="connsiteX4" fmla="*/ 149811 w 280983"/>
              <a:gd name="connsiteY4" fmla="*/ 986291 h 3028426"/>
              <a:gd name="connsiteX5" fmla="*/ 136330 w 280983"/>
              <a:gd name="connsiteY5" fmla="*/ 1160765 h 3028426"/>
              <a:gd name="connsiteX6" fmla="*/ 141091 w 280983"/>
              <a:gd name="connsiteY6" fmla="*/ 1384603 h 3028426"/>
              <a:gd name="connsiteX7" fmla="*/ 164905 w 280983"/>
              <a:gd name="connsiteY7" fmla="*/ 2046590 h 3028426"/>
              <a:gd name="connsiteX8" fmla="*/ 150616 w 280983"/>
              <a:gd name="connsiteY8" fmla="*/ 2327578 h 3028426"/>
              <a:gd name="connsiteX9" fmla="*/ 145855 w 280983"/>
              <a:gd name="connsiteY9" fmla="*/ 2565703 h 3028426"/>
              <a:gd name="connsiteX10" fmla="*/ 150617 w 280983"/>
              <a:gd name="connsiteY10" fmla="*/ 2794303 h 3028426"/>
              <a:gd name="connsiteX11" fmla="*/ 177623 w 280983"/>
              <a:gd name="connsiteY11" fmla="*/ 3028426 h 3028426"/>
              <a:gd name="connsiteX12" fmla="*/ 280983 w 280983"/>
              <a:gd name="connsiteY12" fmla="*/ 3018901 h 3028426"/>
              <a:gd name="connsiteX0" fmla="*/ 280983 w 280983"/>
              <a:gd name="connsiteY0" fmla="*/ 3018901 h 3028426"/>
              <a:gd name="connsiteX1" fmla="*/ 0 w 280983"/>
              <a:gd name="connsiteY1" fmla="*/ 119162 h 3028426"/>
              <a:gd name="connsiteX2" fmla="*/ 160141 w 280983"/>
              <a:gd name="connsiteY2" fmla="*/ 0 h 3028426"/>
              <a:gd name="connsiteX3" fmla="*/ 149811 w 280983"/>
              <a:gd name="connsiteY3" fmla="*/ 986291 h 3028426"/>
              <a:gd name="connsiteX4" fmla="*/ 136330 w 280983"/>
              <a:gd name="connsiteY4" fmla="*/ 1160765 h 3028426"/>
              <a:gd name="connsiteX5" fmla="*/ 141091 w 280983"/>
              <a:gd name="connsiteY5" fmla="*/ 1384603 h 3028426"/>
              <a:gd name="connsiteX6" fmla="*/ 164905 w 280983"/>
              <a:gd name="connsiteY6" fmla="*/ 2046590 h 3028426"/>
              <a:gd name="connsiteX7" fmla="*/ 150616 w 280983"/>
              <a:gd name="connsiteY7" fmla="*/ 2327578 h 3028426"/>
              <a:gd name="connsiteX8" fmla="*/ 145855 w 280983"/>
              <a:gd name="connsiteY8" fmla="*/ 2565703 h 3028426"/>
              <a:gd name="connsiteX9" fmla="*/ 150617 w 280983"/>
              <a:gd name="connsiteY9" fmla="*/ 2794303 h 3028426"/>
              <a:gd name="connsiteX10" fmla="*/ 177623 w 280983"/>
              <a:gd name="connsiteY10" fmla="*/ 3028426 h 3028426"/>
              <a:gd name="connsiteX11" fmla="*/ 280983 w 280983"/>
              <a:gd name="connsiteY11" fmla="*/ 3018901 h 3028426"/>
              <a:gd name="connsiteX0" fmla="*/ 145476 w 145476"/>
              <a:gd name="connsiteY0" fmla="*/ 3018901 h 3028426"/>
              <a:gd name="connsiteX1" fmla="*/ 24634 w 145476"/>
              <a:gd name="connsiteY1" fmla="*/ 0 h 3028426"/>
              <a:gd name="connsiteX2" fmla="*/ 14304 w 145476"/>
              <a:gd name="connsiteY2" fmla="*/ 986291 h 3028426"/>
              <a:gd name="connsiteX3" fmla="*/ 823 w 145476"/>
              <a:gd name="connsiteY3" fmla="*/ 1160765 h 3028426"/>
              <a:gd name="connsiteX4" fmla="*/ 5584 w 145476"/>
              <a:gd name="connsiteY4" fmla="*/ 1384603 h 3028426"/>
              <a:gd name="connsiteX5" fmla="*/ 29398 w 145476"/>
              <a:gd name="connsiteY5" fmla="*/ 2046590 h 3028426"/>
              <a:gd name="connsiteX6" fmla="*/ 15109 w 145476"/>
              <a:gd name="connsiteY6" fmla="*/ 2327578 h 3028426"/>
              <a:gd name="connsiteX7" fmla="*/ 10348 w 145476"/>
              <a:gd name="connsiteY7" fmla="*/ 2565703 h 3028426"/>
              <a:gd name="connsiteX8" fmla="*/ 15110 w 145476"/>
              <a:gd name="connsiteY8" fmla="*/ 2794303 h 3028426"/>
              <a:gd name="connsiteX9" fmla="*/ 42116 w 145476"/>
              <a:gd name="connsiteY9" fmla="*/ 3028426 h 3028426"/>
              <a:gd name="connsiteX10" fmla="*/ 145476 w 145476"/>
              <a:gd name="connsiteY10" fmla="*/ 3018901 h 3028426"/>
              <a:gd name="connsiteX0" fmla="*/ 145476 w 145476"/>
              <a:gd name="connsiteY0" fmla="*/ 2032610 h 2042135"/>
              <a:gd name="connsiteX1" fmla="*/ 14304 w 145476"/>
              <a:gd name="connsiteY1" fmla="*/ 0 h 2042135"/>
              <a:gd name="connsiteX2" fmla="*/ 823 w 145476"/>
              <a:gd name="connsiteY2" fmla="*/ 174474 h 2042135"/>
              <a:gd name="connsiteX3" fmla="*/ 5584 w 145476"/>
              <a:gd name="connsiteY3" fmla="*/ 398312 h 2042135"/>
              <a:gd name="connsiteX4" fmla="*/ 29398 w 145476"/>
              <a:gd name="connsiteY4" fmla="*/ 1060299 h 2042135"/>
              <a:gd name="connsiteX5" fmla="*/ 15109 w 145476"/>
              <a:gd name="connsiteY5" fmla="*/ 1341287 h 2042135"/>
              <a:gd name="connsiteX6" fmla="*/ 10348 w 145476"/>
              <a:gd name="connsiteY6" fmla="*/ 1579412 h 2042135"/>
              <a:gd name="connsiteX7" fmla="*/ 15110 w 145476"/>
              <a:gd name="connsiteY7" fmla="*/ 1808012 h 2042135"/>
              <a:gd name="connsiteX8" fmla="*/ 42116 w 145476"/>
              <a:gd name="connsiteY8" fmla="*/ 2042135 h 2042135"/>
              <a:gd name="connsiteX9" fmla="*/ 145476 w 145476"/>
              <a:gd name="connsiteY9" fmla="*/ 2032610 h 2042135"/>
              <a:gd name="connsiteX0" fmla="*/ 145476 w 145476"/>
              <a:gd name="connsiteY0" fmla="*/ 2032610 h 2042135"/>
              <a:gd name="connsiteX1" fmla="*/ 130558 w 145476"/>
              <a:gd name="connsiteY1" fmla="*/ 2544 h 2042135"/>
              <a:gd name="connsiteX2" fmla="*/ 14304 w 145476"/>
              <a:gd name="connsiteY2" fmla="*/ 0 h 2042135"/>
              <a:gd name="connsiteX3" fmla="*/ 823 w 145476"/>
              <a:gd name="connsiteY3" fmla="*/ 174474 h 2042135"/>
              <a:gd name="connsiteX4" fmla="*/ 5584 w 145476"/>
              <a:gd name="connsiteY4" fmla="*/ 398312 h 2042135"/>
              <a:gd name="connsiteX5" fmla="*/ 29398 w 145476"/>
              <a:gd name="connsiteY5" fmla="*/ 1060299 h 2042135"/>
              <a:gd name="connsiteX6" fmla="*/ 15109 w 145476"/>
              <a:gd name="connsiteY6" fmla="*/ 1341287 h 2042135"/>
              <a:gd name="connsiteX7" fmla="*/ 10348 w 145476"/>
              <a:gd name="connsiteY7" fmla="*/ 1579412 h 2042135"/>
              <a:gd name="connsiteX8" fmla="*/ 15110 w 145476"/>
              <a:gd name="connsiteY8" fmla="*/ 1808012 h 2042135"/>
              <a:gd name="connsiteX9" fmla="*/ 42116 w 145476"/>
              <a:gd name="connsiteY9" fmla="*/ 2042135 h 2042135"/>
              <a:gd name="connsiteX10" fmla="*/ 145476 w 145476"/>
              <a:gd name="connsiteY10" fmla="*/ 2032610 h 2042135"/>
              <a:gd name="connsiteX0" fmla="*/ 145476 w 145476"/>
              <a:gd name="connsiteY0" fmla="*/ 2032610 h 2042135"/>
              <a:gd name="connsiteX1" fmla="*/ 130558 w 145476"/>
              <a:gd name="connsiteY1" fmla="*/ 2544 h 2042135"/>
              <a:gd name="connsiteX2" fmla="*/ 14304 w 145476"/>
              <a:gd name="connsiteY2" fmla="*/ 0 h 2042135"/>
              <a:gd name="connsiteX3" fmla="*/ 823 w 145476"/>
              <a:gd name="connsiteY3" fmla="*/ 174474 h 2042135"/>
              <a:gd name="connsiteX4" fmla="*/ 5584 w 145476"/>
              <a:gd name="connsiteY4" fmla="*/ 398312 h 2042135"/>
              <a:gd name="connsiteX5" fmla="*/ 29398 w 145476"/>
              <a:gd name="connsiteY5" fmla="*/ 1060299 h 2042135"/>
              <a:gd name="connsiteX6" fmla="*/ 15109 w 145476"/>
              <a:gd name="connsiteY6" fmla="*/ 1341287 h 2042135"/>
              <a:gd name="connsiteX7" fmla="*/ 10348 w 145476"/>
              <a:gd name="connsiteY7" fmla="*/ 1579412 h 2042135"/>
              <a:gd name="connsiteX8" fmla="*/ 15110 w 145476"/>
              <a:gd name="connsiteY8" fmla="*/ 1808012 h 2042135"/>
              <a:gd name="connsiteX9" fmla="*/ 42116 w 145476"/>
              <a:gd name="connsiteY9" fmla="*/ 2042135 h 2042135"/>
              <a:gd name="connsiteX10" fmla="*/ 145476 w 145476"/>
              <a:gd name="connsiteY10" fmla="*/ 2032610 h 2042135"/>
              <a:gd name="connsiteX0" fmla="*/ 137534 w 137534"/>
              <a:gd name="connsiteY0" fmla="*/ 2040552 h 2042135"/>
              <a:gd name="connsiteX1" fmla="*/ 130558 w 137534"/>
              <a:gd name="connsiteY1" fmla="*/ 2544 h 2042135"/>
              <a:gd name="connsiteX2" fmla="*/ 14304 w 137534"/>
              <a:gd name="connsiteY2" fmla="*/ 0 h 2042135"/>
              <a:gd name="connsiteX3" fmla="*/ 823 w 137534"/>
              <a:gd name="connsiteY3" fmla="*/ 174474 h 2042135"/>
              <a:gd name="connsiteX4" fmla="*/ 5584 w 137534"/>
              <a:gd name="connsiteY4" fmla="*/ 398312 h 2042135"/>
              <a:gd name="connsiteX5" fmla="*/ 29398 w 137534"/>
              <a:gd name="connsiteY5" fmla="*/ 1060299 h 2042135"/>
              <a:gd name="connsiteX6" fmla="*/ 15109 w 137534"/>
              <a:gd name="connsiteY6" fmla="*/ 1341287 h 2042135"/>
              <a:gd name="connsiteX7" fmla="*/ 10348 w 137534"/>
              <a:gd name="connsiteY7" fmla="*/ 1579412 h 2042135"/>
              <a:gd name="connsiteX8" fmla="*/ 15110 w 137534"/>
              <a:gd name="connsiteY8" fmla="*/ 1808012 h 2042135"/>
              <a:gd name="connsiteX9" fmla="*/ 42116 w 137534"/>
              <a:gd name="connsiteY9" fmla="*/ 2042135 h 2042135"/>
              <a:gd name="connsiteX10" fmla="*/ 137534 w 137534"/>
              <a:gd name="connsiteY10" fmla="*/ 2040552 h 204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7534" h="2042135">
                <a:moveTo>
                  <a:pt x="137534" y="2040552"/>
                </a:moveTo>
                <a:cubicBezTo>
                  <a:pt x="135209" y="1361216"/>
                  <a:pt x="132883" y="681880"/>
                  <a:pt x="130558" y="2544"/>
                </a:cubicBezTo>
                <a:lnTo>
                  <a:pt x="14304" y="0"/>
                </a:lnTo>
                <a:cubicBezTo>
                  <a:pt x="9542" y="142875"/>
                  <a:pt x="3998" y="67318"/>
                  <a:pt x="823" y="174474"/>
                </a:cubicBezTo>
                <a:cubicBezTo>
                  <a:pt x="-1297" y="548203"/>
                  <a:pt x="822" y="250675"/>
                  <a:pt x="5584" y="398312"/>
                </a:cubicBezTo>
                <a:cubicBezTo>
                  <a:pt x="10346" y="545949"/>
                  <a:pt x="29398" y="901549"/>
                  <a:pt x="29398" y="1060299"/>
                </a:cubicBezTo>
                <a:cubicBezTo>
                  <a:pt x="34954" y="1269055"/>
                  <a:pt x="15109" y="1251593"/>
                  <a:pt x="15109" y="1341287"/>
                </a:cubicBezTo>
                <a:cubicBezTo>
                  <a:pt x="15109" y="1430981"/>
                  <a:pt x="16698" y="1515912"/>
                  <a:pt x="10348" y="1579412"/>
                </a:cubicBezTo>
                <a:cubicBezTo>
                  <a:pt x="3998" y="1642912"/>
                  <a:pt x="12197" y="1740417"/>
                  <a:pt x="15110" y="1808012"/>
                </a:cubicBezTo>
                <a:lnTo>
                  <a:pt x="42116" y="2042135"/>
                </a:lnTo>
                <a:lnTo>
                  <a:pt x="137534" y="2040552"/>
                </a:lnTo>
                <a:close/>
              </a:path>
            </a:pathLst>
          </a:custGeom>
          <a:pattFill prst="wdDnDiag">
            <a:fgClr>
              <a:srgbClr val="FFFF00"/>
            </a:fgClr>
            <a:bgClr>
              <a:srgbClr val="EE7713"/>
            </a:bgClr>
          </a:patt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80" name="Gruppo 79"/>
          <p:cNvGrpSpPr/>
          <p:nvPr/>
        </p:nvGrpSpPr>
        <p:grpSpPr>
          <a:xfrm>
            <a:off x="6760659" y="1662151"/>
            <a:ext cx="1084944" cy="1255044"/>
            <a:chOff x="5674120" y="1790653"/>
            <a:chExt cx="2462139" cy="3332465"/>
          </a:xfrm>
        </p:grpSpPr>
        <p:sp>
          <p:nvSpPr>
            <p:cNvPr id="81" name="Freccia curva 2"/>
            <p:cNvSpPr/>
            <p:nvPr/>
          </p:nvSpPr>
          <p:spPr>
            <a:xfrm flipV="1">
              <a:off x="6084815" y="2733865"/>
              <a:ext cx="2051444" cy="2389253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612790"/>
                <a:gd name="connsiteY0" fmla="*/ 2389253 h 2389253"/>
                <a:gd name="connsiteX1" fmla="*/ 72468 w 2612790"/>
                <a:gd name="connsiteY1" fmla="*/ 2095501 h 2389253"/>
                <a:gd name="connsiteX2" fmla="*/ 34368 w 2612790"/>
                <a:gd name="connsiteY2" fmla="*/ 1900238 h 2389253"/>
                <a:gd name="connsiteX3" fmla="*/ 77231 w 2612790"/>
                <a:gd name="connsiteY3" fmla="*/ 1319213 h 2389253"/>
                <a:gd name="connsiteX4" fmla="*/ 24843 w 2612790"/>
                <a:gd name="connsiteY4" fmla="*/ 952501 h 2389253"/>
                <a:gd name="connsiteX5" fmla="*/ 12016 w 2612790"/>
                <a:gd name="connsiteY5" fmla="*/ 583866 h 2389253"/>
                <a:gd name="connsiteX6" fmla="*/ 62944 w 2612790"/>
                <a:gd name="connsiteY6" fmla="*/ 447676 h 2389253"/>
                <a:gd name="connsiteX7" fmla="*/ 191532 w 2612790"/>
                <a:gd name="connsiteY7" fmla="*/ 252413 h 2389253"/>
                <a:gd name="connsiteX8" fmla="*/ 353457 w 2612790"/>
                <a:gd name="connsiteY8" fmla="*/ 123826 h 2389253"/>
                <a:gd name="connsiteX9" fmla="*/ 621210 w 2612790"/>
                <a:gd name="connsiteY9" fmla="*/ 12772 h 2389253"/>
                <a:gd name="connsiteX10" fmla="*/ 1339294 w 2612790"/>
                <a:gd name="connsiteY10" fmla="*/ 33338 h 2389253"/>
                <a:gd name="connsiteX11" fmla="*/ 1601232 w 2612790"/>
                <a:gd name="connsiteY11" fmla="*/ 14288 h 2389253"/>
                <a:gd name="connsiteX12" fmla="*/ 1867932 w 2612790"/>
                <a:gd name="connsiteY12" fmla="*/ 0 h 2389253"/>
                <a:gd name="connsiteX13" fmla="*/ 2210832 w 2612790"/>
                <a:gd name="connsiteY13" fmla="*/ 42864 h 2389253"/>
                <a:gd name="connsiteX14" fmla="*/ 2612656 w 2612790"/>
                <a:gd name="connsiteY14" fmla="*/ 12772 h 2389253"/>
                <a:gd name="connsiteX15" fmla="*/ 2607261 w 2612790"/>
                <a:gd name="connsiteY15" fmla="*/ 167260 h 2389253"/>
                <a:gd name="connsiteX16" fmla="*/ 2051444 w 2612790"/>
                <a:gd name="connsiteY16" fmla="*/ 268939 h 2389253"/>
                <a:gd name="connsiteX17" fmla="*/ 621210 w 2612790"/>
                <a:gd name="connsiteY17" fmla="*/ 271213 h 2389253"/>
                <a:gd name="connsiteX18" fmla="*/ 303794 w 2612790"/>
                <a:gd name="connsiteY18" fmla="*/ 588629 h 2389253"/>
                <a:gd name="connsiteX19" fmla="*/ 303795 w 2612790"/>
                <a:gd name="connsiteY19" fmla="*/ 2389253 h 2389253"/>
                <a:gd name="connsiteX20" fmla="*/ 45354 w 2612790"/>
                <a:gd name="connsiteY20" fmla="*/ 2389253 h 2389253"/>
                <a:gd name="connsiteX0" fmla="*/ 45354 w 2612656"/>
                <a:gd name="connsiteY0" fmla="*/ 2389253 h 2389253"/>
                <a:gd name="connsiteX1" fmla="*/ 72468 w 2612656"/>
                <a:gd name="connsiteY1" fmla="*/ 2095501 h 2389253"/>
                <a:gd name="connsiteX2" fmla="*/ 34368 w 2612656"/>
                <a:gd name="connsiteY2" fmla="*/ 1900238 h 2389253"/>
                <a:gd name="connsiteX3" fmla="*/ 77231 w 2612656"/>
                <a:gd name="connsiteY3" fmla="*/ 1319213 h 2389253"/>
                <a:gd name="connsiteX4" fmla="*/ 24843 w 2612656"/>
                <a:gd name="connsiteY4" fmla="*/ 952501 h 2389253"/>
                <a:gd name="connsiteX5" fmla="*/ 12016 w 2612656"/>
                <a:gd name="connsiteY5" fmla="*/ 583866 h 2389253"/>
                <a:gd name="connsiteX6" fmla="*/ 62944 w 2612656"/>
                <a:gd name="connsiteY6" fmla="*/ 447676 h 2389253"/>
                <a:gd name="connsiteX7" fmla="*/ 191532 w 2612656"/>
                <a:gd name="connsiteY7" fmla="*/ 252413 h 2389253"/>
                <a:gd name="connsiteX8" fmla="*/ 353457 w 2612656"/>
                <a:gd name="connsiteY8" fmla="*/ 123826 h 2389253"/>
                <a:gd name="connsiteX9" fmla="*/ 621210 w 2612656"/>
                <a:gd name="connsiteY9" fmla="*/ 12772 h 2389253"/>
                <a:gd name="connsiteX10" fmla="*/ 1339294 w 2612656"/>
                <a:gd name="connsiteY10" fmla="*/ 33338 h 2389253"/>
                <a:gd name="connsiteX11" fmla="*/ 1601232 w 2612656"/>
                <a:gd name="connsiteY11" fmla="*/ 14288 h 2389253"/>
                <a:gd name="connsiteX12" fmla="*/ 1867932 w 2612656"/>
                <a:gd name="connsiteY12" fmla="*/ 0 h 2389253"/>
                <a:gd name="connsiteX13" fmla="*/ 2210832 w 2612656"/>
                <a:gd name="connsiteY13" fmla="*/ 42864 h 2389253"/>
                <a:gd name="connsiteX14" fmla="*/ 2612656 w 2612656"/>
                <a:gd name="connsiteY14" fmla="*/ 12772 h 2389253"/>
                <a:gd name="connsiteX15" fmla="*/ 2051444 w 2612656"/>
                <a:gd name="connsiteY15" fmla="*/ 268939 h 2389253"/>
                <a:gd name="connsiteX16" fmla="*/ 621210 w 2612656"/>
                <a:gd name="connsiteY16" fmla="*/ 271213 h 2389253"/>
                <a:gd name="connsiteX17" fmla="*/ 303794 w 2612656"/>
                <a:gd name="connsiteY17" fmla="*/ 588629 h 2389253"/>
                <a:gd name="connsiteX18" fmla="*/ 303795 w 2612656"/>
                <a:gd name="connsiteY18" fmla="*/ 2389253 h 2389253"/>
                <a:gd name="connsiteX19" fmla="*/ 45354 w 2612656"/>
                <a:gd name="connsiteY19" fmla="*/ 2389253 h 2389253"/>
                <a:gd name="connsiteX0" fmla="*/ 45354 w 2210832"/>
                <a:gd name="connsiteY0" fmla="*/ 2389253 h 2389253"/>
                <a:gd name="connsiteX1" fmla="*/ 72468 w 2210832"/>
                <a:gd name="connsiteY1" fmla="*/ 2095501 h 2389253"/>
                <a:gd name="connsiteX2" fmla="*/ 34368 w 2210832"/>
                <a:gd name="connsiteY2" fmla="*/ 1900238 h 2389253"/>
                <a:gd name="connsiteX3" fmla="*/ 77231 w 2210832"/>
                <a:gd name="connsiteY3" fmla="*/ 1319213 h 2389253"/>
                <a:gd name="connsiteX4" fmla="*/ 24843 w 2210832"/>
                <a:gd name="connsiteY4" fmla="*/ 952501 h 2389253"/>
                <a:gd name="connsiteX5" fmla="*/ 12016 w 2210832"/>
                <a:gd name="connsiteY5" fmla="*/ 583866 h 2389253"/>
                <a:gd name="connsiteX6" fmla="*/ 62944 w 2210832"/>
                <a:gd name="connsiteY6" fmla="*/ 447676 h 2389253"/>
                <a:gd name="connsiteX7" fmla="*/ 191532 w 2210832"/>
                <a:gd name="connsiteY7" fmla="*/ 252413 h 2389253"/>
                <a:gd name="connsiteX8" fmla="*/ 353457 w 2210832"/>
                <a:gd name="connsiteY8" fmla="*/ 123826 h 2389253"/>
                <a:gd name="connsiteX9" fmla="*/ 621210 w 2210832"/>
                <a:gd name="connsiteY9" fmla="*/ 12772 h 2389253"/>
                <a:gd name="connsiteX10" fmla="*/ 1339294 w 2210832"/>
                <a:gd name="connsiteY10" fmla="*/ 33338 h 2389253"/>
                <a:gd name="connsiteX11" fmla="*/ 1601232 w 2210832"/>
                <a:gd name="connsiteY11" fmla="*/ 14288 h 2389253"/>
                <a:gd name="connsiteX12" fmla="*/ 1867932 w 2210832"/>
                <a:gd name="connsiteY12" fmla="*/ 0 h 2389253"/>
                <a:gd name="connsiteX13" fmla="*/ 2210832 w 2210832"/>
                <a:gd name="connsiteY13" fmla="*/ 42864 h 2389253"/>
                <a:gd name="connsiteX14" fmla="*/ 2051444 w 2210832"/>
                <a:gd name="connsiteY14" fmla="*/ 268939 h 2389253"/>
                <a:gd name="connsiteX15" fmla="*/ 621210 w 2210832"/>
                <a:gd name="connsiteY15" fmla="*/ 271213 h 2389253"/>
                <a:gd name="connsiteX16" fmla="*/ 303794 w 2210832"/>
                <a:gd name="connsiteY16" fmla="*/ 588629 h 2389253"/>
                <a:gd name="connsiteX17" fmla="*/ 303795 w 2210832"/>
                <a:gd name="connsiteY17" fmla="*/ 2389253 h 2389253"/>
                <a:gd name="connsiteX18" fmla="*/ 45354 w 2210832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957243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51444" h="2389253">
                  <a:moveTo>
                    <a:pt x="45354" y="2389253"/>
                  </a:moveTo>
                  <a:cubicBezTo>
                    <a:pt x="44867" y="2292923"/>
                    <a:pt x="72955" y="2191831"/>
                    <a:pt x="72468" y="2095501"/>
                  </a:cubicBezTo>
                  <a:cubicBezTo>
                    <a:pt x="72468" y="2058988"/>
                    <a:pt x="34368" y="1936751"/>
                    <a:pt x="34368" y="1900238"/>
                  </a:cubicBezTo>
                  <a:cubicBezTo>
                    <a:pt x="37543" y="1711326"/>
                    <a:pt x="74056" y="1508125"/>
                    <a:pt x="77231" y="1319213"/>
                  </a:cubicBezTo>
                  <a:cubicBezTo>
                    <a:pt x="74056" y="1201738"/>
                    <a:pt x="28018" y="1069976"/>
                    <a:pt x="24843" y="952501"/>
                  </a:cubicBezTo>
                  <a:cubicBezTo>
                    <a:pt x="65017" y="807397"/>
                    <a:pt x="5179" y="705157"/>
                    <a:pt x="12016" y="583866"/>
                  </a:cubicBezTo>
                  <a:cubicBezTo>
                    <a:pt x="13604" y="499729"/>
                    <a:pt x="-38588" y="542858"/>
                    <a:pt x="62944" y="447676"/>
                  </a:cubicBezTo>
                  <a:cubicBezTo>
                    <a:pt x="96832" y="391640"/>
                    <a:pt x="143113" y="306388"/>
                    <a:pt x="191532" y="252413"/>
                  </a:cubicBezTo>
                  <a:cubicBezTo>
                    <a:pt x="239951" y="198438"/>
                    <a:pt x="285813" y="162972"/>
                    <a:pt x="353457" y="123826"/>
                  </a:cubicBezTo>
                  <a:cubicBezTo>
                    <a:pt x="421101" y="84680"/>
                    <a:pt x="455316" y="30235"/>
                    <a:pt x="621210" y="12772"/>
                  </a:cubicBezTo>
                  <a:cubicBezTo>
                    <a:pt x="863746" y="14865"/>
                    <a:pt x="1096758" y="31245"/>
                    <a:pt x="1339294" y="33338"/>
                  </a:cubicBezTo>
                  <a:lnTo>
                    <a:pt x="1601232" y="14288"/>
                  </a:lnTo>
                  <a:cubicBezTo>
                    <a:pt x="1691719" y="14288"/>
                    <a:pt x="1866756" y="0"/>
                    <a:pt x="1957243" y="0"/>
                  </a:cubicBezTo>
                  <a:lnTo>
                    <a:pt x="1881071" y="145914"/>
                  </a:lnTo>
                  <a:lnTo>
                    <a:pt x="2051444" y="268939"/>
                  </a:lnTo>
                  <a:lnTo>
                    <a:pt x="621210" y="271213"/>
                  </a:lnTo>
                  <a:cubicBezTo>
                    <a:pt x="445906" y="271213"/>
                    <a:pt x="303794" y="413325"/>
                    <a:pt x="303794" y="588629"/>
                  </a:cubicBezTo>
                  <a:cubicBezTo>
                    <a:pt x="303794" y="1188837"/>
                    <a:pt x="303795" y="1789045"/>
                    <a:pt x="303795" y="2389253"/>
                  </a:cubicBezTo>
                  <a:lnTo>
                    <a:pt x="45354" y="2389253"/>
                  </a:lnTo>
                  <a:close/>
                </a:path>
              </a:pathLst>
            </a:custGeom>
            <a:pattFill prst="dkDnDiag">
              <a:fgClr>
                <a:schemeClr val="accent4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82" name="Rettangolo 6"/>
            <p:cNvSpPr/>
            <p:nvPr/>
          </p:nvSpPr>
          <p:spPr>
            <a:xfrm>
              <a:off x="5674120" y="1790653"/>
              <a:ext cx="300621" cy="3028426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621" h="3028426">
                  <a:moveTo>
                    <a:pt x="0" y="60154"/>
                  </a:moveTo>
                  <a:cubicBezTo>
                    <a:pt x="42672" y="57106"/>
                    <a:pt x="85296" y="106648"/>
                    <a:pt x="127968" y="103600"/>
                  </a:cubicBezTo>
                  <a:lnTo>
                    <a:pt x="283139" y="0"/>
                  </a:lnTo>
                  <a:cubicBezTo>
                    <a:pt x="285782" y="195136"/>
                    <a:pt x="272026" y="86821"/>
                    <a:pt x="278376" y="313040"/>
                  </a:cubicBezTo>
                  <a:cubicBezTo>
                    <a:pt x="284726" y="539259"/>
                    <a:pt x="297426" y="589265"/>
                    <a:pt x="292664" y="732140"/>
                  </a:cubicBezTo>
                  <a:cubicBezTo>
                    <a:pt x="287902" y="875015"/>
                    <a:pt x="262503" y="1053609"/>
                    <a:pt x="259328" y="1160765"/>
                  </a:cubicBezTo>
                  <a:cubicBezTo>
                    <a:pt x="257208" y="1534494"/>
                    <a:pt x="259327" y="1236966"/>
                    <a:pt x="264089" y="1384603"/>
                  </a:cubicBezTo>
                  <a:cubicBezTo>
                    <a:pt x="268851" y="1532240"/>
                    <a:pt x="287903" y="1887840"/>
                    <a:pt x="287903" y="2046590"/>
                  </a:cubicBezTo>
                  <a:cubicBezTo>
                    <a:pt x="293459" y="2255346"/>
                    <a:pt x="273614" y="2237884"/>
                    <a:pt x="273614" y="2327578"/>
                  </a:cubicBezTo>
                  <a:cubicBezTo>
                    <a:pt x="273614" y="2417272"/>
                    <a:pt x="275203" y="2502203"/>
                    <a:pt x="268853" y="2565703"/>
                  </a:cubicBezTo>
                  <a:cubicBezTo>
                    <a:pt x="262503" y="2629203"/>
                    <a:pt x="270702" y="2726708"/>
                    <a:pt x="273615" y="2794303"/>
                  </a:cubicBezTo>
                  <a:lnTo>
                    <a:pt x="300621" y="3028426"/>
                  </a:lnTo>
                  <a:lnTo>
                    <a:pt x="6870" y="3018901"/>
                  </a:lnTo>
                  <a:lnTo>
                    <a:pt x="0" y="60154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Gruppo 82"/>
          <p:cNvGrpSpPr/>
          <p:nvPr/>
        </p:nvGrpSpPr>
        <p:grpSpPr>
          <a:xfrm rot="16200000">
            <a:off x="6746330" y="2096510"/>
            <a:ext cx="219000" cy="514932"/>
            <a:chOff x="5308435" y="4212641"/>
            <a:chExt cx="436890" cy="1168570"/>
          </a:xfrm>
          <a:solidFill>
            <a:srgbClr val="FF0000"/>
          </a:solidFill>
        </p:grpSpPr>
        <p:sp>
          <p:nvSpPr>
            <p:cNvPr id="84" name="Rectangle 325"/>
            <p:cNvSpPr>
              <a:spLocks noChangeArrowheads="1"/>
            </p:cNvSpPr>
            <p:nvPr/>
          </p:nvSpPr>
          <p:spPr bwMode="auto">
            <a:xfrm rot="5400000">
              <a:off x="4961582" y="4652820"/>
              <a:ext cx="1129280" cy="24892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  <p:sp>
          <p:nvSpPr>
            <p:cNvPr id="85" name="Ritaglia angolo stesso lato rettangolo 38"/>
            <p:cNvSpPr/>
            <p:nvPr/>
          </p:nvSpPr>
          <p:spPr>
            <a:xfrm rot="10800000">
              <a:off x="5308435" y="5302631"/>
              <a:ext cx="436890" cy="78580"/>
            </a:xfrm>
            <a:prstGeom prst="snip2SameRect">
              <a:avLst>
                <a:gd name="adj1" fmla="val 50000"/>
                <a:gd name="adj2" fmla="val 0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050" b="1" dirty="0">
                <a:latin typeface="Arial Narrow" pitchFamily="34" charset="0"/>
              </a:endParaRPr>
            </a:p>
          </p:txBody>
        </p:sp>
      </p:grpSp>
      <p:grpSp>
        <p:nvGrpSpPr>
          <p:cNvPr id="86" name="Group 327"/>
          <p:cNvGrpSpPr>
            <a:grpSpLocks/>
          </p:cNvGrpSpPr>
          <p:nvPr/>
        </p:nvGrpSpPr>
        <p:grpSpPr bwMode="auto">
          <a:xfrm flipV="1">
            <a:off x="6628557" y="2243728"/>
            <a:ext cx="129201" cy="215524"/>
            <a:chOff x="957" y="1985"/>
            <a:chExt cx="256" cy="318"/>
          </a:xfrm>
        </p:grpSpPr>
        <p:sp>
          <p:nvSpPr>
            <p:cNvPr id="87" name="AutoShape 328"/>
            <p:cNvSpPr>
              <a:spLocks noChangeArrowheads="1"/>
            </p:cNvSpPr>
            <p:nvPr/>
          </p:nvSpPr>
          <p:spPr bwMode="auto">
            <a:xfrm rot="5400000" flipH="1">
              <a:off x="974" y="2117"/>
              <a:ext cx="314" cy="53"/>
            </a:xfrm>
            <a:custGeom>
              <a:avLst/>
              <a:gdLst>
                <a:gd name="T0" fmla="*/ 4 w 21600"/>
                <a:gd name="T1" fmla="*/ 0 h 21600"/>
                <a:gd name="T2" fmla="*/ 2 w 21600"/>
                <a:gd name="T3" fmla="*/ 0 h 21600"/>
                <a:gd name="T4" fmla="*/ 0 w 21600"/>
                <a:gd name="T5" fmla="*/ 0 h 21600"/>
                <a:gd name="T6" fmla="*/ 2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20 w 21600"/>
                <a:gd name="T13" fmla="*/ 2853 h 21600"/>
                <a:gd name="T14" fmla="*/ 18780 w 21600"/>
                <a:gd name="T15" fmla="*/ 1874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76" y="21600"/>
                  </a:lnTo>
                  <a:lnTo>
                    <a:pt x="19524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  <p:sp>
          <p:nvSpPr>
            <p:cNvPr id="88" name="Rectangle 329"/>
            <p:cNvSpPr>
              <a:spLocks noChangeArrowheads="1"/>
            </p:cNvSpPr>
            <p:nvPr/>
          </p:nvSpPr>
          <p:spPr bwMode="auto">
            <a:xfrm flipH="1">
              <a:off x="957" y="2017"/>
              <a:ext cx="153" cy="256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  <p:sp>
          <p:nvSpPr>
            <p:cNvPr id="89" name="Rectangle 330"/>
            <p:cNvSpPr>
              <a:spLocks noChangeArrowheads="1"/>
            </p:cNvSpPr>
            <p:nvPr/>
          </p:nvSpPr>
          <p:spPr bwMode="auto">
            <a:xfrm flipH="1">
              <a:off x="1158" y="1985"/>
              <a:ext cx="55" cy="318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</p:grpSp>
      <p:cxnSp>
        <p:nvCxnSpPr>
          <p:cNvPr id="90" name="Connettore 1 33"/>
          <p:cNvCxnSpPr>
            <a:stCxn id="84" idx="1"/>
            <a:endCxn id="84" idx="3"/>
          </p:cNvCxnSpPr>
          <p:nvPr/>
        </p:nvCxnSpPr>
        <p:spPr>
          <a:xfrm>
            <a:off x="6598363" y="2354306"/>
            <a:ext cx="497618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lg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91" name="Freccia curva 2"/>
          <p:cNvSpPr/>
          <p:nvPr/>
        </p:nvSpPr>
        <p:spPr>
          <a:xfrm flipV="1">
            <a:off x="3898825" y="3699870"/>
            <a:ext cx="73511" cy="758186"/>
          </a:xfrm>
          <a:custGeom>
            <a:avLst/>
            <a:gdLst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404499 h 2651760"/>
              <a:gd name="connsiteX6" fmla="*/ 4432678 w 4432678"/>
              <a:gd name="connsiteY6" fmla="*/ 808999 h 2651760"/>
              <a:gd name="connsiteX7" fmla="*/ 4432678 w 4432678"/>
              <a:gd name="connsiteY7" fmla="*/ 533720 h 2651760"/>
              <a:gd name="connsiteX8" fmla="*/ 575856 w 4432678"/>
              <a:gd name="connsiteY8" fmla="*/ 533720 h 2651760"/>
              <a:gd name="connsiteX9" fmla="*/ 258440 w 4432678"/>
              <a:gd name="connsiteY9" fmla="*/ 851136 h 2651760"/>
              <a:gd name="connsiteX10" fmla="*/ 258441 w 4432678"/>
              <a:gd name="connsiteY10" fmla="*/ 2651760 h 2651760"/>
              <a:gd name="connsiteX11" fmla="*/ 0 w 4432678"/>
              <a:gd name="connsiteY11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808999 h 2651760"/>
              <a:gd name="connsiteX6" fmla="*/ 4432678 w 4432678"/>
              <a:gd name="connsiteY6" fmla="*/ 533720 h 2651760"/>
              <a:gd name="connsiteX7" fmla="*/ 575856 w 4432678"/>
              <a:gd name="connsiteY7" fmla="*/ 533720 h 2651760"/>
              <a:gd name="connsiteX8" fmla="*/ 258440 w 4432678"/>
              <a:gd name="connsiteY8" fmla="*/ 851136 h 2651760"/>
              <a:gd name="connsiteX9" fmla="*/ 258441 w 4432678"/>
              <a:gd name="connsiteY9" fmla="*/ 2651760 h 2651760"/>
              <a:gd name="connsiteX10" fmla="*/ 0 w 4432678"/>
              <a:gd name="connsiteY10" fmla="*/ 2651760 h 2651760"/>
              <a:gd name="connsiteX0" fmla="*/ 0 w 4432678"/>
              <a:gd name="connsiteY0" fmla="*/ 2651760 h 2651760"/>
              <a:gd name="connsiteX1" fmla="*/ 0 w 4432678"/>
              <a:gd name="connsiteY1" fmla="*/ 851135 h 2651760"/>
              <a:gd name="connsiteX2" fmla="*/ 575856 w 4432678"/>
              <a:gd name="connsiteY2" fmla="*/ 275279 h 2651760"/>
              <a:gd name="connsiteX3" fmla="*/ 4432678 w 4432678"/>
              <a:gd name="connsiteY3" fmla="*/ 275279 h 2651760"/>
              <a:gd name="connsiteX4" fmla="*/ 4432678 w 4432678"/>
              <a:gd name="connsiteY4" fmla="*/ 0 h 2651760"/>
              <a:gd name="connsiteX5" fmla="*/ 4432678 w 4432678"/>
              <a:gd name="connsiteY5" fmla="*/ 533720 h 2651760"/>
              <a:gd name="connsiteX6" fmla="*/ 575856 w 4432678"/>
              <a:gd name="connsiteY6" fmla="*/ 533720 h 2651760"/>
              <a:gd name="connsiteX7" fmla="*/ 258440 w 4432678"/>
              <a:gd name="connsiteY7" fmla="*/ 851136 h 2651760"/>
              <a:gd name="connsiteX8" fmla="*/ 258441 w 4432678"/>
              <a:gd name="connsiteY8" fmla="*/ 2651760 h 2651760"/>
              <a:gd name="connsiteX9" fmla="*/ 0 w 4432678"/>
              <a:gd name="connsiteY9" fmla="*/ 2651760 h 2651760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4432678 w 4432678"/>
              <a:gd name="connsiteY3" fmla="*/ 0 h 2376481"/>
              <a:gd name="connsiteX4" fmla="*/ 4432678 w 4432678"/>
              <a:gd name="connsiteY4" fmla="*/ 258441 h 2376481"/>
              <a:gd name="connsiteX5" fmla="*/ 575856 w 4432678"/>
              <a:gd name="connsiteY5" fmla="*/ 258441 h 2376481"/>
              <a:gd name="connsiteX6" fmla="*/ 258440 w 4432678"/>
              <a:gd name="connsiteY6" fmla="*/ 575857 h 2376481"/>
              <a:gd name="connsiteX7" fmla="*/ 258441 w 4432678"/>
              <a:gd name="connsiteY7" fmla="*/ 2376481 h 2376481"/>
              <a:gd name="connsiteX8" fmla="*/ 0 w 4432678"/>
              <a:gd name="connsiteY8" fmla="*/ 2376481 h 2376481"/>
              <a:gd name="connsiteX0" fmla="*/ 0 w 4432703"/>
              <a:gd name="connsiteY0" fmla="*/ 2376481 h 2376481"/>
              <a:gd name="connsiteX1" fmla="*/ 0 w 4432703"/>
              <a:gd name="connsiteY1" fmla="*/ 575856 h 2376481"/>
              <a:gd name="connsiteX2" fmla="*/ 575856 w 4432703"/>
              <a:gd name="connsiteY2" fmla="*/ 0 h 2376481"/>
              <a:gd name="connsiteX3" fmla="*/ 4432678 w 4432703"/>
              <a:gd name="connsiteY3" fmla="*/ 0 h 2376481"/>
              <a:gd name="connsiteX4" fmla="*/ 4390707 w 4432703"/>
              <a:gd name="connsiteY4" fmla="*/ 154488 h 2376481"/>
              <a:gd name="connsiteX5" fmla="*/ 4432678 w 4432703"/>
              <a:gd name="connsiteY5" fmla="*/ 258441 h 2376481"/>
              <a:gd name="connsiteX6" fmla="*/ 575856 w 4432703"/>
              <a:gd name="connsiteY6" fmla="*/ 258441 h 2376481"/>
              <a:gd name="connsiteX7" fmla="*/ 258440 w 4432703"/>
              <a:gd name="connsiteY7" fmla="*/ 575857 h 2376481"/>
              <a:gd name="connsiteX8" fmla="*/ 258441 w 4432703"/>
              <a:gd name="connsiteY8" fmla="*/ 2376481 h 2376481"/>
              <a:gd name="connsiteX9" fmla="*/ 0 w 4432703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43907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4432678"/>
              <a:gd name="connsiteY0" fmla="*/ 2376481 h 2376481"/>
              <a:gd name="connsiteX1" fmla="*/ 0 w 4432678"/>
              <a:gd name="connsiteY1" fmla="*/ 575856 h 2376481"/>
              <a:gd name="connsiteX2" fmla="*/ 575856 w 4432678"/>
              <a:gd name="connsiteY2" fmla="*/ 0 h 2376481"/>
              <a:gd name="connsiteX3" fmla="*/ 2567302 w 4432678"/>
              <a:gd name="connsiteY3" fmla="*/ 0 h 2376481"/>
              <a:gd name="connsiteX4" fmla="*/ 2561907 w 4432678"/>
              <a:gd name="connsiteY4" fmla="*/ 154488 h 2376481"/>
              <a:gd name="connsiteX5" fmla="*/ 4432678 w 4432678"/>
              <a:gd name="connsiteY5" fmla="*/ 258441 h 2376481"/>
              <a:gd name="connsiteX6" fmla="*/ 575856 w 4432678"/>
              <a:gd name="connsiteY6" fmla="*/ 258441 h 2376481"/>
              <a:gd name="connsiteX7" fmla="*/ 258440 w 4432678"/>
              <a:gd name="connsiteY7" fmla="*/ 575857 h 2376481"/>
              <a:gd name="connsiteX8" fmla="*/ 258441 w 4432678"/>
              <a:gd name="connsiteY8" fmla="*/ 2376481 h 2376481"/>
              <a:gd name="connsiteX9" fmla="*/ 0 w 4432678"/>
              <a:gd name="connsiteY9" fmla="*/ 2376481 h 2376481"/>
              <a:gd name="connsiteX0" fmla="*/ 0 w 2658742"/>
              <a:gd name="connsiteY0" fmla="*/ 2376481 h 2376481"/>
              <a:gd name="connsiteX1" fmla="*/ 0 w 2658742"/>
              <a:gd name="connsiteY1" fmla="*/ 575856 h 2376481"/>
              <a:gd name="connsiteX2" fmla="*/ 575856 w 2658742"/>
              <a:gd name="connsiteY2" fmla="*/ 0 h 2376481"/>
              <a:gd name="connsiteX3" fmla="*/ 2567302 w 2658742"/>
              <a:gd name="connsiteY3" fmla="*/ 0 h 2376481"/>
              <a:gd name="connsiteX4" fmla="*/ 2561907 w 2658742"/>
              <a:gd name="connsiteY4" fmla="*/ 154488 h 2376481"/>
              <a:gd name="connsiteX5" fmla="*/ 2658742 w 2658742"/>
              <a:gd name="connsiteY5" fmla="*/ 249297 h 2376481"/>
              <a:gd name="connsiteX6" fmla="*/ 575856 w 2658742"/>
              <a:gd name="connsiteY6" fmla="*/ 258441 h 2376481"/>
              <a:gd name="connsiteX7" fmla="*/ 258440 w 2658742"/>
              <a:gd name="connsiteY7" fmla="*/ 575857 h 2376481"/>
              <a:gd name="connsiteX8" fmla="*/ 258441 w 2658742"/>
              <a:gd name="connsiteY8" fmla="*/ 2376481 h 2376481"/>
              <a:gd name="connsiteX9" fmla="*/ 0 w 2658742"/>
              <a:gd name="connsiteY9" fmla="*/ 2376481 h 2376481"/>
              <a:gd name="connsiteX0" fmla="*/ 6 w 2658748"/>
              <a:gd name="connsiteY0" fmla="*/ 2376481 h 2376481"/>
              <a:gd name="connsiteX1" fmla="*/ 27120 w 2658748"/>
              <a:gd name="connsiteY1" fmla="*/ 2082729 h 2376481"/>
              <a:gd name="connsiteX2" fmla="*/ 6 w 2658748"/>
              <a:gd name="connsiteY2" fmla="*/ 575856 h 2376481"/>
              <a:gd name="connsiteX3" fmla="*/ 575862 w 2658748"/>
              <a:gd name="connsiteY3" fmla="*/ 0 h 2376481"/>
              <a:gd name="connsiteX4" fmla="*/ 2567308 w 2658748"/>
              <a:gd name="connsiteY4" fmla="*/ 0 h 2376481"/>
              <a:gd name="connsiteX5" fmla="*/ 2561913 w 2658748"/>
              <a:gd name="connsiteY5" fmla="*/ 154488 h 2376481"/>
              <a:gd name="connsiteX6" fmla="*/ 2658748 w 2658748"/>
              <a:gd name="connsiteY6" fmla="*/ 249297 h 2376481"/>
              <a:gd name="connsiteX7" fmla="*/ 575862 w 2658748"/>
              <a:gd name="connsiteY7" fmla="*/ 258441 h 2376481"/>
              <a:gd name="connsiteX8" fmla="*/ 258446 w 2658748"/>
              <a:gd name="connsiteY8" fmla="*/ 575857 h 2376481"/>
              <a:gd name="connsiteX9" fmla="*/ 258447 w 2658748"/>
              <a:gd name="connsiteY9" fmla="*/ 2376481 h 2376481"/>
              <a:gd name="connsiteX10" fmla="*/ 6 w 2658748"/>
              <a:gd name="connsiteY10" fmla="*/ 2376481 h 2376481"/>
              <a:gd name="connsiteX0" fmla="*/ 10986 w 2669728"/>
              <a:gd name="connsiteY0" fmla="*/ 2376481 h 2376481"/>
              <a:gd name="connsiteX1" fmla="*/ 38100 w 2669728"/>
              <a:gd name="connsiteY1" fmla="*/ 2082729 h 2376481"/>
              <a:gd name="connsiteX2" fmla="*/ 0 w 2669728"/>
              <a:gd name="connsiteY2" fmla="*/ 1887466 h 2376481"/>
              <a:gd name="connsiteX3" fmla="*/ 10986 w 2669728"/>
              <a:gd name="connsiteY3" fmla="*/ 575856 h 2376481"/>
              <a:gd name="connsiteX4" fmla="*/ 586842 w 2669728"/>
              <a:gd name="connsiteY4" fmla="*/ 0 h 2376481"/>
              <a:gd name="connsiteX5" fmla="*/ 2578288 w 2669728"/>
              <a:gd name="connsiteY5" fmla="*/ 0 h 2376481"/>
              <a:gd name="connsiteX6" fmla="*/ 2572893 w 2669728"/>
              <a:gd name="connsiteY6" fmla="*/ 154488 h 2376481"/>
              <a:gd name="connsiteX7" fmla="*/ 2669728 w 2669728"/>
              <a:gd name="connsiteY7" fmla="*/ 249297 h 2376481"/>
              <a:gd name="connsiteX8" fmla="*/ 586842 w 2669728"/>
              <a:gd name="connsiteY8" fmla="*/ 258441 h 2376481"/>
              <a:gd name="connsiteX9" fmla="*/ 269426 w 2669728"/>
              <a:gd name="connsiteY9" fmla="*/ 575857 h 2376481"/>
              <a:gd name="connsiteX10" fmla="*/ 269427 w 2669728"/>
              <a:gd name="connsiteY10" fmla="*/ 2376481 h 2376481"/>
              <a:gd name="connsiteX11" fmla="*/ 10986 w 2669728"/>
              <a:gd name="connsiteY11" fmla="*/ 2376481 h 2376481"/>
              <a:gd name="connsiteX0" fmla="*/ 10986 w 2669728"/>
              <a:gd name="connsiteY0" fmla="*/ 2376481 h 2376481"/>
              <a:gd name="connsiteX1" fmla="*/ 38100 w 2669728"/>
              <a:gd name="connsiteY1" fmla="*/ 2082729 h 2376481"/>
              <a:gd name="connsiteX2" fmla="*/ 0 w 2669728"/>
              <a:gd name="connsiteY2" fmla="*/ 1887466 h 2376481"/>
              <a:gd name="connsiteX3" fmla="*/ 42863 w 2669728"/>
              <a:gd name="connsiteY3" fmla="*/ 1306441 h 2376481"/>
              <a:gd name="connsiteX4" fmla="*/ 10986 w 2669728"/>
              <a:gd name="connsiteY4" fmla="*/ 575856 h 2376481"/>
              <a:gd name="connsiteX5" fmla="*/ 586842 w 2669728"/>
              <a:gd name="connsiteY5" fmla="*/ 0 h 2376481"/>
              <a:gd name="connsiteX6" fmla="*/ 2578288 w 2669728"/>
              <a:gd name="connsiteY6" fmla="*/ 0 h 2376481"/>
              <a:gd name="connsiteX7" fmla="*/ 2572893 w 2669728"/>
              <a:gd name="connsiteY7" fmla="*/ 154488 h 2376481"/>
              <a:gd name="connsiteX8" fmla="*/ 2669728 w 2669728"/>
              <a:gd name="connsiteY8" fmla="*/ 249297 h 2376481"/>
              <a:gd name="connsiteX9" fmla="*/ 586842 w 2669728"/>
              <a:gd name="connsiteY9" fmla="*/ 258441 h 2376481"/>
              <a:gd name="connsiteX10" fmla="*/ 269426 w 2669728"/>
              <a:gd name="connsiteY10" fmla="*/ 575857 h 2376481"/>
              <a:gd name="connsiteX11" fmla="*/ 269427 w 2669728"/>
              <a:gd name="connsiteY11" fmla="*/ 2376481 h 2376481"/>
              <a:gd name="connsiteX12" fmla="*/ 10986 w 2669728"/>
              <a:gd name="connsiteY12" fmla="*/ 2376481 h 2376481"/>
              <a:gd name="connsiteX0" fmla="*/ 20511 w 2679253"/>
              <a:gd name="connsiteY0" fmla="*/ 2376481 h 2376481"/>
              <a:gd name="connsiteX1" fmla="*/ 47625 w 2679253"/>
              <a:gd name="connsiteY1" fmla="*/ 2082729 h 2376481"/>
              <a:gd name="connsiteX2" fmla="*/ 9525 w 2679253"/>
              <a:gd name="connsiteY2" fmla="*/ 1887466 h 2376481"/>
              <a:gd name="connsiteX3" fmla="*/ 52388 w 2679253"/>
              <a:gd name="connsiteY3" fmla="*/ 1306441 h 2376481"/>
              <a:gd name="connsiteX4" fmla="*/ 0 w 2679253"/>
              <a:gd name="connsiteY4" fmla="*/ 939729 h 2376481"/>
              <a:gd name="connsiteX5" fmla="*/ 20511 w 2679253"/>
              <a:gd name="connsiteY5" fmla="*/ 575856 h 2376481"/>
              <a:gd name="connsiteX6" fmla="*/ 596367 w 2679253"/>
              <a:gd name="connsiteY6" fmla="*/ 0 h 2376481"/>
              <a:gd name="connsiteX7" fmla="*/ 2587813 w 2679253"/>
              <a:gd name="connsiteY7" fmla="*/ 0 h 2376481"/>
              <a:gd name="connsiteX8" fmla="*/ 2582418 w 2679253"/>
              <a:gd name="connsiteY8" fmla="*/ 154488 h 2376481"/>
              <a:gd name="connsiteX9" fmla="*/ 2679253 w 2679253"/>
              <a:gd name="connsiteY9" fmla="*/ 249297 h 2376481"/>
              <a:gd name="connsiteX10" fmla="*/ 596367 w 2679253"/>
              <a:gd name="connsiteY10" fmla="*/ 258441 h 2376481"/>
              <a:gd name="connsiteX11" fmla="*/ 278951 w 2679253"/>
              <a:gd name="connsiteY11" fmla="*/ 575857 h 2376481"/>
              <a:gd name="connsiteX12" fmla="*/ 278952 w 2679253"/>
              <a:gd name="connsiteY12" fmla="*/ 2376481 h 2376481"/>
              <a:gd name="connsiteX13" fmla="*/ 20511 w 2679253"/>
              <a:gd name="connsiteY13" fmla="*/ 2376481 h 2376481"/>
              <a:gd name="connsiteX0" fmla="*/ 20511 w 2679253"/>
              <a:gd name="connsiteY0" fmla="*/ 2376481 h 2376481"/>
              <a:gd name="connsiteX1" fmla="*/ 47625 w 2679253"/>
              <a:gd name="connsiteY1" fmla="*/ 2082729 h 2376481"/>
              <a:gd name="connsiteX2" fmla="*/ 9525 w 2679253"/>
              <a:gd name="connsiteY2" fmla="*/ 1887466 h 2376481"/>
              <a:gd name="connsiteX3" fmla="*/ 52388 w 2679253"/>
              <a:gd name="connsiteY3" fmla="*/ 1306441 h 2376481"/>
              <a:gd name="connsiteX4" fmla="*/ 0 w 2679253"/>
              <a:gd name="connsiteY4" fmla="*/ 939729 h 2376481"/>
              <a:gd name="connsiteX5" fmla="*/ 20511 w 2679253"/>
              <a:gd name="connsiteY5" fmla="*/ 575856 h 2376481"/>
              <a:gd name="connsiteX6" fmla="*/ 596367 w 2679253"/>
              <a:gd name="connsiteY6" fmla="*/ 0 h 2376481"/>
              <a:gd name="connsiteX7" fmla="*/ 2587813 w 2679253"/>
              <a:gd name="connsiteY7" fmla="*/ 0 h 2376481"/>
              <a:gd name="connsiteX8" fmla="*/ 2582418 w 2679253"/>
              <a:gd name="connsiteY8" fmla="*/ 154488 h 2376481"/>
              <a:gd name="connsiteX9" fmla="*/ 2679253 w 2679253"/>
              <a:gd name="connsiteY9" fmla="*/ 249297 h 2376481"/>
              <a:gd name="connsiteX10" fmla="*/ 596367 w 2679253"/>
              <a:gd name="connsiteY10" fmla="*/ 258441 h 2376481"/>
              <a:gd name="connsiteX11" fmla="*/ 278951 w 2679253"/>
              <a:gd name="connsiteY11" fmla="*/ 575857 h 2376481"/>
              <a:gd name="connsiteX12" fmla="*/ 278952 w 2679253"/>
              <a:gd name="connsiteY12" fmla="*/ 2376481 h 2376481"/>
              <a:gd name="connsiteX13" fmla="*/ 20511 w 2679253"/>
              <a:gd name="connsiteY13" fmla="*/ 2376481 h 2376481"/>
              <a:gd name="connsiteX0" fmla="*/ 33888 w 2692630"/>
              <a:gd name="connsiteY0" fmla="*/ 2376481 h 2376481"/>
              <a:gd name="connsiteX1" fmla="*/ 61002 w 2692630"/>
              <a:gd name="connsiteY1" fmla="*/ 2082729 h 2376481"/>
              <a:gd name="connsiteX2" fmla="*/ 22902 w 2692630"/>
              <a:gd name="connsiteY2" fmla="*/ 1887466 h 2376481"/>
              <a:gd name="connsiteX3" fmla="*/ 65765 w 2692630"/>
              <a:gd name="connsiteY3" fmla="*/ 1306441 h 2376481"/>
              <a:gd name="connsiteX4" fmla="*/ 13377 w 2692630"/>
              <a:gd name="connsiteY4" fmla="*/ 939729 h 2376481"/>
              <a:gd name="connsiteX5" fmla="*/ 550 w 2692630"/>
              <a:gd name="connsiteY5" fmla="*/ 571094 h 2376481"/>
              <a:gd name="connsiteX6" fmla="*/ 609744 w 2692630"/>
              <a:gd name="connsiteY6" fmla="*/ 0 h 2376481"/>
              <a:gd name="connsiteX7" fmla="*/ 2601190 w 2692630"/>
              <a:gd name="connsiteY7" fmla="*/ 0 h 2376481"/>
              <a:gd name="connsiteX8" fmla="*/ 2595795 w 2692630"/>
              <a:gd name="connsiteY8" fmla="*/ 154488 h 2376481"/>
              <a:gd name="connsiteX9" fmla="*/ 2692630 w 2692630"/>
              <a:gd name="connsiteY9" fmla="*/ 249297 h 2376481"/>
              <a:gd name="connsiteX10" fmla="*/ 609744 w 2692630"/>
              <a:gd name="connsiteY10" fmla="*/ 258441 h 2376481"/>
              <a:gd name="connsiteX11" fmla="*/ 292328 w 2692630"/>
              <a:gd name="connsiteY11" fmla="*/ 575857 h 2376481"/>
              <a:gd name="connsiteX12" fmla="*/ 292329 w 2692630"/>
              <a:gd name="connsiteY12" fmla="*/ 2376481 h 2376481"/>
              <a:gd name="connsiteX13" fmla="*/ 33888 w 2692630"/>
              <a:gd name="connsiteY13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621210 w 2704096"/>
              <a:gd name="connsiteY7" fmla="*/ 0 h 2376481"/>
              <a:gd name="connsiteX8" fmla="*/ 2612656 w 2704096"/>
              <a:gd name="connsiteY8" fmla="*/ 0 h 2376481"/>
              <a:gd name="connsiteX9" fmla="*/ 2607261 w 2704096"/>
              <a:gd name="connsiteY9" fmla="*/ 154488 h 2376481"/>
              <a:gd name="connsiteX10" fmla="*/ 2704096 w 2704096"/>
              <a:gd name="connsiteY10" fmla="*/ 249297 h 2376481"/>
              <a:gd name="connsiteX11" fmla="*/ 621210 w 2704096"/>
              <a:gd name="connsiteY11" fmla="*/ 258441 h 2376481"/>
              <a:gd name="connsiteX12" fmla="*/ 303794 w 2704096"/>
              <a:gd name="connsiteY12" fmla="*/ 575857 h 2376481"/>
              <a:gd name="connsiteX13" fmla="*/ 303795 w 2704096"/>
              <a:gd name="connsiteY13" fmla="*/ 2376481 h 2376481"/>
              <a:gd name="connsiteX14" fmla="*/ 45354 w 2704096"/>
              <a:gd name="connsiteY14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621210 w 2704096"/>
              <a:gd name="connsiteY7" fmla="*/ 0 h 2376481"/>
              <a:gd name="connsiteX8" fmla="*/ 1601232 w 2704096"/>
              <a:gd name="connsiteY8" fmla="*/ 1516 h 2376481"/>
              <a:gd name="connsiteX9" fmla="*/ 2612656 w 2704096"/>
              <a:gd name="connsiteY9" fmla="*/ 0 h 2376481"/>
              <a:gd name="connsiteX10" fmla="*/ 2607261 w 2704096"/>
              <a:gd name="connsiteY10" fmla="*/ 154488 h 2376481"/>
              <a:gd name="connsiteX11" fmla="*/ 2704096 w 2704096"/>
              <a:gd name="connsiteY11" fmla="*/ 249297 h 2376481"/>
              <a:gd name="connsiteX12" fmla="*/ 621210 w 2704096"/>
              <a:gd name="connsiteY12" fmla="*/ 258441 h 2376481"/>
              <a:gd name="connsiteX13" fmla="*/ 303794 w 2704096"/>
              <a:gd name="connsiteY13" fmla="*/ 575857 h 2376481"/>
              <a:gd name="connsiteX14" fmla="*/ 303795 w 2704096"/>
              <a:gd name="connsiteY14" fmla="*/ 2376481 h 2376481"/>
              <a:gd name="connsiteX15" fmla="*/ 45354 w 2704096"/>
              <a:gd name="connsiteY15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353457 w 2704096"/>
              <a:gd name="connsiteY7" fmla="*/ 111054 h 2376481"/>
              <a:gd name="connsiteX8" fmla="*/ 621210 w 2704096"/>
              <a:gd name="connsiteY8" fmla="*/ 0 h 2376481"/>
              <a:gd name="connsiteX9" fmla="*/ 1601232 w 2704096"/>
              <a:gd name="connsiteY9" fmla="*/ 1516 h 2376481"/>
              <a:gd name="connsiteX10" fmla="*/ 2612656 w 2704096"/>
              <a:gd name="connsiteY10" fmla="*/ 0 h 2376481"/>
              <a:gd name="connsiteX11" fmla="*/ 2607261 w 2704096"/>
              <a:gd name="connsiteY11" fmla="*/ 154488 h 2376481"/>
              <a:gd name="connsiteX12" fmla="*/ 2704096 w 2704096"/>
              <a:gd name="connsiteY12" fmla="*/ 249297 h 2376481"/>
              <a:gd name="connsiteX13" fmla="*/ 621210 w 2704096"/>
              <a:gd name="connsiteY13" fmla="*/ 258441 h 2376481"/>
              <a:gd name="connsiteX14" fmla="*/ 303794 w 2704096"/>
              <a:gd name="connsiteY14" fmla="*/ 575857 h 2376481"/>
              <a:gd name="connsiteX15" fmla="*/ 303795 w 2704096"/>
              <a:gd name="connsiteY15" fmla="*/ 2376481 h 2376481"/>
              <a:gd name="connsiteX16" fmla="*/ 45354 w 2704096"/>
              <a:gd name="connsiteY16" fmla="*/ 2376481 h 2376481"/>
              <a:gd name="connsiteX0" fmla="*/ 45354 w 2704096"/>
              <a:gd name="connsiteY0" fmla="*/ 2376481 h 2376481"/>
              <a:gd name="connsiteX1" fmla="*/ 72468 w 2704096"/>
              <a:gd name="connsiteY1" fmla="*/ 2082729 h 2376481"/>
              <a:gd name="connsiteX2" fmla="*/ 34368 w 2704096"/>
              <a:gd name="connsiteY2" fmla="*/ 1887466 h 2376481"/>
              <a:gd name="connsiteX3" fmla="*/ 77231 w 2704096"/>
              <a:gd name="connsiteY3" fmla="*/ 1306441 h 2376481"/>
              <a:gd name="connsiteX4" fmla="*/ 24843 w 2704096"/>
              <a:gd name="connsiteY4" fmla="*/ 939729 h 2376481"/>
              <a:gd name="connsiteX5" fmla="*/ 12016 w 2704096"/>
              <a:gd name="connsiteY5" fmla="*/ 571094 h 2376481"/>
              <a:gd name="connsiteX6" fmla="*/ 62944 w 2704096"/>
              <a:gd name="connsiteY6" fmla="*/ 434904 h 2376481"/>
              <a:gd name="connsiteX7" fmla="*/ 191532 w 2704096"/>
              <a:gd name="connsiteY7" fmla="*/ 239641 h 2376481"/>
              <a:gd name="connsiteX8" fmla="*/ 353457 w 2704096"/>
              <a:gd name="connsiteY8" fmla="*/ 111054 h 2376481"/>
              <a:gd name="connsiteX9" fmla="*/ 621210 w 2704096"/>
              <a:gd name="connsiteY9" fmla="*/ 0 h 2376481"/>
              <a:gd name="connsiteX10" fmla="*/ 1601232 w 2704096"/>
              <a:gd name="connsiteY10" fmla="*/ 1516 h 2376481"/>
              <a:gd name="connsiteX11" fmla="*/ 2612656 w 2704096"/>
              <a:gd name="connsiteY11" fmla="*/ 0 h 2376481"/>
              <a:gd name="connsiteX12" fmla="*/ 2607261 w 2704096"/>
              <a:gd name="connsiteY12" fmla="*/ 154488 h 2376481"/>
              <a:gd name="connsiteX13" fmla="*/ 2704096 w 2704096"/>
              <a:gd name="connsiteY13" fmla="*/ 249297 h 2376481"/>
              <a:gd name="connsiteX14" fmla="*/ 621210 w 2704096"/>
              <a:gd name="connsiteY14" fmla="*/ 258441 h 2376481"/>
              <a:gd name="connsiteX15" fmla="*/ 303794 w 2704096"/>
              <a:gd name="connsiteY15" fmla="*/ 575857 h 2376481"/>
              <a:gd name="connsiteX16" fmla="*/ 303795 w 2704096"/>
              <a:gd name="connsiteY16" fmla="*/ 2376481 h 2376481"/>
              <a:gd name="connsiteX17" fmla="*/ 45354 w 2704096"/>
              <a:gd name="connsiteY17" fmla="*/ 2376481 h 2376481"/>
              <a:gd name="connsiteX0" fmla="*/ 45354 w 2704096"/>
              <a:gd name="connsiteY0" fmla="*/ 2403540 h 2403540"/>
              <a:gd name="connsiteX1" fmla="*/ 72468 w 2704096"/>
              <a:gd name="connsiteY1" fmla="*/ 2109788 h 2403540"/>
              <a:gd name="connsiteX2" fmla="*/ 34368 w 2704096"/>
              <a:gd name="connsiteY2" fmla="*/ 1914525 h 2403540"/>
              <a:gd name="connsiteX3" fmla="*/ 77231 w 2704096"/>
              <a:gd name="connsiteY3" fmla="*/ 1333500 h 2403540"/>
              <a:gd name="connsiteX4" fmla="*/ 24843 w 2704096"/>
              <a:gd name="connsiteY4" fmla="*/ 966788 h 2403540"/>
              <a:gd name="connsiteX5" fmla="*/ 12016 w 2704096"/>
              <a:gd name="connsiteY5" fmla="*/ 598153 h 2403540"/>
              <a:gd name="connsiteX6" fmla="*/ 62944 w 2704096"/>
              <a:gd name="connsiteY6" fmla="*/ 461963 h 2403540"/>
              <a:gd name="connsiteX7" fmla="*/ 191532 w 2704096"/>
              <a:gd name="connsiteY7" fmla="*/ 266700 h 2403540"/>
              <a:gd name="connsiteX8" fmla="*/ 353457 w 2704096"/>
              <a:gd name="connsiteY8" fmla="*/ 138113 h 2403540"/>
              <a:gd name="connsiteX9" fmla="*/ 621210 w 2704096"/>
              <a:gd name="connsiteY9" fmla="*/ 27059 h 2403540"/>
              <a:gd name="connsiteX10" fmla="*/ 1601232 w 2704096"/>
              <a:gd name="connsiteY10" fmla="*/ 28575 h 2403540"/>
              <a:gd name="connsiteX11" fmla="*/ 1882219 w 2704096"/>
              <a:gd name="connsiteY11" fmla="*/ 0 h 2403540"/>
              <a:gd name="connsiteX12" fmla="*/ 2612656 w 2704096"/>
              <a:gd name="connsiteY12" fmla="*/ 27059 h 2403540"/>
              <a:gd name="connsiteX13" fmla="*/ 2607261 w 2704096"/>
              <a:gd name="connsiteY13" fmla="*/ 181547 h 2403540"/>
              <a:gd name="connsiteX14" fmla="*/ 2704096 w 2704096"/>
              <a:gd name="connsiteY14" fmla="*/ 276356 h 2403540"/>
              <a:gd name="connsiteX15" fmla="*/ 621210 w 2704096"/>
              <a:gd name="connsiteY15" fmla="*/ 285500 h 2403540"/>
              <a:gd name="connsiteX16" fmla="*/ 303794 w 2704096"/>
              <a:gd name="connsiteY16" fmla="*/ 602916 h 2403540"/>
              <a:gd name="connsiteX17" fmla="*/ 303795 w 2704096"/>
              <a:gd name="connsiteY17" fmla="*/ 2403540 h 2403540"/>
              <a:gd name="connsiteX18" fmla="*/ 45354 w 2704096"/>
              <a:gd name="connsiteY18" fmla="*/ 2403540 h 2403540"/>
              <a:gd name="connsiteX0" fmla="*/ 45354 w 2704096"/>
              <a:gd name="connsiteY0" fmla="*/ 2403540 h 2403540"/>
              <a:gd name="connsiteX1" fmla="*/ 72468 w 2704096"/>
              <a:gd name="connsiteY1" fmla="*/ 2109788 h 2403540"/>
              <a:gd name="connsiteX2" fmla="*/ 34368 w 2704096"/>
              <a:gd name="connsiteY2" fmla="*/ 1914525 h 2403540"/>
              <a:gd name="connsiteX3" fmla="*/ 77231 w 2704096"/>
              <a:gd name="connsiteY3" fmla="*/ 1333500 h 2403540"/>
              <a:gd name="connsiteX4" fmla="*/ 24843 w 2704096"/>
              <a:gd name="connsiteY4" fmla="*/ 966788 h 2403540"/>
              <a:gd name="connsiteX5" fmla="*/ 12016 w 2704096"/>
              <a:gd name="connsiteY5" fmla="*/ 598153 h 2403540"/>
              <a:gd name="connsiteX6" fmla="*/ 62944 w 2704096"/>
              <a:gd name="connsiteY6" fmla="*/ 461963 h 2403540"/>
              <a:gd name="connsiteX7" fmla="*/ 191532 w 2704096"/>
              <a:gd name="connsiteY7" fmla="*/ 266700 h 2403540"/>
              <a:gd name="connsiteX8" fmla="*/ 353457 w 2704096"/>
              <a:gd name="connsiteY8" fmla="*/ 138113 h 2403540"/>
              <a:gd name="connsiteX9" fmla="*/ 621210 w 2704096"/>
              <a:gd name="connsiteY9" fmla="*/ 27059 h 2403540"/>
              <a:gd name="connsiteX10" fmla="*/ 1601232 w 2704096"/>
              <a:gd name="connsiteY10" fmla="*/ 28575 h 2403540"/>
              <a:gd name="connsiteX11" fmla="*/ 1882219 w 2704096"/>
              <a:gd name="connsiteY11" fmla="*/ 0 h 2403540"/>
              <a:gd name="connsiteX12" fmla="*/ 2210832 w 2704096"/>
              <a:gd name="connsiteY12" fmla="*/ 57151 h 2403540"/>
              <a:gd name="connsiteX13" fmla="*/ 2612656 w 2704096"/>
              <a:gd name="connsiteY13" fmla="*/ 27059 h 2403540"/>
              <a:gd name="connsiteX14" fmla="*/ 2607261 w 2704096"/>
              <a:gd name="connsiteY14" fmla="*/ 181547 h 2403540"/>
              <a:gd name="connsiteX15" fmla="*/ 2704096 w 2704096"/>
              <a:gd name="connsiteY15" fmla="*/ 276356 h 2403540"/>
              <a:gd name="connsiteX16" fmla="*/ 621210 w 2704096"/>
              <a:gd name="connsiteY16" fmla="*/ 285500 h 2403540"/>
              <a:gd name="connsiteX17" fmla="*/ 303794 w 2704096"/>
              <a:gd name="connsiteY17" fmla="*/ 602916 h 2403540"/>
              <a:gd name="connsiteX18" fmla="*/ 303795 w 2704096"/>
              <a:gd name="connsiteY18" fmla="*/ 2403540 h 2403540"/>
              <a:gd name="connsiteX19" fmla="*/ 45354 w 2704096"/>
              <a:gd name="connsiteY19" fmla="*/ 2403540 h 2403540"/>
              <a:gd name="connsiteX0" fmla="*/ 45354 w 2704096"/>
              <a:gd name="connsiteY0" fmla="*/ 2389253 h 2389253"/>
              <a:gd name="connsiteX1" fmla="*/ 72468 w 2704096"/>
              <a:gd name="connsiteY1" fmla="*/ 2095501 h 2389253"/>
              <a:gd name="connsiteX2" fmla="*/ 34368 w 2704096"/>
              <a:gd name="connsiteY2" fmla="*/ 1900238 h 2389253"/>
              <a:gd name="connsiteX3" fmla="*/ 77231 w 2704096"/>
              <a:gd name="connsiteY3" fmla="*/ 1319213 h 2389253"/>
              <a:gd name="connsiteX4" fmla="*/ 24843 w 2704096"/>
              <a:gd name="connsiteY4" fmla="*/ 952501 h 2389253"/>
              <a:gd name="connsiteX5" fmla="*/ 12016 w 2704096"/>
              <a:gd name="connsiteY5" fmla="*/ 583866 h 2389253"/>
              <a:gd name="connsiteX6" fmla="*/ 62944 w 2704096"/>
              <a:gd name="connsiteY6" fmla="*/ 447676 h 2389253"/>
              <a:gd name="connsiteX7" fmla="*/ 191532 w 2704096"/>
              <a:gd name="connsiteY7" fmla="*/ 252413 h 2389253"/>
              <a:gd name="connsiteX8" fmla="*/ 353457 w 2704096"/>
              <a:gd name="connsiteY8" fmla="*/ 123826 h 2389253"/>
              <a:gd name="connsiteX9" fmla="*/ 621210 w 2704096"/>
              <a:gd name="connsiteY9" fmla="*/ 12772 h 2389253"/>
              <a:gd name="connsiteX10" fmla="*/ 1601232 w 2704096"/>
              <a:gd name="connsiteY10" fmla="*/ 14288 h 2389253"/>
              <a:gd name="connsiteX11" fmla="*/ 1867932 w 2704096"/>
              <a:gd name="connsiteY11" fmla="*/ 0 h 2389253"/>
              <a:gd name="connsiteX12" fmla="*/ 2210832 w 2704096"/>
              <a:gd name="connsiteY12" fmla="*/ 42864 h 2389253"/>
              <a:gd name="connsiteX13" fmla="*/ 2612656 w 2704096"/>
              <a:gd name="connsiteY13" fmla="*/ 12772 h 2389253"/>
              <a:gd name="connsiteX14" fmla="*/ 2607261 w 2704096"/>
              <a:gd name="connsiteY14" fmla="*/ 167260 h 2389253"/>
              <a:gd name="connsiteX15" fmla="*/ 2704096 w 2704096"/>
              <a:gd name="connsiteY15" fmla="*/ 262069 h 2389253"/>
              <a:gd name="connsiteX16" fmla="*/ 621210 w 2704096"/>
              <a:gd name="connsiteY16" fmla="*/ 271213 h 2389253"/>
              <a:gd name="connsiteX17" fmla="*/ 303794 w 2704096"/>
              <a:gd name="connsiteY17" fmla="*/ 588629 h 2389253"/>
              <a:gd name="connsiteX18" fmla="*/ 303795 w 2704096"/>
              <a:gd name="connsiteY18" fmla="*/ 2389253 h 2389253"/>
              <a:gd name="connsiteX19" fmla="*/ 45354 w 2704096"/>
              <a:gd name="connsiteY19" fmla="*/ 2389253 h 2389253"/>
              <a:gd name="connsiteX0" fmla="*/ 45354 w 2704096"/>
              <a:gd name="connsiteY0" fmla="*/ 2389253 h 2389253"/>
              <a:gd name="connsiteX1" fmla="*/ 72468 w 2704096"/>
              <a:gd name="connsiteY1" fmla="*/ 2095501 h 2389253"/>
              <a:gd name="connsiteX2" fmla="*/ 34368 w 2704096"/>
              <a:gd name="connsiteY2" fmla="*/ 1900238 h 2389253"/>
              <a:gd name="connsiteX3" fmla="*/ 77231 w 2704096"/>
              <a:gd name="connsiteY3" fmla="*/ 1319213 h 2389253"/>
              <a:gd name="connsiteX4" fmla="*/ 24843 w 2704096"/>
              <a:gd name="connsiteY4" fmla="*/ 952501 h 2389253"/>
              <a:gd name="connsiteX5" fmla="*/ 12016 w 2704096"/>
              <a:gd name="connsiteY5" fmla="*/ 583866 h 2389253"/>
              <a:gd name="connsiteX6" fmla="*/ 62944 w 2704096"/>
              <a:gd name="connsiteY6" fmla="*/ 447676 h 2389253"/>
              <a:gd name="connsiteX7" fmla="*/ 191532 w 2704096"/>
              <a:gd name="connsiteY7" fmla="*/ 252413 h 2389253"/>
              <a:gd name="connsiteX8" fmla="*/ 353457 w 2704096"/>
              <a:gd name="connsiteY8" fmla="*/ 123826 h 2389253"/>
              <a:gd name="connsiteX9" fmla="*/ 621210 w 2704096"/>
              <a:gd name="connsiteY9" fmla="*/ 12772 h 2389253"/>
              <a:gd name="connsiteX10" fmla="*/ 1339294 w 2704096"/>
              <a:gd name="connsiteY10" fmla="*/ 33338 h 2389253"/>
              <a:gd name="connsiteX11" fmla="*/ 1601232 w 2704096"/>
              <a:gd name="connsiteY11" fmla="*/ 14288 h 2389253"/>
              <a:gd name="connsiteX12" fmla="*/ 1867932 w 2704096"/>
              <a:gd name="connsiteY12" fmla="*/ 0 h 2389253"/>
              <a:gd name="connsiteX13" fmla="*/ 2210832 w 2704096"/>
              <a:gd name="connsiteY13" fmla="*/ 42864 h 2389253"/>
              <a:gd name="connsiteX14" fmla="*/ 2612656 w 2704096"/>
              <a:gd name="connsiteY14" fmla="*/ 12772 h 2389253"/>
              <a:gd name="connsiteX15" fmla="*/ 2607261 w 2704096"/>
              <a:gd name="connsiteY15" fmla="*/ 167260 h 2389253"/>
              <a:gd name="connsiteX16" fmla="*/ 2704096 w 2704096"/>
              <a:gd name="connsiteY16" fmla="*/ 262069 h 2389253"/>
              <a:gd name="connsiteX17" fmla="*/ 621210 w 2704096"/>
              <a:gd name="connsiteY17" fmla="*/ 271213 h 2389253"/>
              <a:gd name="connsiteX18" fmla="*/ 303794 w 2704096"/>
              <a:gd name="connsiteY18" fmla="*/ 588629 h 2389253"/>
              <a:gd name="connsiteX19" fmla="*/ 303795 w 2704096"/>
              <a:gd name="connsiteY19" fmla="*/ 2389253 h 2389253"/>
              <a:gd name="connsiteX20" fmla="*/ 45354 w 2704096"/>
              <a:gd name="connsiteY20" fmla="*/ 2389253 h 2389253"/>
              <a:gd name="connsiteX0" fmla="*/ 45354 w 2612790"/>
              <a:gd name="connsiteY0" fmla="*/ 2389253 h 2389253"/>
              <a:gd name="connsiteX1" fmla="*/ 72468 w 2612790"/>
              <a:gd name="connsiteY1" fmla="*/ 2095501 h 2389253"/>
              <a:gd name="connsiteX2" fmla="*/ 34368 w 2612790"/>
              <a:gd name="connsiteY2" fmla="*/ 1900238 h 2389253"/>
              <a:gd name="connsiteX3" fmla="*/ 77231 w 2612790"/>
              <a:gd name="connsiteY3" fmla="*/ 1319213 h 2389253"/>
              <a:gd name="connsiteX4" fmla="*/ 24843 w 2612790"/>
              <a:gd name="connsiteY4" fmla="*/ 952501 h 2389253"/>
              <a:gd name="connsiteX5" fmla="*/ 12016 w 2612790"/>
              <a:gd name="connsiteY5" fmla="*/ 583866 h 2389253"/>
              <a:gd name="connsiteX6" fmla="*/ 62944 w 2612790"/>
              <a:gd name="connsiteY6" fmla="*/ 447676 h 2389253"/>
              <a:gd name="connsiteX7" fmla="*/ 191532 w 2612790"/>
              <a:gd name="connsiteY7" fmla="*/ 252413 h 2389253"/>
              <a:gd name="connsiteX8" fmla="*/ 353457 w 2612790"/>
              <a:gd name="connsiteY8" fmla="*/ 123826 h 2389253"/>
              <a:gd name="connsiteX9" fmla="*/ 621210 w 2612790"/>
              <a:gd name="connsiteY9" fmla="*/ 12772 h 2389253"/>
              <a:gd name="connsiteX10" fmla="*/ 1339294 w 2612790"/>
              <a:gd name="connsiteY10" fmla="*/ 33338 h 2389253"/>
              <a:gd name="connsiteX11" fmla="*/ 1601232 w 2612790"/>
              <a:gd name="connsiteY11" fmla="*/ 14288 h 2389253"/>
              <a:gd name="connsiteX12" fmla="*/ 1867932 w 2612790"/>
              <a:gd name="connsiteY12" fmla="*/ 0 h 2389253"/>
              <a:gd name="connsiteX13" fmla="*/ 2210832 w 2612790"/>
              <a:gd name="connsiteY13" fmla="*/ 42864 h 2389253"/>
              <a:gd name="connsiteX14" fmla="*/ 2612656 w 2612790"/>
              <a:gd name="connsiteY14" fmla="*/ 12772 h 2389253"/>
              <a:gd name="connsiteX15" fmla="*/ 2607261 w 2612790"/>
              <a:gd name="connsiteY15" fmla="*/ 167260 h 2389253"/>
              <a:gd name="connsiteX16" fmla="*/ 2051444 w 2612790"/>
              <a:gd name="connsiteY16" fmla="*/ 268939 h 2389253"/>
              <a:gd name="connsiteX17" fmla="*/ 621210 w 2612790"/>
              <a:gd name="connsiteY17" fmla="*/ 271213 h 2389253"/>
              <a:gd name="connsiteX18" fmla="*/ 303794 w 2612790"/>
              <a:gd name="connsiteY18" fmla="*/ 588629 h 2389253"/>
              <a:gd name="connsiteX19" fmla="*/ 303795 w 2612790"/>
              <a:gd name="connsiteY19" fmla="*/ 2389253 h 2389253"/>
              <a:gd name="connsiteX20" fmla="*/ 45354 w 2612790"/>
              <a:gd name="connsiteY20" fmla="*/ 2389253 h 2389253"/>
              <a:gd name="connsiteX0" fmla="*/ 45354 w 2612656"/>
              <a:gd name="connsiteY0" fmla="*/ 2389253 h 2389253"/>
              <a:gd name="connsiteX1" fmla="*/ 72468 w 2612656"/>
              <a:gd name="connsiteY1" fmla="*/ 2095501 h 2389253"/>
              <a:gd name="connsiteX2" fmla="*/ 34368 w 2612656"/>
              <a:gd name="connsiteY2" fmla="*/ 1900238 h 2389253"/>
              <a:gd name="connsiteX3" fmla="*/ 77231 w 2612656"/>
              <a:gd name="connsiteY3" fmla="*/ 1319213 h 2389253"/>
              <a:gd name="connsiteX4" fmla="*/ 24843 w 2612656"/>
              <a:gd name="connsiteY4" fmla="*/ 952501 h 2389253"/>
              <a:gd name="connsiteX5" fmla="*/ 12016 w 2612656"/>
              <a:gd name="connsiteY5" fmla="*/ 583866 h 2389253"/>
              <a:gd name="connsiteX6" fmla="*/ 62944 w 2612656"/>
              <a:gd name="connsiteY6" fmla="*/ 447676 h 2389253"/>
              <a:gd name="connsiteX7" fmla="*/ 191532 w 2612656"/>
              <a:gd name="connsiteY7" fmla="*/ 252413 h 2389253"/>
              <a:gd name="connsiteX8" fmla="*/ 353457 w 2612656"/>
              <a:gd name="connsiteY8" fmla="*/ 123826 h 2389253"/>
              <a:gd name="connsiteX9" fmla="*/ 621210 w 2612656"/>
              <a:gd name="connsiteY9" fmla="*/ 12772 h 2389253"/>
              <a:gd name="connsiteX10" fmla="*/ 1339294 w 2612656"/>
              <a:gd name="connsiteY10" fmla="*/ 33338 h 2389253"/>
              <a:gd name="connsiteX11" fmla="*/ 1601232 w 2612656"/>
              <a:gd name="connsiteY11" fmla="*/ 14288 h 2389253"/>
              <a:gd name="connsiteX12" fmla="*/ 1867932 w 2612656"/>
              <a:gd name="connsiteY12" fmla="*/ 0 h 2389253"/>
              <a:gd name="connsiteX13" fmla="*/ 2210832 w 2612656"/>
              <a:gd name="connsiteY13" fmla="*/ 42864 h 2389253"/>
              <a:gd name="connsiteX14" fmla="*/ 2612656 w 2612656"/>
              <a:gd name="connsiteY14" fmla="*/ 12772 h 2389253"/>
              <a:gd name="connsiteX15" fmla="*/ 2051444 w 2612656"/>
              <a:gd name="connsiteY15" fmla="*/ 268939 h 2389253"/>
              <a:gd name="connsiteX16" fmla="*/ 621210 w 2612656"/>
              <a:gd name="connsiteY16" fmla="*/ 271213 h 2389253"/>
              <a:gd name="connsiteX17" fmla="*/ 303794 w 2612656"/>
              <a:gd name="connsiteY17" fmla="*/ 588629 h 2389253"/>
              <a:gd name="connsiteX18" fmla="*/ 303795 w 2612656"/>
              <a:gd name="connsiteY18" fmla="*/ 2389253 h 2389253"/>
              <a:gd name="connsiteX19" fmla="*/ 45354 w 2612656"/>
              <a:gd name="connsiteY19" fmla="*/ 2389253 h 2389253"/>
              <a:gd name="connsiteX0" fmla="*/ 45354 w 2210832"/>
              <a:gd name="connsiteY0" fmla="*/ 2389253 h 2389253"/>
              <a:gd name="connsiteX1" fmla="*/ 72468 w 2210832"/>
              <a:gd name="connsiteY1" fmla="*/ 2095501 h 2389253"/>
              <a:gd name="connsiteX2" fmla="*/ 34368 w 2210832"/>
              <a:gd name="connsiteY2" fmla="*/ 1900238 h 2389253"/>
              <a:gd name="connsiteX3" fmla="*/ 77231 w 2210832"/>
              <a:gd name="connsiteY3" fmla="*/ 1319213 h 2389253"/>
              <a:gd name="connsiteX4" fmla="*/ 24843 w 2210832"/>
              <a:gd name="connsiteY4" fmla="*/ 952501 h 2389253"/>
              <a:gd name="connsiteX5" fmla="*/ 12016 w 2210832"/>
              <a:gd name="connsiteY5" fmla="*/ 583866 h 2389253"/>
              <a:gd name="connsiteX6" fmla="*/ 62944 w 2210832"/>
              <a:gd name="connsiteY6" fmla="*/ 447676 h 2389253"/>
              <a:gd name="connsiteX7" fmla="*/ 191532 w 2210832"/>
              <a:gd name="connsiteY7" fmla="*/ 252413 h 2389253"/>
              <a:gd name="connsiteX8" fmla="*/ 353457 w 2210832"/>
              <a:gd name="connsiteY8" fmla="*/ 123826 h 2389253"/>
              <a:gd name="connsiteX9" fmla="*/ 621210 w 2210832"/>
              <a:gd name="connsiteY9" fmla="*/ 12772 h 2389253"/>
              <a:gd name="connsiteX10" fmla="*/ 1339294 w 2210832"/>
              <a:gd name="connsiteY10" fmla="*/ 33338 h 2389253"/>
              <a:gd name="connsiteX11" fmla="*/ 1601232 w 2210832"/>
              <a:gd name="connsiteY11" fmla="*/ 14288 h 2389253"/>
              <a:gd name="connsiteX12" fmla="*/ 1867932 w 2210832"/>
              <a:gd name="connsiteY12" fmla="*/ 0 h 2389253"/>
              <a:gd name="connsiteX13" fmla="*/ 2210832 w 2210832"/>
              <a:gd name="connsiteY13" fmla="*/ 42864 h 2389253"/>
              <a:gd name="connsiteX14" fmla="*/ 2051444 w 2210832"/>
              <a:gd name="connsiteY14" fmla="*/ 268939 h 2389253"/>
              <a:gd name="connsiteX15" fmla="*/ 621210 w 2210832"/>
              <a:gd name="connsiteY15" fmla="*/ 271213 h 2389253"/>
              <a:gd name="connsiteX16" fmla="*/ 303794 w 2210832"/>
              <a:gd name="connsiteY16" fmla="*/ 588629 h 2389253"/>
              <a:gd name="connsiteX17" fmla="*/ 303795 w 2210832"/>
              <a:gd name="connsiteY17" fmla="*/ 2389253 h 2389253"/>
              <a:gd name="connsiteX18" fmla="*/ 45354 w 2210832"/>
              <a:gd name="connsiteY18" fmla="*/ 2389253 h 2389253"/>
              <a:gd name="connsiteX0" fmla="*/ 45354 w 2051444"/>
              <a:gd name="connsiteY0" fmla="*/ 2389253 h 2389253"/>
              <a:gd name="connsiteX1" fmla="*/ 72468 w 2051444"/>
              <a:gd name="connsiteY1" fmla="*/ 2095501 h 2389253"/>
              <a:gd name="connsiteX2" fmla="*/ 34368 w 2051444"/>
              <a:gd name="connsiteY2" fmla="*/ 1900238 h 2389253"/>
              <a:gd name="connsiteX3" fmla="*/ 77231 w 2051444"/>
              <a:gd name="connsiteY3" fmla="*/ 1319213 h 2389253"/>
              <a:gd name="connsiteX4" fmla="*/ 24843 w 2051444"/>
              <a:gd name="connsiteY4" fmla="*/ 952501 h 2389253"/>
              <a:gd name="connsiteX5" fmla="*/ 12016 w 2051444"/>
              <a:gd name="connsiteY5" fmla="*/ 583866 h 2389253"/>
              <a:gd name="connsiteX6" fmla="*/ 62944 w 2051444"/>
              <a:gd name="connsiteY6" fmla="*/ 447676 h 2389253"/>
              <a:gd name="connsiteX7" fmla="*/ 191532 w 2051444"/>
              <a:gd name="connsiteY7" fmla="*/ 252413 h 2389253"/>
              <a:gd name="connsiteX8" fmla="*/ 353457 w 2051444"/>
              <a:gd name="connsiteY8" fmla="*/ 123826 h 2389253"/>
              <a:gd name="connsiteX9" fmla="*/ 621210 w 2051444"/>
              <a:gd name="connsiteY9" fmla="*/ 12772 h 2389253"/>
              <a:gd name="connsiteX10" fmla="*/ 1339294 w 2051444"/>
              <a:gd name="connsiteY10" fmla="*/ 33338 h 2389253"/>
              <a:gd name="connsiteX11" fmla="*/ 1601232 w 2051444"/>
              <a:gd name="connsiteY11" fmla="*/ 14288 h 2389253"/>
              <a:gd name="connsiteX12" fmla="*/ 1867932 w 2051444"/>
              <a:gd name="connsiteY12" fmla="*/ 0 h 2389253"/>
              <a:gd name="connsiteX13" fmla="*/ 1881071 w 2051444"/>
              <a:gd name="connsiteY13" fmla="*/ 145914 h 2389253"/>
              <a:gd name="connsiteX14" fmla="*/ 2051444 w 2051444"/>
              <a:gd name="connsiteY14" fmla="*/ 268939 h 2389253"/>
              <a:gd name="connsiteX15" fmla="*/ 621210 w 2051444"/>
              <a:gd name="connsiteY15" fmla="*/ 271213 h 2389253"/>
              <a:gd name="connsiteX16" fmla="*/ 303794 w 2051444"/>
              <a:gd name="connsiteY16" fmla="*/ 588629 h 2389253"/>
              <a:gd name="connsiteX17" fmla="*/ 303795 w 2051444"/>
              <a:gd name="connsiteY17" fmla="*/ 2389253 h 2389253"/>
              <a:gd name="connsiteX18" fmla="*/ 45354 w 2051444"/>
              <a:gd name="connsiteY18" fmla="*/ 2389253 h 2389253"/>
              <a:gd name="connsiteX0" fmla="*/ 45354 w 2051444"/>
              <a:gd name="connsiteY0" fmla="*/ 2389253 h 2389253"/>
              <a:gd name="connsiteX1" fmla="*/ 72468 w 2051444"/>
              <a:gd name="connsiteY1" fmla="*/ 2095501 h 2389253"/>
              <a:gd name="connsiteX2" fmla="*/ 34368 w 2051444"/>
              <a:gd name="connsiteY2" fmla="*/ 1900238 h 2389253"/>
              <a:gd name="connsiteX3" fmla="*/ 77231 w 2051444"/>
              <a:gd name="connsiteY3" fmla="*/ 1319213 h 2389253"/>
              <a:gd name="connsiteX4" fmla="*/ 24843 w 2051444"/>
              <a:gd name="connsiteY4" fmla="*/ 952501 h 2389253"/>
              <a:gd name="connsiteX5" fmla="*/ 12016 w 2051444"/>
              <a:gd name="connsiteY5" fmla="*/ 583866 h 2389253"/>
              <a:gd name="connsiteX6" fmla="*/ 62944 w 2051444"/>
              <a:gd name="connsiteY6" fmla="*/ 447676 h 2389253"/>
              <a:gd name="connsiteX7" fmla="*/ 191532 w 2051444"/>
              <a:gd name="connsiteY7" fmla="*/ 252413 h 2389253"/>
              <a:gd name="connsiteX8" fmla="*/ 353457 w 2051444"/>
              <a:gd name="connsiteY8" fmla="*/ 123826 h 2389253"/>
              <a:gd name="connsiteX9" fmla="*/ 621210 w 2051444"/>
              <a:gd name="connsiteY9" fmla="*/ 12772 h 2389253"/>
              <a:gd name="connsiteX10" fmla="*/ 1339294 w 2051444"/>
              <a:gd name="connsiteY10" fmla="*/ 33338 h 2389253"/>
              <a:gd name="connsiteX11" fmla="*/ 1601232 w 2051444"/>
              <a:gd name="connsiteY11" fmla="*/ 14288 h 2389253"/>
              <a:gd name="connsiteX12" fmla="*/ 1867932 w 2051444"/>
              <a:gd name="connsiteY12" fmla="*/ 0 h 2389253"/>
              <a:gd name="connsiteX13" fmla="*/ 1881071 w 2051444"/>
              <a:gd name="connsiteY13" fmla="*/ 145914 h 2389253"/>
              <a:gd name="connsiteX14" fmla="*/ 2051444 w 2051444"/>
              <a:gd name="connsiteY14" fmla="*/ 268939 h 2389253"/>
              <a:gd name="connsiteX15" fmla="*/ 621210 w 2051444"/>
              <a:gd name="connsiteY15" fmla="*/ 271213 h 2389253"/>
              <a:gd name="connsiteX16" fmla="*/ 303794 w 2051444"/>
              <a:gd name="connsiteY16" fmla="*/ 588629 h 2389253"/>
              <a:gd name="connsiteX17" fmla="*/ 303795 w 2051444"/>
              <a:gd name="connsiteY17" fmla="*/ 2389253 h 2389253"/>
              <a:gd name="connsiteX18" fmla="*/ 45354 w 2051444"/>
              <a:gd name="connsiteY18" fmla="*/ 2389253 h 2389253"/>
              <a:gd name="connsiteX0" fmla="*/ 45354 w 2051444"/>
              <a:gd name="connsiteY0" fmla="*/ 2389253 h 2389253"/>
              <a:gd name="connsiteX1" fmla="*/ 72468 w 2051444"/>
              <a:gd name="connsiteY1" fmla="*/ 2095501 h 2389253"/>
              <a:gd name="connsiteX2" fmla="*/ 34368 w 2051444"/>
              <a:gd name="connsiteY2" fmla="*/ 1900238 h 2389253"/>
              <a:gd name="connsiteX3" fmla="*/ 77231 w 2051444"/>
              <a:gd name="connsiteY3" fmla="*/ 1319213 h 2389253"/>
              <a:gd name="connsiteX4" fmla="*/ 24843 w 2051444"/>
              <a:gd name="connsiteY4" fmla="*/ 952501 h 2389253"/>
              <a:gd name="connsiteX5" fmla="*/ 12016 w 2051444"/>
              <a:gd name="connsiteY5" fmla="*/ 583866 h 2389253"/>
              <a:gd name="connsiteX6" fmla="*/ 62944 w 2051444"/>
              <a:gd name="connsiteY6" fmla="*/ 447676 h 2389253"/>
              <a:gd name="connsiteX7" fmla="*/ 191532 w 2051444"/>
              <a:gd name="connsiteY7" fmla="*/ 252413 h 2389253"/>
              <a:gd name="connsiteX8" fmla="*/ 353457 w 2051444"/>
              <a:gd name="connsiteY8" fmla="*/ 123826 h 2389253"/>
              <a:gd name="connsiteX9" fmla="*/ 621210 w 2051444"/>
              <a:gd name="connsiteY9" fmla="*/ 12772 h 2389253"/>
              <a:gd name="connsiteX10" fmla="*/ 1339294 w 2051444"/>
              <a:gd name="connsiteY10" fmla="*/ 33338 h 2389253"/>
              <a:gd name="connsiteX11" fmla="*/ 1601232 w 2051444"/>
              <a:gd name="connsiteY11" fmla="*/ 14288 h 2389253"/>
              <a:gd name="connsiteX12" fmla="*/ 1957243 w 2051444"/>
              <a:gd name="connsiteY12" fmla="*/ 0 h 2389253"/>
              <a:gd name="connsiteX13" fmla="*/ 1881071 w 2051444"/>
              <a:gd name="connsiteY13" fmla="*/ 145914 h 2389253"/>
              <a:gd name="connsiteX14" fmla="*/ 2051444 w 2051444"/>
              <a:gd name="connsiteY14" fmla="*/ 268939 h 2389253"/>
              <a:gd name="connsiteX15" fmla="*/ 621210 w 2051444"/>
              <a:gd name="connsiteY15" fmla="*/ 271213 h 2389253"/>
              <a:gd name="connsiteX16" fmla="*/ 303794 w 2051444"/>
              <a:gd name="connsiteY16" fmla="*/ 588629 h 2389253"/>
              <a:gd name="connsiteX17" fmla="*/ 303795 w 2051444"/>
              <a:gd name="connsiteY17" fmla="*/ 2389253 h 2389253"/>
              <a:gd name="connsiteX18" fmla="*/ 45354 w 2051444"/>
              <a:gd name="connsiteY18" fmla="*/ 2389253 h 2389253"/>
              <a:gd name="connsiteX0" fmla="*/ 33889 w 2039979"/>
              <a:gd name="connsiteY0" fmla="*/ 2389253 h 2389253"/>
              <a:gd name="connsiteX1" fmla="*/ 61003 w 2039979"/>
              <a:gd name="connsiteY1" fmla="*/ 2095501 h 2389253"/>
              <a:gd name="connsiteX2" fmla="*/ 22903 w 2039979"/>
              <a:gd name="connsiteY2" fmla="*/ 1900238 h 2389253"/>
              <a:gd name="connsiteX3" fmla="*/ 65766 w 2039979"/>
              <a:gd name="connsiteY3" fmla="*/ 1319213 h 2389253"/>
              <a:gd name="connsiteX4" fmla="*/ 13378 w 2039979"/>
              <a:gd name="connsiteY4" fmla="*/ 952501 h 2389253"/>
              <a:gd name="connsiteX5" fmla="*/ 551 w 2039979"/>
              <a:gd name="connsiteY5" fmla="*/ 583866 h 2389253"/>
              <a:gd name="connsiteX6" fmla="*/ 92699 w 2039979"/>
              <a:gd name="connsiteY6" fmla="*/ 378976 h 2389253"/>
              <a:gd name="connsiteX7" fmla="*/ 180067 w 2039979"/>
              <a:gd name="connsiteY7" fmla="*/ 252413 h 2389253"/>
              <a:gd name="connsiteX8" fmla="*/ 341992 w 2039979"/>
              <a:gd name="connsiteY8" fmla="*/ 123826 h 2389253"/>
              <a:gd name="connsiteX9" fmla="*/ 609745 w 2039979"/>
              <a:gd name="connsiteY9" fmla="*/ 12772 h 2389253"/>
              <a:gd name="connsiteX10" fmla="*/ 1327829 w 2039979"/>
              <a:gd name="connsiteY10" fmla="*/ 33338 h 2389253"/>
              <a:gd name="connsiteX11" fmla="*/ 1589767 w 2039979"/>
              <a:gd name="connsiteY11" fmla="*/ 14288 h 2389253"/>
              <a:gd name="connsiteX12" fmla="*/ 1945778 w 2039979"/>
              <a:gd name="connsiteY12" fmla="*/ 0 h 2389253"/>
              <a:gd name="connsiteX13" fmla="*/ 1869606 w 2039979"/>
              <a:gd name="connsiteY13" fmla="*/ 145914 h 2389253"/>
              <a:gd name="connsiteX14" fmla="*/ 2039979 w 2039979"/>
              <a:gd name="connsiteY14" fmla="*/ 268939 h 2389253"/>
              <a:gd name="connsiteX15" fmla="*/ 609745 w 2039979"/>
              <a:gd name="connsiteY15" fmla="*/ 271213 h 2389253"/>
              <a:gd name="connsiteX16" fmla="*/ 292329 w 2039979"/>
              <a:gd name="connsiteY16" fmla="*/ 588629 h 2389253"/>
              <a:gd name="connsiteX17" fmla="*/ 292330 w 2039979"/>
              <a:gd name="connsiteY17" fmla="*/ 2389253 h 2389253"/>
              <a:gd name="connsiteX18" fmla="*/ 33889 w 2039979"/>
              <a:gd name="connsiteY18" fmla="*/ 2389253 h 2389253"/>
              <a:gd name="connsiteX0" fmla="*/ 114279 w 2120369"/>
              <a:gd name="connsiteY0" fmla="*/ 2389253 h 2389253"/>
              <a:gd name="connsiteX1" fmla="*/ 141393 w 2120369"/>
              <a:gd name="connsiteY1" fmla="*/ 2095501 h 2389253"/>
              <a:gd name="connsiteX2" fmla="*/ 103293 w 2120369"/>
              <a:gd name="connsiteY2" fmla="*/ 1900238 h 2389253"/>
              <a:gd name="connsiteX3" fmla="*/ 146156 w 2120369"/>
              <a:gd name="connsiteY3" fmla="*/ 1319213 h 2389253"/>
              <a:gd name="connsiteX4" fmla="*/ 93768 w 2120369"/>
              <a:gd name="connsiteY4" fmla="*/ 952501 h 2389253"/>
              <a:gd name="connsiteX5" fmla="*/ 80941 w 2120369"/>
              <a:gd name="connsiteY5" fmla="*/ 583866 h 2389253"/>
              <a:gd name="connsiteX6" fmla="*/ 173089 w 2120369"/>
              <a:gd name="connsiteY6" fmla="*/ 378976 h 2389253"/>
              <a:gd name="connsiteX7" fmla="*/ 6266 w 2120369"/>
              <a:gd name="connsiteY7" fmla="*/ 376074 h 2389253"/>
              <a:gd name="connsiteX8" fmla="*/ 422382 w 2120369"/>
              <a:gd name="connsiteY8" fmla="*/ 123826 h 2389253"/>
              <a:gd name="connsiteX9" fmla="*/ 690135 w 2120369"/>
              <a:gd name="connsiteY9" fmla="*/ 12772 h 2389253"/>
              <a:gd name="connsiteX10" fmla="*/ 1408219 w 2120369"/>
              <a:gd name="connsiteY10" fmla="*/ 33338 h 2389253"/>
              <a:gd name="connsiteX11" fmla="*/ 1670157 w 2120369"/>
              <a:gd name="connsiteY11" fmla="*/ 14288 h 2389253"/>
              <a:gd name="connsiteX12" fmla="*/ 2026168 w 2120369"/>
              <a:gd name="connsiteY12" fmla="*/ 0 h 2389253"/>
              <a:gd name="connsiteX13" fmla="*/ 1949996 w 2120369"/>
              <a:gd name="connsiteY13" fmla="*/ 145914 h 2389253"/>
              <a:gd name="connsiteX14" fmla="*/ 2120369 w 2120369"/>
              <a:gd name="connsiteY14" fmla="*/ 268939 h 2389253"/>
              <a:gd name="connsiteX15" fmla="*/ 690135 w 2120369"/>
              <a:gd name="connsiteY15" fmla="*/ 271213 h 2389253"/>
              <a:gd name="connsiteX16" fmla="*/ 372719 w 2120369"/>
              <a:gd name="connsiteY16" fmla="*/ 588629 h 2389253"/>
              <a:gd name="connsiteX17" fmla="*/ 372720 w 2120369"/>
              <a:gd name="connsiteY17" fmla="*/ 2389253 h 2389253"/>
              <a:gd name="connsiteX18" fmla="*/ 114279 w 2120369"/>
              <a:gd name="connsiteY18" fmla="*/ 2389253 h 2389253"/>
              <a:gd name="connsiteX0" fmla="*/ 114998 w 2121088"/>
              <a:gd name="connsiteY0" fmla="*/ 2389253 h 2389253"/>
              <a:gd name="connsiteX1" fmla="*/ 142112 w 2121088"/>
              <a:gd name="connsiteY1" fmla="*/ 2095501 h 2389253"/>
              <a:gd name="connsiteX2" fmla="*/ 104012 w 2121088"/>
              <a:gd name="connsiteY2" fmla="*/ 1900238 h 2389253"/>
              <a:gd name="connsiteX3" fmla="*/ 146875 w 2121088"/>
              <a:gd name="connsiteY3" fmla="*/ 1319213 h 2389253"/>
              <a:gd name="connsiteX4" fmla="*/ 94487 w 2121088"/>
              <a:gd name="connsiteY4" fmla="*/ 952501 h 2389253"/>
              <a:gd name="connsiteX5" fmla="*/ 81660 w 2121088"/>
              <a:gd name="connsiteY5" fmla="*/ 583866 h 2389253"/>
              <a:gd name="connsiteX6" fmla="*/ 173808 w 2121088"/>
              <a:gd name="connsiteY6" fmla="*/ 378976 h 2389253"/>
              <a:gd name="connsiteX7" fmla="*/ 6985 w 2121088"/>
              <a:gd name="connsiteY7" fmla="*/ 376074 h 2389253"/>
              <a:gd name="connsiteX8" fmla="*/ 24639 w 2121088"/>
              <a:gd name="connsiteY8" fmla="*/ 2377193 h 2389253"/>
              <a:gd name="connsiteX9" fmla="*/ 690854 w 2121088"/>
              <a:gd name="connsiteY9" fmla="*/ 12772 h 2389253"/>
              <a:gd name="connsiteX10" fmla="*/ 1408938 w 2121088"/>
              <a:gd name="connsiteY10" fmla="*/ 33338 h 2389253"/>
              <a:gd name="connsiteX11" fmla="*/ 1670876 w 2121088"/>
              <a:gd name="connsiteY11" fmla="*/ 14288 h 2389253"/>
              <a:gd name="connsiteX12" fmla="*/ 2026887 w 2121088"/>
              <a:gd name="connsiteY12" fmla="*/ 0 h 2389253"/>
              <a:gd name="connsiteX13" fmla="*/ 1950715 w 2121088"/>
              <a:gd name="connsiteY13" fmla="*/ 145914 h 2389253"/>
              <a:gd name="connsiteX14" fmla="*/ 2121088 w 2121088"/>
              <a:gd name="connsiteY14" fmla="*/ 268939 h 2389253"/>
              <a:gd name="connsiteX15" fmla="*/ 690854 w 2121088"/>
              <a:gd name="connsiteY15" fmla="*/ 271213 h 2389253"/>
              <a:gd name="connsiteX16" fmla="*/ 373438 w 2121088"/>
              <a:gd name="connsiteY16" fmla="*/ 588629 h 2389253"/>
              <a:gd name="connsiteX17" fmla="*/ 373439 w 2121088"/>
              <a:gd name="connsiteY17" fmla="*/ 2389253 h 2389253"/>
              <a:gd name="connsiteX18" fmla="*/ 114998 w 2121088"/>
              <a:gd name="connsiteY18" fmla="*/ 2389253 h 2389253"/>
              <a:gd name="connsiteX0" fmla="*/ 188246 w 2194336"/>
              <a:gd name="connsiteY0" fmla="*/ 2389253 h 2389253"/>
              <a:gd name="connsiteX1" fmla="*/ 215360 w 2194336"/>
              <a:gd name="connsiteY1" fmla="*/ 2095501 h 2389253"/>
              <a:gd name="connsiteX2" fmla="*/ 177260 w 2194336"/>
              <a:gd name="connsiteY2" fmla="*/ 1900238 h 2389253"/>
              <a:gd name="connsiteX3" fmla="*/ 220123 w 2194336"/>
              <a:gd name="connsiteY3" fmla="*/ 1319213 h 2389253"/>
              <a:gd name="connsiteX4" fmla="*/ 167735 w 2194336"/>
              <a:gd name="connsiteY4" fmla="*/ 952501 h 2389253"/>
              <a:gd name="connsiteX5" fmla="*/ 154908 w 2194336"/>
              <a:gd name="connsiteY5" fmla="*/ 583866 h 2389253"/>
              <a:gd name="connsiteX6" fmla="*/ 247056 w 2194336"/>
              <a:gd name="connsiteY6" fmla="*/ 378976 h 2389253"/>
              <a:gd name="connsiteX7" fmla="*/ 80233 w 2194336"/>
              <a:gd name="connsiteY7" fmla="*/ 376074 h 2389253"/>
              <a:gd name="connsiteX8" fmla="*/ 97887 w 2194336"/>
              <a:gd name="connsiteY8" fmla="*/ 2377193 h 2389253"/>
              <a:gd name="connsiteX9" fmla="*/ 1482186 w 2194336"/>
              <a:gd name="connsiteY9" fmla="*/ 33338 h 2389253"/>
              <a:gd name="connsiteX10" fmla="*/ 1744124 w 2194336"/>
              <a:gd name="connsiteY10" fmla="*/ 14288 h 2389253"/>
              <a:gd name="connsiteX11" fmla="*/ 2100135 w 2194336"/>
              <a:gd name="connsiteY11" fmla="*/ 0 h 2389253"/>
              <a:gd name="connsiteX12" fmla="*/ 2023963 w 2194336"/>
              <a:gd name="connsiteY12" fmla="*/ 145914 h 2389253"/>
              <a:gd name="connsiteX13" fmla="*/ 2194336 w 2194336"/>
              <a:gd name="connsiteY13" fmla="*/ 268939 h 2389253"/>
              <a:gd name="connsiteX14" fmla="*/ 764102 w 2194336"/>
              <a:gd name="connsiteY14" fmla="*/ 271213 h 2389253"/>
              <a:gd name="connsiteX15" fmla="*/ 446686 w 2194336"/>
              <a:gd name="connsiteY15" fmla="*/ 588629 h 2389253"/>
              <a:gd name="connsiteX16" fmla="*/ 446687 w 2194336"/>
              <a:gd name="connsiteY16" fmla="*/ 2389253 h 2389253"/>
              <a:gd name="connsiteX17" fmla="*/ 188246 w 2194336"/>
              <a:gd name="connsiteY17" fmla="*/ 2389253 h 2389253"/>
              <a:gd name="connsiteX0" fmla="*/ 188246 w 2194336"/>
              <a:gd name="connsiteY0" fmla="*/ 2389253 h 2389253"/>
              <a:gd name="connsiteX1" fmla="*/ 215360 w 2194336"/>
              <a:gd name="connsiteY1" fmla="*/ 2095501 h 2389253"/>
              <a:gd name="connsiteX2" fmla="*/ 177260 w 2194336"/>
              <a:gd name="connsiteY2" fmla="*/ 1900238 h 2389253"/>
              <a:gd name="connsiteX3" fmla="*/ 220123 w 2194336"/>
              <a:gd name="connsiteY3" fmla="*/ 1319213 h 2389253"/>
              <a:gd name="connsiteX4" fmla="*/ 167735 w 2194336"/>
              <a:gd name="connsiteY4" fmla="*/ 952501 h 2389253"/>
              <a:gd name="connsiteX5" fmla="*/ 154908 w 2194336"/>
              <a:gd name="connsiteY5" fmla="*/ 583866 h 2389253"/>
              <a:gd name="connsiteX6" fmla="*/ 247056 w 2194336"/>
              <a:gd name="connsiteY6" fmla="*/ 378976 h 2389253"/>
              <a:gd name="connsiteX7" fmla="*/ 80233 w 2194336"/>
              <a:gd name="connsiteY7" fmla="*/ 376074 h 2389253"/>
              <a:gd name="connsiteX8" fmla="*/ 97887 w 2194336"/>
              <a:gd name="connsiteY8" fmla="*/ 2377193 h 2389253"/>
              <a:gd name="connsiteX9" fmla="*/ 1482186 w 2194336"/>
              <a:gd name="connsiteY9" fmla="*/ 33338 h 2389253"/>
              <a:gd name="connsiteX10" fmla="*/ 1744124 w 2194336"/>
              <a:gd name="connsiteY10" fmla="*/ 14288 h 2389253"/>
              <a:gd name="connsiteX11" fmla="*/ 2100135 w 2194336"/>
              <a:gd name="connsiteY11" fmla="*/ 0 h 2389253"/>
              <a:gd name="connsiteX12" fmla="*/ 2023963 w 2194336"/>
              <a:gd name="connsiteY12" fmla="*/ 145914 h 2389253"/>
              <a:gd name="connsiteX13" fmla="*/ 2194336 w 2194336"/>
              <a:gd name="connsiteY13" fmla="*/ 268939 h 2389253"/>
              <a:gd name="connsiteX14" fmla="*/ 446686 w 2194336"/>
              <a:gd name="connsiteY14" fmla="*/ 588629 h 2389253"/>
              <a:gd name="connsiteX15" fmla="*/ 446687 w 2194336"/>
              <a:gd name="connsiteY15" fmla="*/ 2389253 h 2389253"/>
              <a:gd name="connsiteX16" fmla="*/ 188246 w 2194336"/>
              <a:gd name="connsiteY16" fmla="*/ 2389253 h 2389253"/>
              <a:gd name="connsiteX0" fmla="*/ 188246 w 2194336"/>
              <a:gd name="connsiteY0" fmla="*/ 2389253 h 2389253"/>
              <a:gd name="connsiteX1" fmla="*/ 215360 w 2194336"/>
              <a:gd name="connsiteY1" fmla="*/ 2095501 h 2389253"/>
              <a:gd name="connsiteX2" fmla="*/ 177260 w 2194336"/>
              <a:gd name="connsiteY2" fmla="*/ 1900238 h 2389253"/>
              <a:gd name="connsiteX3" fmla="*/ 220123 w 2194336"/>
              <a:gd name="connsiteY3" fmla="*/ 1319213 h 2389253"/>
              <a:gd name="connsiteX4" fmla="*/ 167735 w 2194336"/>
              <a:gd name="connsiteY4" fmla="*/ 952501 h 2389253"/>
              <a:gd name="connsiteX5" fmla="*/ 154908 w 2194336"/>
              <a:gd name="connsiteY5" fmla="*/ 583866 h 2389253"/>
              <a:gd name="connsiteX6" fmla="*/ 247056 w 2194336"/>
              <a:gd name="connsiteY6" fmla="*/ 378976 h 2389253"/>
              <a:gd name="connsiteX7" fmla="*/ 80233 w 2194336"/>
              <a:gd name="connsiteY7" fmla="*/ 376074 h 2389253"/>
              <a:gd name="connsiteX8" fmla="*/ 97887 w 2194336"/>
              <a:gd name="connsiteY8" fmla="*/ 2377193 h 2389253"/>
              <a:gd name="connsiteX9" fmla="*/ 1482186 w 2194336"/>
              <a:gd name="connsiteY9" fmla="*/ 33338 h 2389253"/>
              <a:gd name="connsiteX10" fmla="*/ 1744124 w 2194336"/>
              <a:gd name="connsiteY10" fmla="*/ 14288 h 2389253"/>
              <a:gd name="connsiteX11" fmla="*/ 2100135 w 2194336"/>
              <a:gd name="connsiteY11" fmla="*/ 0 h 2389253"/>
              <a:gd name="connsiteX12" fmla="*/ 2023963 w 2194336"/>
              <a:gd name="connsiteY12" fmla="*/ 145914 h 2389253"/>
              <a:gd name="connsiteX13" fmla="*/ 2194336 w 2194336"/>
              <a:gd name="connsiteY13" fmla="*/ 268939 h 2389253"/>
              <a:gd name="connsiteX14" fmla="*/ 446687 w 2194336"/>
              <a:gd name="connsiteY14" fmla="*/ 2389253 h 2389253"/>
              <a:gd name="connsiteX15" fmla="*/ 188246 w 2194336"/>
              <a:gd name="connsiteY15" fmla="*/ 2389253 h 2389253"/>
              <a:gd name="connsiteX0" fmla="*/ 207614 w 2213704"/>
              <a:gd name="connsiteY0" fmla="*/ 2389253 h 2389253"/>
              <a:gd name="connsiteX1" fmla="*/ 234728 w 2213704"/>
              <a:gd name="connsiteY1" fmla="*/ 2095501 h 2389253"/>
              <a:gd name="connsiteX2" fmla="*/ 196628 w 2213704"/>
              <a:gd name="connsiteY2" fmla="*/ 1900238 h 2389253"/>
              <a:gd name="connsiteX3" fmla="*/ 239491 w 2213704"/>
              <a:gd name="connsiteY3" fmla="*/ 1319213 h 2389253"/>
              <a:gd name="connsiteX4" fmla="*/ 187103 w 2213704"/>
              <a:gd name="connsiteY4" fmla="*/ 952501 h 2389253"/>
              <a:gd name="connsiteX5" fmla="*/ 174276 w 2213704"/>
              <a:gd name="connsiteY5" fmla="*/ 583866 h 2389253"/>
              <a:gd name="connsiteX6" fmla="*/ 266424 w 2213704"/>
              <a:gd name="connsiteY6" fmla="*/ 378976 h 2389253"/>
              <a:gd name="connsiteX7" fmla="*/ 99601 w 2213704"/>
              <a:gd name="connsiteY7" fmla="*/ 376074 h 2389253"/>
              <a:gd name="connsiteX8" fmla="*/ 117255 w 2213704"/>
              <a:gd name="connsiteY8" fmla="*/ 2377193 h 2389253"/>
              <a:gd name="connsiteX9" fmla="*/ 1763492 w 2213704"/>
              <a:gd name="connsiteY9" fmla="*/ 14288 h 2389253"/>
              <a:gd name="connsiteX10" fmla="*/ 2119503 w 2213704"/>
              <a:gd name="connsiteY10" fmla="*/ 0 h 2389253"/>
              <a:gd name="connsiteX11" fmla="*/ 2043331 w 2213704"/>
              <a:gd name="connsiteY11" fmla="*/ 145914 h 2389253"/>
              <a:gd name="connsiteX12" fmla="*/ 2213704 w 2213704"/>
              <a:gd name="connsiteY12" fmla="*/ 268939 h 2389253"/>
              <a:gd name="connsiteX13" fmla="*/ 466055 w 2213704"/>
              <a:gd name="connsiteY13" fmla="*/ 2389253 h 2389253"/>
              <a:gd name="connsiteX14" fmla="*/ 207614 w 2213704"/>
              <a:gd name="connsiteY14" fmla="*/ 2389253 h 2389253"/>
              <a:gd name="connsiteX0" fmla="*/ 233952 w 2240042"/>
              <a:gd name="connsiteY0" fmla="*/ 2389253 h 2389253"/>
              <a:gd name="connsiteX1" fmla="*/ 261066 w 2240042"/>
              <a:gd name="connsiteY1" fmla="*/ 2095501 h 2389253"/>
              <a:gd name="connsiteX2" fmla="*/ 222966 w 2240042"/>
              <a:gd name="connsiteY2" fmla="*/ 1900238 h 2389253"/>
              <a:gd name="connsiteX3" fmla="*/ 265829 w 2240042"/>
              <a:gd name="connsiteY3" fmla="*/ 1319213 h 2389253"/>
              <a:gd name="connsiteX4" fmla="*/ 213441 w 2240042"/>
              <a:gd name="connsiteY4" fmla="*/ 952501 h 2389253"/>
              <a:gd name="connsiteX5" fmla="*/ 200614 w 2240042"/>
              <a:gd name="connsiteY5" fmla="*/ 583866 h 2389253"/>
              <a:gd name="connsiteX6" fmla="*/ 292762 w 2240042"/>
              <a:gd name="connsiteY6" fmla="*/ 378976 h 2389253"/>
              <a:gd name="connsiteX7" fmla="*/ 125939 w 2240042"/>
              <a:gd name="connsiteY7" fmla="*/ 376074 h 2389253"/>
              <a:gd name="connsiteX8" fmla="*/ 143593 w 2240042"/>
              <a:gd name="connsiteY8" fmla="*/ 2377193 h 2389253"/>
              <a:gd name="connsiteX9" fmla="*/ 2145841 w 2240042"/>
              <a:gd name="connsiteY9" fmla="*/ 0 h 2389253"/>
              <a:gd name="connsiteX10" fmla="*/ 2069669 w 2240042"/>
              <a:gd name="connsiteY10" fmla="*/ 145914 h 2389253"/>
              <a:gd name="connsiteX11" fmla="*/ 2240042 w 2240042"/>
              <a:gd name="connsiteY11" fmla="*/ 268939 h 2389253"/>
              <a:gd name="connsiteX12" fmla="*/ 492393 w 2240042"/>
              <a:gd name="connsiteY12" fmla="*/ 2389253 h 2389253"/>
              <a:gd name="connsiteX13" fmla="*/ 233952 w 2240042"/>
              <a:gd name="connsiteY13" fmla="*/ 2389253 h 2389253"/>
              <a:gd name="connsiteX0" fmla="*/ 228317 w 2234407"/>
              <a:gd name="connsiteY0" fmla="*/ 2243339 h 2243339"/>
              <a:gd name="connsiteX1" fmla="*/ 255431 w 2234407"/>
              <a:gd name="connsiteY1" fmla="*/ 1949587 h 2243339"/>
              <a:gd name="connsiteX2" fmla="*/ 217331 w 2234407"/>
              <a:gd name="connsiteY2" fmla="*/ 1754324 h 2243339"/>
              <a:gd name="connsiteX3" fmla="*/ 260194 w 2234407"/>
              <a:gd name="connsiteY3" fmla="*/ 1173299 h 2243339"/>
              <a:gd name="connsiteX4" fmla="*/ 207806 w 2234407"/>
              <a:gd name="connsiteY4" fmla="*/ 806587 h 2243339"/>
              <a:gd name="connsiteX5" fmla="*/ 194979 w 2234407"/>
              <a:gd name="connsiteY5" fmla="*/ 437952 h 2243339"/>
              <a:gd name="connsiteX6" fmla="*/ 287127 w 2234407"/>
              <a:gd name="connsiteY6" fmla="*/ 233062 h 2243339"/>
              <a:gd name="connsiteX7" fmla="*/ 120304 w 2234407"/>
              <a:gd name="connsiteY7" fmla="*/ 230160 h 2243339"/>
              <a:gd name="connsiteX8" fmla="*/ 137958 w 2234407"/>
              <a:gd name="connsiteY8" fmla="*/ 2231279 h 2243339"/>
              <a:gd name="connsiteX9" fmla="*/ 2064034 w 2234407"/>
              <a:gd name="connsiteY9" fmla="*/ 0 h 2243339"/>
              <a:gd name="connsiteX10" fmla="*/ 2234407 w 2234407"/>
              <a:gd name="connsiteY10" fmla="*/ 123025 h 2243339"/>
              <a:gd name="connsiteX11" fmla="*/ 486758 w 2234407"/>
              <a:gd name="connsiteY11" fmla="*/ 2243339 h 2243339"/>
              <a:gd name="connsiteX12" fmla="*/ 228317 w 2234407"/>
              <a:gd name="connsiteY12" fmla="*/ 2243339 h 2243339"/>
              <a:gd name="connsiteX0" fmla="*/ 240923 w 2247013"/>
              <a:gd name="connsiteY0" fmla="*/ 2120316 h 2120316"/>
              <a:gd name="connsiteX1" fmla="*/ 268037 w 2247013"/>
              <a:gd name="connsiteY1" fmla="*/ 1826564 h 2120316"/>
              <a:gd name="connsiteX2" fmla="*/ 229937 w 2247013"/>
              <a:gd name="connsiteY2" fmla="*/ 1631301 h 2120316"/>
              <a:gd name="connsiteX3" fmla="*/ 272800 w 2247013"/>
              <a:gd name="connsiteY3" fmla="*/ 1050276 h 2120316"/>
              <a:gd name="connsiteX4" fmla="*/ 220412 w 2247013"/>
              <a:gd name="connsiteY4" fmla="*/ 683564 h 2120316"/>
              <a:gd name="connsiteX5" fmla="*/ 207585 w 2247013"/>
              <a:gd name="connsiteY5" fmla="*/ 314929 h 2120316"/>
              <a:gd name="connsiteX6" fmla="*/ 299733 w 2247013"/>
              <a:gd name="connsiteY6" fmla="*/ 110039 h 2120316"/>
              <a:gd name="connsiteX7" fmla="*/ 132910 w 2247013"/>
              <a:gd name="connsiteY7" fmla="*/ 107137 h 2120316"/>
              <a:gd name="connsiteX8" fmla="*/ 150564 w 2247013"/>
              <a:gd name="connsiteY8" fmla="*/ 2108256 h 2120316"/>
              <a:gd name="connsiteX9" fmla="*/ 2247013 w 2247013"/>
              <a:gd name="connsiteY9" fmla="*/ 2 h 2120316"/>
              <a:gd name="connsiteX10" fmla="*/ 499364 w 2247013"/>
              <a:gd name="connsiteY10" fmla="*/ 2120316 h 2120316"/>
              <a:gd name="connsiteX11" fmla="*/ 240923 w 2247013"/>
              <a:gd name="connsiteY11" fmla="*/ 2120316 h 2120316"/>
              <a:gd name="connsiteX0" fmla="*/ 114280 w 372721"/>
              <a:gd name="connsiteY0" fmla="*/ 2027025 h 2166819"/>
              <a:gd name="connsiteX1" fmla="*/ 141394 w 372721"/>
              <a:gd name="connsiteY1" fmla="*/ 1733273 h 2166819"/>
              <a:gd name="connsiteX2" fmla="*/ 103294 w 372721"/>
              <a:gd name="connsiteY2" fmla="*/ 1538010 h 2166819"/>
              <a:gd name="connsiteX3" fmla="*/ 146157 w 372721"/>
              <a:gd name="connsiteY3" fmla="*/ 956985 h 2166819"/>
              <a:gd name="connsiteX4" fmla="*/ 93769 w 372721"/>
              <a:gd name="connsiteY4" fmla="*/ 590273 h 2166819"/>
              <a:gd name="connsiteX5" fmla="*/ 80942 w 372721"/>
              <a:gd name="connsiteY5" fmla="*/ 221638 h 2166819"/>
              <a:gd name="connsiteX6" fmla="*/ 173090 w 372721"/>
              <a:gd name="connsiteY6" fmla="*/ 16748 h 2166819"/>
              <a:gd name="connsiteX7" fmla="*/ 6267 w 372721"/>
              <a:gd name="connsiteY7" fmla="*/ 13846 h 2166819"/>
              <a:gd name="connsiteX8" fmla="*/ 23921 w 372721"/>
              <a:gd name="connsiteY8" fmla="*/ 2014965 h 2166819"/>
              <a:gd name="connsiteX9" fmla="*/ 372721 w 372721"/>
              <a:gd name="connsiteY9" fmla="*/ 2027025 h 2166819"/>
              <a:gd name="connsiteX10" fmla="*/ 114280 w 372721"/>
              <a:gd name="connsiteY10" fmla="*/ 2027025 h 2166819"/>
              <a:gd name="connsiteX0" fmla="*/ 114280 w 176270"/>
              <a:gd name="connsiteY0" fmla="*/ 2027025 h 2178676"/>
              <a:gd name="connsiteX1" fmla="*/ 141394 w 176270"/>
              <a:gd name="connsiteY1" fmla="*/ 1733273 h 2178676"/>
              <a:gd name="connsiteX2" fmla="*/ 103294 w 176270"/>
              <a:gd name="connsiteY2" fmla="*/ 1538010 h 2178676"/>
              <a:gd name="connsiteX3" fmla="*/ 146157 w 176270"/>
              <a:gd name="connsiteY3" fmla="*/ 956985 h 2178676"/>
              <a:gd name="connsiteX4" fmla="*/ 93769 w 176270"/>
              <a:gd name="connsiteY4" fmla="*/ 590273 h 2178676"/>
              <a:gd name="connsiteX5" fmla="*/ 80942 w 176270"/>
              <a:gd name="connsiteY5" fmla="*/ 221638 h 2178676"/>
              <a:gd name="connsiteX6" fmla="*/ 173090 w 176270"/>
              <a:gd name="connsiteY6" fmla="*/ 16748 h 2178676"/>
              <a:gd name="connsiteX7" fmla="*/ 6267 w 176270"/>
              <a:gd name="connsiteY7" fmla="*/ 13846 h 2178676"/>
              <a:gd name="connsiteX8" fmla="*/ 23921 w 176270"/>
              <a:gd name="connsiteY8" fmla="*/ 2014965 h 2178676"/>
              <a:gd name="connsiteX9" fmla="*/ 114280 w 176270"/>
              <a:gd name="connsiteY9" fmla="*/ 2027025 h 2178676"/>
              <a:gd name="connsiteX0" fmla="*/ 114280 w 176270"/>
              <a:gd name="connsiteY0" fmla="*/ 2027025 h 2027025"/>
              <a:gd name="connsiteX1" fmla="*/ 141394 w 176270"/>
              <a:gd name="connsiteY1" fmla="*/ 1733273 h 2027025"/>
              <a:gd name="connsiteX2" fmla="*/ 103294 w 176270"/>
              <a:gd name="connsiteY2" fmla="*/ 1538010 h 2027025"/>
              <a:gd name="connsiteX3" fmla="*/ 146157 w 176270"/>
              <a:gd name="connsiteY3" fmla="*/ 956985 h 2027025"/>
              <a:gd name="connsiteX4" fmla="*/ 93769 w 176270"/>
              <a:gd name="connsiteY4" fmla="*/ 590273 h 2027025"/>
              <a:gd name="connsiteX5" fmla="*/ 80942 w 176270"/>
              <a:gd name="connsiteY5" fmla="*/ 221638 h 2027025"/>
              <a:gd name="connsiteX6" fmla="*/ 173090 w 176270"/>
              <a:gd name="connsiteY6" fmla="*/ 16748 h 2027025"/>
              <a:gd name="connsiteX7" fmla="*/ 6267 w 176270"/>
              <a:gd name="connsiteY7" fmla="*/ 13846 h 2027025"/>
              <a:gd name="connsiteX8" fmla="*/ 23921 w 176270"/>
              <a:gd name="connsiteY8" fmla="*/ 2014965 h 2027025"/>
              <a:gd name="connsiteX9" fmla="*/ 114280 w 176270"/>
              <a:gd name="connsiteY9" fmla="*/ 2027025 h 2027025"/>
              <a:gd name="connsiteX0" fmla="*/ 114280 w 176270"/>
              <a:gd name="connsiteY0" fmla="*/ 2027025 h 2027025"/>
              <a:gd name="connsiteX1" fmla="*/ 141394 w 176270"/>
              <a:gd name="connsiteY1" fmla="*/ 1733273 h 2027025"/>
              <a:gd name="connsiteX2" fmla="*/ 103294 w 176270"/>
              <a:gd name="connsiteY2" fmla="*/ 1538010 h 2027025"/>
              <a:gd name="connsiteX3" fmla="*/ 146157 w 176270"/>
              <a:gd name="connsiteY3" fmla="*/ 956985 h 2027025"/>
              <a:gd name="connsiteX4" fmla="*/ 93769 w 176270"/>
              <a:gd name="connsiteY4" fmla="*/ 590273 h 2027025"/>
              <a:gd name="connsiteX5" fmla="*/ 80942 w 176270"/>
              <a:gd name="connsiteY5" fmla="*/ 221638 h 2027025"/>
              <a:gd name="connsiteX6" fmla="*/ 173090 w 176270"/>
              <a:gd name="connsiteY6" fmla="*/ 16748 h 2027025"/>
              <a:gd name="connsiteX7" fmla="*/ 6267 w 176270"/>
              <a:gd name="connsiteY7" fmla="*/ 13846 h 2027025"/>
              <a:gd name="connsiteX8" fmla="*/ 23921 w 176270"/>
              <a:gd name="connsiteY8" fmla="*/ 2014965 h 2027025"/>
              <a:gd name="connsiteX9" fmla="*/ 114280 w 176270"/>
              <a:gd name="connsiteY9" fmla="*/ 2027025 h 2027025"/>
              <a:gd name="connsiteX0" fmla="*/ 114280 w 176270"/>
              <a:gd name="connsiteY0" fmla="*/ 2027025 h 2027025"/>
              <a:gd name="connsiteX1" fmla="*/ 141394 w 176270"/>
              <a:gd name="connsiteY1" fmla="*/ 1733273 h 2027025"/>
              <a:gd name="connsiteX2" fmla="*/ 103294 w 176270"/>
              <a:gd name="connsiteY2" fmla="*/ 1538010 h 2027025"/>
              <a:gd name="connsiteX3" fmla="*/ 146157 w 176270"/>
              <a:gd name="connsiteY3" fmla="*/ 956985 h 2027025"/>
              <a:gd name="connsiteX4" fmla="*/ 93769 w 176270"/>
              <a:gd name="connsiteY4" fmla="*/ 590273 h 2027025"/>
              <a:gd name="connsiteX5" fmla="*/ 80942 w 176270"/>
              <a:gd name="connsiteY5" fmla="*/ 221638 h 2027025"/>
              <a:gd name="connsiteX6" fmla="*/ 173090 w 176270"/>
              <a:gd name="connsiteY6" fmla="*/ 16748 h 2027025"/>
              <a:gd name="connsiteX7" fmla="*/ 6267 w 176270"/>
              <a:gd name="connsiteY7" fmla="*/ 13846 h 2027025"/>
              <a:gd name="connsiteX8" fmla="*/ 8037 w 176270"/>
              <a:gd name="connsiteY8" fmla="*/ 2026878 h 2027025"/>
              <a:gd name="connsiteX9" fmla="*/ 114280 w 176270"/>
              <a:gd name="connsiteY9" fmla="*/ 2027025 h 2027025"/>
              <a:gd name="connsiteX0" fmla="*/ 108013 w 166823"/>
              <a:gd name="connsiteY0" fmla="*/ 2162103 h 2162103"/>
              <a:gd name="connsiteX1" fmla="*/ 135127 w 166823"/>
              <a:gd name="connsiteY1" fmla="*/ 1868351 h 2162103"/>
              <a:gd name="connsiteX2" fmla="*/ 97027 w 166823"/>
              <a:gd name="connsiteY2" fmla="*/ 1673088 h 2162103"/>
              <a:gd name="connsiteX3" fmla="*/ 139890 w 166823"/>
              <a:gd name="connsiteY3" fmla="*/ 1092063 h 2162103"/>
              <a:gd name="connsiteX4" fmla="*/ 87502 w 166823"/>
              <a:gd name="connsiteY4" fmla="*/ 725351 h 2162103"/>
              <a:gd name="connsiteX5" fmla="*/ 74675 w 166823"/>
              <a:gd name="connsiteY5" fmla="*/ 356716 h 2162103"/>
              <a:gd name="connsiteX6" fmla="*/ 166823 w 166823"/>
              <a:gd name="connsiteY6" fmla="*/ 151826 h 2162103"/>
              <a:gd name="connsiteX7" fmla="*/ 56287 w 166823"/>
              <a:gd name="connsiteY7" fmla="*/ 150698 h 2162103"/>
              <a:gd name="connsiteX8" fmla="*/ 0 w 166823"/>
              <a:gd name="connsiteY8" fmla="*/ 148924 h 2162103"/>
              <a:gd name="connsiteX9" fmla="*/ 1770 w 166823"/>
              <a:gd name="connsiteY9" fmla="*/ 2161956 h 2162103"/>
              <a:gd name="connsiteX10" fmla="*/ 108013 w 166823"/>
              <a:gd name="connsiteY10" fmla="*/ 2162103 h 2162103"/>
              <a:gd name="connsiteX0" fmla="*/ 108013 w 166823"/>
              <a:gd name="connsiteY0" fmla="*/ 2169259 h 2169259"/>
              <a:gd name="connsiteX1" fmla="*/ 135127 w 166823"/>
              <a:gd name="connsiteY1" fmla="*/ 1875507 h 2169259"/>
              <a:gd name="connsiteX2" fmla="*/ 97027 w 166823"/>
              <a:gd name="connsiteY2" fmla="*/ 1680244 h 2169259"/>
              <a:gd name="connsiteX3" fmla="*/ 139890 w 166823"/>
              <a:gd name="connsiteY3" fmla="*/ 1099219 h 2169259"/>
              <a:gd name="connsiteX4" fmla="*/ 87502 w 166823"/>
              <a:gd name="connsiteY4" fmla="*/ 732507 h 2169259"/>
              <a:gd name="connsiteX5" fmla="*/ 74675 w 166823"/>
              <a:gd name="connsiteY5" fmla="*/ 363872 h 2169259"/>
              <a:gd name="connsiteX6" fmla="*/ 166823 w 166823"/>
              <a:gd name="connsiteY6" fmla="*/ 158982 h 2169259"/>
              <a:gd name="connsiteX7" fmla="*/ 0 w 166823"/>
              <a:gd name="connsiteY7" fmla="*/ 156080 h 2169259"/>
              <a:gd name="connsiteX8" fmla="*/ 1770 w 166823"/>
              <a:gd name="connsiteY8" fmla="*/ 2169112 h 2169259"/>
              <a:gd name="connsiteX9" fmla="*/ 108013 w 166823"/>
              <a:gd name="connsiteY9" fmla="*/ 2169259 h 2169259"/>
              <a:gd name="connsiteX0" fmla="*/ 108013 w 166823"/>
              <a:gd name="connsiteY0" fmla="*/ 2013179 h 2013179"/>
              <a:gd name="connsiteX1" fmla="*/ 135127 w 166823"/>
              <a:gd name="connsiteY1" fmla="*/ 1719427 h 2013179"/>
              <a:gd name="connsiteX2" fmla="*/ 97027 w 166823"/>
              <a:gd name="connsiteY2" fmla="*/ 1524164 h 2013179"/>
              <a:gd name="connsiteX3" fmla="*/ 139890 w 166823"/>
              <a:gd name="connsiteY3" fmla="*/ 943139 h 2013179"/>
              <a:gd name="connsiteX4" fmla="*/ 87502 w 166823"/>
              <a:gd name="connsiteY4" fmla="*/ 576427 h 2013179"/>
              <a:gd name="connsiteX5" fmla="*/ 74675 w 166823"/>
              <a:gd name="connsiteY5" fmla="*/ 207792 h 2013179"/>
              <a:gd name="connsiteX6" fmla="*/ 166823 w 166823"/>
              <a:gd name="connsiteY6" fmla="*/ 2902 h 2013179"/>
              <a:gd name="connsiteX7" fmla="*/ 0 w 166823"/>
              <a:gd name="connsiteY7" fmla="*/ 0 h 2013179"/>
              <a:gd name="connsiteX8" fmla="*/ 1770 w 166823"/>
              <a:gd name="connsiteY8" fmla="*/ 2013032 h 2013179"/>
              <a:gd name="connsiteX9" fmla="*/ 108013 w 166823"/>
              <a:gd name="connsiteY9" fmla="*/ 2013179 h 20131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66823" h="2013179">
                <a:moveTo>
                  <a:pt x="108013" y="2013179"/>
                </a:moveTo>
                <a:cubicBezTo>
                  <a:pt x="107526" y="1916849"/>
                  <a:pt x="135614" y="1815757"/>
                  <a:pt x="135127" y="1719427"/>
                </a:cubicBezTo>
                <a:cubicBezTo>
                  <a:pt x="135127" y="1682914"/>
                  <a:pt x="97027" y="1560677"/>
                  <a:pt x="97027" y="1524164"/>
                </a:cubicBezTo>
                <a:cubicBezTo>
                  <a:pt x="100202" y="1335252"/>
                  <a:pt x="136715" y="1132051"/>
                  <a:pt x="139890" y="943139"/>
                </a:cubicBezTo>
                <a:cubicBezTo>
                  <a:pt x="136715" y="825664"/>
                  <a:pt x="90677" y="693902"/>
                  <a:pt x="87502" y="576427"/>
                </a:cubicBezTo>
                <a:cubicBezTo>
                  <a:pt x="127676" y="431323"/>
                  <a:pt x="67838" y="329083"/>
                  <a:pt x="74675" y="207792"/>
                </a:cubicBezTo>
                <a:cubicBezTo>
                  <a:pt x="76263" y="123655"/>
                  <a:pt x="65291" y="98084"/>
                  <a:pt x="166823" y="2902"/>
                </a:cubicBezTo>
                <a:lnTo>
                  <a:pt x="0" y="0"/>
                </a:lnTo>
                <a:lnTo>
                  <a:pt x="1770" y="2013032"/>
                </a:lnTo>
                <a:lnTo>
                  <a:pt x="108013" y="2013179"/>
                </a:lnTo>
                <a:close/>
              </a:path>
            </a:pathLst>
          </a:custGeom>
          <a:pattFill prst="wdUpDiag">
            <a:fgClr>
              <a:srgbClr val="EE7713"/>
            </a:fgClr>
            <a:bgClr>
              <a:srgbClr val="FFFF00"/>
            </a:bgClr>
          </a:patt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sp>
        <p:nvSpPr>
          <p:cNvPr id="92" name="Rettangolo 6"/>
          <p:cNvSpPr/>
          <p:nvPr/>
        </p:nvSpPr>
        <p:spPr>
          <a:xfrm>
            <a:off x="3842827" y="3699870"/>
            <a:ext cx="60605" cy="769091"/>
          </a:xfrm>
          <a:custGeom>
            <a:avLst/>
            <a:gdLst>
              <a:gd name="connsiteX0" fmla="*/ 0 w 265176"/>
              <a:gd name="connsiteY0" fmla="*/ 0 h 3886200"/>
              <a:gd name="connsiteX1" fmla="*/ 265176 w 265176"/>
              <a:gd name="connsiteY1" fmla="*/ 0 h 3886200"/>
              <a:gd name="connsiteX2" fmla="*/ 265176 w 265176"/>
              <a:gd name="connsiteY2" fmla="*/ 3886200 h 3886200"/>
              <a:gd name="connsiteX3" fmla="*/ 0 w 265176"/>
              <a:gd name="connsiteY3" fmla="*/ 3886200 h 3886200"/>
              <a:gd name="connsiteX4" fmla="*/ 0 w 265176"/>
              <a:gd name="connsiteY4" fmla="*/ 0 h 3886200"/>
              <a:gd name="connsiteX0" fmla="*/ 0 w 265176"/>
              <a:gd name="connsiteY0" fmla="*/ 155 h 3886355"/>
              <a:gd name="connsiteX1" fmla="*/ 155448 w 265176"/>
              <a:gd name="connsiteY1" fmla="*/ 36731 h 3886355"/>
              <a:gd name="connsiteX2" fmla="*/ 265176 w 265176"/>
              <a:gd name="connsiteY2" fmla="*/ 155 h 3886355"/>
              <a:gd name="connsiteX3" fmla="*/ 265176 w 265176"/>
              <a:gd name="connsiteY3" fmla="*/ 3886355 h 3886355"/>
              <a:gd name="connsiteX4" fmla="*/ 0 w 265176"/>
              <a:gd name="connsiteY4" fmla="*/ 3886355 h 3886355"/>
              <a:gd name="connsiteX5" fmla="*/ 0 w 265176"/>
              <a:gd name="connsiteY5" fmla="*/ 155 h 3886355"/>
              <a:gd name="connsiteX0" fmla="*/ 0 w 265186"/>
              <a:gd name="connsiteY0" fmla="*/ 155 h 3886355"/>
              <a:gd name="connsiteX1" fmla="*/ 155448 w 265186"/>
              <a:gd name="connsiteY1" fmla="*/ 36731 h 3886355"/>
              <a:gd name="connsiteX2" fmla="*/ 265176 w 265186"/>
              <a:gd name="connsiteY2" fmla="*/ 155 h 3886355"/>
              <a:gd name="connsiteX3" fmla="*/ 247695 w 265186"/>
              <a:gd name="connsiteY3" fmla="*/ 3661757 h 3886355"/>
              <a:gd name="connsiteX4" fmla="*/ 265176 w 265186"/>
              <a:gd name="connsiteY4" fmla="*/ 3886355 h 3886355"/>
              <a:gd name="connsiteX5" fmla="*/ 0 w 265186"/>
              <a:gd name="connsiteY5" fmla="*/ 3886355 h 3886355"/>
              <a:gd name="connsiteX6" fmla="*/ 0 w 265186"/>
              <a:gd name="connsiteY6" fmla="*/ 155 h 3886355"/>
              <a:gd name="connsiteX0" fmla="*/ 0 w 281981"/>
              <a:gd name="connsiteY0" fmla="*/ 155 h 3886355"/>
              <a:gd name="connsiteX1" fmla="*/ 155448 w 281981"/>
              <a:gd name="connsiteY1" fmla="*/ 36731 h 3886355"/>
              <a:gd name="connsiteX2" fmla="*/ 265176 w 281981"/>
              <a:gd name="connsiteY2" fmla="*/ 155 h 3886355"/>
              <a:gd name="connsiteX3" fmla="*/ 281033 w 281981"/>
              <a:gd name="connsiteY3" fmla="*/ 3452207 h 3886355"/>
              <a:gd name="connsiteX4" fmla="*/ 247695 w 281981"/>
              <a:gd name="connsiteY4" fmla="*/ 3661757 h 3886355"/>
              <a:gd name="connsiteX5" fmla="*/ 265176 w 281981"/>
              <a:gd name="connsiteY5" fmla="*/ 3886355 h 3886355"/>
              <a:gd name="connsiteX6" fmla="*/ 0 w 281981"/>
              <a:gd name="connsiteY6" fmla="*/ 3886355 h 3886355"/>
              <a:gd name="connsiteX7" fmla="*/ 0 w 281981"/>
              <a:gd name="connsiteY7" fmla="*/ 155 h 3886355"/>
              <a:gd name="connsiteX0" fmla="*/ 0 w 281533"/>
              <a:gd name="connsiteY0" fmla="*/ 155 h 3886355"/>
              <a:gd name="connsiteX1" fmla="*/ 155448 w 281533"/>
              <a:gd name="connsiteY1" fmla="*/ 36731 h 3886355"/>
              <a:gd name="connsiteX2" fmla="*/ 265176 w 281533"/>
              <a:gd name="connsiteY2" fmla="*/ 155 h 3886355"/>
              <a:gd name="connsiteX3" fmla="*/ 252458 w 281533"/>
              <a:gd name="connsiteY3" fmla="*/ 2028219 h 3886355"/>
              <a:gd name="connsiteX4" fmla="*/ 281033 w 281533"/>
              <a:gd name="connsiteY4" fmla="*/ 3452207 h 3886355"/>
              <a:gd name="connsiteX5" fmla="*/ 247695 w 281533"/>
              <a:gd name="connsiteY5" fmla="*/ 3661757 h 3886355"/>
              <a:gd name="connsiteX6" fmla="*/ 265176 w 281533"/>
              <a:gd name="connsiteY6" fmla="*/ 3886355 h 3886355"/>
              <a:gd name="connsiteX7" fmla="*/ 0 w 281533"/>
              <a:gd name="connsiteY7" fmla="*/ 3886355 h 3886355"/>
              <a:gd name="connsiteX8" fmla="*/ 0 w 281533"/>
              <a:gd name="connsiteY8" fmla="*/ 155 h 3886355"/>
              <a:gd name="connsiteX0" fmla="*/ 0 w 284314"/>
              <a:gd name="connsiteY0" fmla="*/ 155 h 3886355"/>
              <a:gd name="connsiteX1" fmla="*/ 155448 w 284314"/>
              <a:gd name="connsiteY1" fmla="*/ 36731 h 3886355"/>
              <a:gd name="connsiteX2" fmla="*/ 265176 w 284314"/>
              <a:gd name="connsiteY2" fmla="*/ 155 h 3886355"/>
              <a:gd name="connsiteX3" fmla="*/ 252458 w 284314"/>
              <a:gd name="connsiteY3" fmla="*/ 2028219 h 3886355"/>
              <a:gd name="connsiteX4" fmla="*/ 281033 w 284314"/>
              <a:gd name="connsiteY4" fmla="*/ 2914044 h 3886355"/>
              <a:gd name="connsiteX5" fmla="*/ 281033 w 284314"/>
              <a:gd name="connsiteY5" fmla="*/ 3452207 h 3886355"/>
              <a:gd name="connsiteX6" fmla="*/ 247695 w 284314"/>
              <a:gd name="connsiteY6" fmla="*/ 3661757 h 3886355"/>
              <a:gd name="connsiteX7" fmla="*/ 265176 w 284314"/>
              <a:gd name="connsiteY7" fmla="*/ 3886355 h 3886355"/>
              <a:gd name="connsiteX8" fmla="*/ 0 w 284314"/>
              <a:gd name="connsiteY8" fmla="*/ 3886355 h 3886355"/>
              <a:gd name="connsiteX9" fmla="*/ 0 w 284314"/>
              <a:gd name="connsiteY9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81033 w 281804"/>
              <a:gd name="connsiteY4" fmla="*/ 2914044 h 3886355"/>
              <a:gd name="connsiteX5" fmla="*/ 252457 w 281804"/>
              <a:gd name="connsiteY5" fmla="*/ 3195032 h 3886355"/>
              <a:gd name="connsiteX6" fmla="*/ 281033 w 281804"/>
              <a:gd name="connsiteY6" fmla="*/ 3452207 h 3886355"/>
              <a:gd name="connsiteX7" fmla="*/ 247695 w 281804"/>
              <a:gd name="connsiteY7" fmla="*/ 3661757 h 3886355"/>
              <a:gd name="connsiteX8" fmla="*/ 265176 w 281804"/>
              <a:gd name="connsiteY8" fmla="*/ 3886355 h 3886355"/>
              <a:gd name="connsiteX9" fmla="*/ 0 w 281804"/>
              <a:gd name="connsiteY9" fmla="*/ 3886355 h 3886355"/>
              <a:gd name="connsiteX10" fmla="*/ 0 w 281804"/>
              <a:gd name="connsiteY10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81033 w 281804"/>
              <a:gd name="connsiteY4" fmla="*/ 2914044 h 3886355"/>
              <a:gd name="connsiteX5" fmla="*/ 252457 w 281804"/>
              <a:gd name="connsiteY5" fmla="*/ 3195032 h 3886355"/>
              <a:gd name="connsiteX6" fmla="*/ 281033 w 281804"/>
              <a:gd name="connsiteY6" fmla="*/ 3452207 h 3886355"/>
              <a:gd name="connsiteX7" fmla="*/ 266745 w 281804"/>
              <a:gd name="connsiteY7" fmla="*/ 3661757 h 3886355"/>
              <a:gd name="connsiteX8" fmla="*/ 265176 w 281804"/>
              <a:gd name="connsiteY8" fmla="*/ 3886355 h 3886355"/>
              <a:gd name="connsiteX9" fmla="*/ 0 w 281804"/>
              <a:gd name="connsiteY9" fmla="*/ 3886355 h 3886355"/>
              <a:gd name="connsiteX10" fmla="*/ 0 w 281804"/>
              <a:gd name="connsiteY10" fmla="*/ 155 h 3886355"/>
              <a:gd name="connsiteX0" fmla="*/ 0 w 281804"/>
              <a:gd name="connsiteY0" fmla="*/ 155 h 3886355"/>
              <a:gd name="connsiteX1" fmla="*/ 155448 w 281804"/>
              <a:gd name="connsiteY1" fmla="*/ 36731 h 3886355"/>
              <a:gd name="connsiteX2" fmla="*/ 265176 w 281804"/>
              <a:gd name="connsiteY2" fmla="*/ 155 h 3886355"/>
              <a:gd name="connsiteX3" fmla="*/ 252458 w 281804"/>
              <a:gd name="connsiteY3" fmla="*/ 2028219 h 3886355"/>
              <a:gd name="connsiteX4" fmla="*/ 233407 w 281804"/>
              <a:gd name="connsiteY4" fmla="*/ 2242532 h 3886355"/>
              <a:gd name="connsiteX5" fmla="*/ 281033 w 281804"/>
              <a:gd name="connsiteY5" fmla="*/ 2914044 h 3886355"/>
              <a:gd name="connsiteX6" fmla="*/ 252457 w 281804"/>
              <a:gd name="connsiteY6" fmla="*/ 3195032 h 3886355"/>
              <a:gd name="connsiteX7" fmla="*/ 281033 w 281804"/>
              <a:gd name="connsiteY7" fmla="*/ 3452207 h 3886355"/>
              <a:gd name="connsiteX8" fmla="*/ 266745 w 281804"/>
              <a:gd name="connsiteY8" fmla="*/ 3661757 h 3886355"/>
              <a:gd name="connsiteX9" fmla="*/ 265176 w 281804"/>
              <a:gd name="connsiteY9" fmla="*/ 3886355 h 3886355"/>
              <a:gd name="connsiteX10" fmla="*/ 0 w 281804"/>
              <a:gd name="connsiteY10" fmla="*/ 3886355 h 3886355"/>
              <a:gd name="connsiteX11" fmla="*/ 0 w 281804"/>
              <a:gd name="connsiteY11" fmla="*/ 155 h 3886355"/>
              <a:gd name="connsiteX0" fmla="*/ 0 w 286180"/>
              <a:gd name="connsiteY0" fmla="*/ 155 h 3886355"/>
              <a:gd name="connsiteX1" fmla="*/ 155448 w 286180"/>
              <a:gd name="connsiteY1" fmla="*/ 36731 h 3886355"/>
              <a:gd name="connsiteX2" fmla="*/ 265176 w 286180"/>
              <a:gd name="connsiteY2" fmla="*/ 155 h 3886355"/>
              <a:gd name="connsiteX3" fmla="*/ 285794 w 286180"/>
              <a:gd name="connsiteY3" fmla="*/ 1599594 h 3886355"/>
              <a:gd name="connsiteX4" fmla="*/ 252458 w 286180"/>
              <a:gd name="connsiteY4" fmla="*/ 2028219 h 3886355"/>
              <a:gd name="connsiteX5" fmla="*/ 233407 w 286180"/>
              <a:gd name="connsiteY5" fmla="*/ 2242532 h 3886355"/>
              <a:gd name="connsiteX6" fmla="*/ 281033 w 286180"/>
              <a:gd name="connsiteY6" fmla="*/ 2914044 h 3886355"/>
              <a:gd name="connsiteX7" fmla="*/ 252457 w 286180"/>
              <a:gd name="connsiteY7" fmla="*/ 3195032 h 3886355"/>
              <a:gd name="connsiteX8" fmla="*/ 281033 w 286180"/>
              <a:gd name="connsiteY8" fmla="*/ 3452207 h 3886355"/>
              <a:gd name="connsiteX9" fmla="*/ 266745 w 286180"/>
              <a:gd name="connsiteY9" fmla="*/ 3661757 h 3886355"/>
              <a:gd name="connsiteX10" fmla="*/ 265176 w 286180"/>
              <a:gd name="connsiteY10" fmla="*/ 3886355 h 3886355"/>
              <a:gd name="connsiteX11" fmla="*/ 0 w 286180"/>
              <a:gd name="connsiteY11" fmla="*/ 3886355 h 3886355"/>
              <a:gd name="connsiteX12" fmla="*/ 0 w 286180"/>
              <a:gd name="connsiteY12" fmla="*/ 155 h 3886355"/>
              <a:gd name="connsiteX0" fmla="*/ 0 w 285982"/>
              <a:gd name="connsiteY0" fmla="*/ 155 h 3886355"/>
              <a:gd name="connsiteX1" fmla="*/ 155448 w 285982"/>
              <a:gd name="connsiteY1" fmla="*/ 36731 h 3886355"/>
              <a:gd name="connsiteX2" fmla="*/ 265176 w 285982"/>
              <a:gd name="connsiteY2" fmla="*/ 155 h 3886355"/>
              <a:gd name="connsiteX3" fmla="*/ 247694 w 285982"/>
              <a:gd name="connsiteY3" fmla="*/ 242282 h 3886355"/>
              <a:gd name="connsiteX4" fmla="*/ 285794 w 285982"/>
              <a:gd name="connsiteY4" fmla="*/ 1599594 h 3886355"/>
              <a:gd name="connsiteX5" fmla="*/ 252458 w 285982"/>
              <a:gd name="connsiteY5" fmla="*/ 2028219 h 3886355"/>
              <a:gd name="connsiteX6" fmla="*/ 233407 w 285982"/>
              <a:gd name="connsiteY6" fmla="*/ 2242532 h 3886355"/>
              <a:gd name="connsiteX7" fmla="*/ 281033 w 285982"/>
              <a:gd name="connsiteY7" fmla="*/ 2914044 h 3886355"/>
              <a:gd name="connsiteX8" fmla="*/ 252457 w 285982"/>
              <a:gd name="connsiteY8" fmla="*/ 3195032 h 3886355"/>
              <a:gd name="connsiteX9" fmla="*/ 281033 w 285982"/>
              <a:gd name="connsiteY9" fmla="*/ 3452207 h 3886355"/>
              <a:gd name="connsiteX10" fmla="*/ 266745 w 285982"/>
              <a:gd name="connsiteY10" fmla="*/ 3661757 h 3886355"/>
              <a:gd name="connsiteX11" fmla="*/ 265176 w 285982"/>
              <a:gd name="connsiteY11" fmla="*/ 3886355 h 3886355"/>
              <a:gd name="connsiteX12" fmla="*/ 0 w 285982"/>
              <a:gd name="connsiteY12" fmla="*/ 3886355 h 3886355"/>
              <a:gd name="connsiteX13" fmla="*/ 0 w 285982"/>
              <a:gd name="connsiteY13" fmla="*/ 155 h 3886355"/>
              <a:gd name="connsiteX0" fmla="*/ 0 w 286354"/>
              <a:gd name="connsiteY0" fmla="*/ 155 h 3886355"/>
              <a:gd name="connsiteX1" fmla="*/ 155448 w 286354"/>
              <a:gd name="connsiteY1" fmla="*/ 36731 h 3886355"/>
              <a:gd name="connsiteX2" fmla="*/ 265176 w 286354"/>
              <a:gd name="connsiteY2" fmla="*/ 155 h 3886355"/>
              <a:gd name="connsiteX3" fmla="*/ 247694 w 286354"/>
              <a:gd name="connsiteY3" fmla="*/ 242282 h 3886355"/>
              <a:gd name="connsiteX4" fmla="*/ 257219 w 286354"/>
              <a:gd name="connsiteY4" fmla="*/ 1180494 h 3886355"/>
              <a:gd name="connsiteX5" fmla="*/ 285794 w 286354"/>
              <a:gd name="connsiteY5" fmla="*/ 1599594 h 3886355"/>
              <a:gd name="connsiteX6" fmla="*/ 252458 w 286354"/>
              <a:gd name="connsiteY6" fmla="*/ 2028219 h 3886355"/>
              <a:gd name="connsiteX7" fmla="*/ 233407 w 286354"/>
              <a:gd name="connsiteY7" fmla="*/ 2242532 h 3886355"/>
              <a:gd name="connsiteX8" fmla="*/ 281033 w 286354"/>
              <a:gd name="connsiteY8" fmla="*/ 2914044 h 3886355"/>
              <a:gd name="connsiteX9" fmla="*/ 252457 w 286354"/>
              <a:gd name="connsiteY9" fmla="*/ 3195032 h 3886355"/>
              <a:gd name="connsiteX10" fmla="*/ 281033 w 286354"/>
              <a:gd name="connsiteY10" fmla="*/ 3452207 h 3886355"/>
              <a:gd name="connsiteX11" fmla="*/ 266745 w 286354"/>
              <a:gd name="connsiteY11" fmla="*/ 3661757 h 3886355"/>
              <a:gd name="connsiteX12" fmla="*/ 265176 w 286354"/>
              <a:gd name="connsiteY12" fmla="*/ 3886355 h 3886355"/>
              <a:gd name="connsiteX13" fmla="*/ 0 w 286354"/>
              <a:gd name="connsiteY13" fmla="*/ 3886355 h 3886355"/>
              <a:gd name="connsiteX14" fmla="*/ 0 w 286354"/>
              <a:gd name="connsiteY14" fmla="*/ 155 h 3886355"/>
              <a:gd name="connsiteX0" fmla="*/ 0 w 286354"/>
              <a:gd name="connsiteY0" fmla="*/ 155 h 3886355"/>
              <a:gd name="connsiteX1" fmla="*/ 155448 w 286354"/>
              <a:gd name="connsiteY1" fmla="*/ 36731 h 3886355"/>
              <a:gd name="connsiteX2" fmla="*/ 265176 w 286354"/>
              <a:gd name="connsiteY2" fmla="*/ 155 h 3886355"/>
              <a:gd name="connsiteX3" fmla="*/ 276269 w 286354"/>
              <a:gd name="connsiteY3" fmla="*/ 242282 h 3886355"/>
              <a:gd name="connsiteX4" fmla="*/ 257219 w 286354"/>
              <a:gd name="connsiteY4" fmla="*/ 1180494 h 3886355"/>
              <a:gd name="connsiteX5" fmla="*/ 285794 w 286354"/>
              <a:gd name="connsiteY5" fmla="*/ 1599594 h 3886355"/>
              <a:gd name="connsiteX6" fmla="*/ 252458 w 286354"/>
              <a:gd name="connsiteY6" fmla="*/ 2028219 h 3886355"/>
              <a:gd name="connsiteX7" fmla="*/ 233407 w 286354"/>
              <a:gd name="connsiteY7" fmla="*/ 2242532 h 3886355"/>
              <a:gd name="connsiteX8" fmla="*/ 281033 w 286354"/>
              <a:gd name="connsiteY8" fmla="*/ 2914044 h 3886355"/>
              <a:gd name="connsiteX9" fmla="*/ 252457 w 286354"/>
              <a:gd name="connsiteY9" fmla="*/ 3195032 h 3886355"/>
              <a:gd name="connsiteX10" fmla="*/ 281033 w 286354"/>
              <a:gd name="connsiteY10" fmla="*/ 3452207 h 3886355"/>
              <a:gd name="connsiteX11" fmla="*/ 266745 w 286354"/>
              <a:gd name="connsiteY11" fmla="*/ 3661757 h 3886355"/>
              <a:gd name="connsiteX12" fmla="*/ 265176 w 286354"/>
              <a:gd name="connsiteY12" fmla="*/ 3886355 h 3886355"/>
              <a:gd name="connsiteX13" fmla="*/ 0 w 286354"/>
              <a:gd name="connsiteY13" fmla="*/ 3886355 h 3886355"/>
              <a:gd name="connsiteX14" fmla="*/ 0 w 286354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33407 w 286838"/>
              <a:gd name="connsiteY7" fmla="*/ 2242532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81033 w 286838"/>
              <a:gd name="connsiteY10" fmla="*/ 345220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81033 w 286838"/>
              <a:gd name="connsiteY10" fmla="*/ 345220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52457 w 286838"/>
              <a:gd name="connsiteY9" fmla="*/ 3195032 h 3886355"/>
              <a:gd name="connsiteX10" fmla="*/ 261983 w 286838"/>
              <a:gd name="connsiteY10" fmla="*/ 343315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86838"/>
              <a:gd name="connsiteY0" fmla="*/ 155 h 3886355"/>
              <a:gd name="connsiteX1" fmla="*/ 155448 w 286838"/>
              <a:gd name="connsiteY1" fmla="*/ 36731 h 3886355"/>
              <a:gd name="connsiteX2" fmla="*/ 265176 w 286838"/>
              <a:gd name="connsiteY2" fmla="*/ 155 h 3886355"/>
              <a:gd name="connsiteX3" fmla="*/ 276269 w 286838"/>
              <a:gd name="connsiteY3" fmla="*/ 242282 h 3886355"/>
              <a:gd name="connsiteX4" fmla="*/ 271506 w 286838"/>
              <a:gd name="connsiteY4" fmla="*/ 1180494 h 3886355"/>
              <a:gd name="connsiteX5" fmla="*/ 285794 w 286838"/>
              <a:gd name="connsiteY5" fmla="*/ 1599594 h 3886355"/>
              <a:gd name="connsiteX6" fmla="*/ 252458 w 286838"/>
              <a:gd name="connsiteY6" fmla="*/ 2028219 h 3886355"/>
              <a:gd name="connsiteX7" fmla="*/ 257219 w 286838"/>
              <a:gd name="connsiteY7" fmla="*/ 2252057 h 3886355"/>
              <a:gd name="connsiteX8" fmla="*/ 281033 w 286838"/>
              <a:gd name="connsiteY8" fmla="*/ 2914044 h 3886355"/>
              <a:gd name="connsiteX9" fmla="*/ 266744 w 286838"/>
              <a:gd name="connsiteY9" fmla="*/ 3195032 h 3886355"/>
              <a:gd name="connsiteX10" fmla="*/ 261983 w 286838"/>
              <a:gd name="connsiteY10" fmla="*/ 3433157 h 3886355"/>
              <a:gd name="connsiteX11" fmla="*/ 266745 w 286838"/>
              <a:gd name="connsiteY11" fmla="*/ 3661757 h 3886355"/>
              <a:gd name="connsiteX12" fmla="*/ 265176 w 286838"/>
              <a:gd name="connsiteY12" fmla="*/ 3886355 h 3886355"/>
              <a:gd name="connsiteX13" fmla="*/ 0 w 286838"/>
              <a:gd name="connsiteY13" fmla="*/ 3886355 h 3886355"/>
              <a:gd name="connsiteX14" fmla="*/ 0 w 286838"/>
              <a:gd name="connsiteY14" fmla="*/ 155 h 3886355"/>
              <a:gd name="connsiteX0" fmla="*/ 0 w 293751"/>
              <a:gd name="connsiteY0" fmla="*/ 155 h 3895880"/>
              <a:gd name="connsiteX1" fmla="*/ 155448 w 293751"/>
              <a:gd name="connsiteY1" fmla="*/ 36731 h 3895880"/>
              <a:gd name="connsiteX2" fmla="*/ 265176 w 293751"/>
              <a:gd name="connsiteY2" fmla="*/ 155 h 3895880"/>
              <a:gd name="connsiteX3" fmla="*/ 276269 w 293751"/>
              <a:gd name="connsiteY3" fmla="*/ 242282 h 3895880"/>
              <a:gd name="connsiteX4" fmla="*/ 271506 w 293751"/>
              <a:gd name="connsiteY4" fmla="*/ 1180494 h 3895880"/>
              <a:gd name="connsiteX5" fmla="*/ 285794 w 293751"/>
              <a:gd name="connsiteY5" fmla="*/ 1599594 h 3895880"/>
              <a:gd name="connsiteX6" fmla="*/ 252458 w 293751"/>
              <a:gd name="connsiteY6" fmla="*/ 2028219 h 3895880"/>
              <a:gd name="connsiteX7" fmla="*/ 257219 w 293751"/>
              <a:gd name="connsiteY7" fmla="*/ 2252057 h 3895880"/>
              <a:gd name="connsiteX8" fmla="*/ 281033 w 293751"/>
              <a:gd name="connsiteY8" fmla="*/ 2914044 h 3895880"/>
              <a:gd name="connsiteX9" fmla="*/ 266744 w 293751"/>
              <a:gd name="connsiteY9" fmla="*/ 3195032 h 3895880"/>
              <a:gd name="connsiteX10" fmla="*/ 261983 w 293751"/>
              <a:gd name="connsiteY10" fmla="*/ 3433157 h 3895880"/>
              <a:gd name="connsiteX11" fmla="*/ 266745 w 293751"/>
              <a:gd name="connsiteY11" fmla="*/ 3661757 h 3895880"/>
              <a:gd name="connsiteX12" fmla="*/ 293751 w 293751"/>
              <a:gd name="connsiteY12" fmla="*/ 3895880 h 3895880"/>
              <a:gd name="connsiteX13" fmla="*/ 0 w 293751"/>
              <a:gd name="connsiteY13" fmla="*/ 3886355 h 3895880"/>
              <a:gd name="connsiteX14" fmla="*/ 0 w 293751"/>
              <a:gd name="connsiteY14" fmla="*/ 155 h 3895880"/>
              <a:gd name="connsiteX0" fmla="*/ 0 w 300621"/>
              <a:gd name="connsiteY0" fmla="*/ 927453 h 3895725"/>
              <a:gd name="connsiteX1" fmla="*/ 162318 w 300621"/>
              <a:gd name="connsiteY1" fmla="*/ 36576 h 3895725"/>
              <a:gd name="connsiteX2" fmla="*/ 272046 w 300621"/>
              <a:gd name="connsiteY2" fmla="*/ 0 h 3895725"/>
              <a:gd name="connsiteX3" fmla="*/ 283139 w 300621"/>
              <a:gd name="connsiteY3" fmla="*/ 242127 h 3895725"/>
              <a:gd name="connsiteX4" fmla="*/ 278376 w 300621"/>
              <a:gd name="connsiteY4" fmla="*/ 1180339 h 3895725"/>
              <a:gd name="connsiteX5" fmla="*/ 292664 w 300621"/>
              <a:gd name="connsiteY5" fmla="*/ 1599439 h 3895725"/>
              <a:gd name="connsiteX6" fmla="*/ 259328 w 300621"/>
              <a:gd name="connsiteY6" fmla="*/ 2028064 h 3895725"/>
              <a:gd name="connsiteX7" fmla="*/ 264089 w 300621"/>
              <a:gd name="connsiteY7" fmla="*/ 2251902 h 3895725"/>
              <a:gd name="connsiteX8" fmla="*/ 287903 w 300621"/>
              <a:gd name="connsiteY8" fmla="*/ 2913889 h 3895725"/>
              <a:gd name="connsiteX9" fmla="*/ 273614 w 300621"/>
              <a:gd name="connsiteY9" fmla="*/ 3194877 h 3895725"/>
              <a:gd name="connsiteX10" fmla="*/ 268853 w 300621"/>
              <a:gd name="connsiteY10" fmla="*/ 3433002 h 3895725"/>
              <a:gd name="connsiteX11" fmla="*/ 273615 w 300621"/>
              <a:gd name="connsiteY11" fmla="*/ 3661602 h 3895725"/>
              <a:gd name="connsiteX12" fmla="*/ 300621 w 300621"/>
              <a:gd name="connsiteY12" fmla="*/ 3895725 h 3895725"/>
              <a:gd name="connsiteX13" fmla="*/ 6870 w 300621"/>
              <a:gd name="connsiteY13" fmla="*/ 3886200 h 3895725"/>
              <a:gd name="connsiteX14" fmla="*/ 0 w 300621"/>
              <a:gd name="connsiteY14" fmla="*/ 927453 h 3895725"/>
              <a:gd name="connsiteX0" fmla="*/ 0 w 300621"/>
              <a:gd name="connsiteY0" fmla="*/ 927453 h 3895725"/>
              <a:gd name="connsiteX1" fmla="*/ 127968 w 300621"/>
              <a:gd name="connsiteY1" fmla="*/ 970899 h 3895725"/>
              <a:gd name="connsiteX2" fmla="*/ 272046 w 300621"/>
              <a:gd name="connsiteY2" fmla="*/ 0 h 3895725"/>
              <a:gd name="connsiteX3" fmla="*/ 283139 w 300621"/>
              <a:gd name="connsiteY3" fmla="*/ 242127 h 3895725"/>
              <a:gd name="connsiteX4" fmla="*/ 278376 w 300621"/>
              <a:gd name="connsiteY4" fmla="*/ 1180339 h 3895725"/>
              <a:gd name="connsiteX5" fmla="*/ 292664 w 300621"/>
              <a:gd name="connsiteY5" fmla="*/ 1599439 h 3895725"/>
              <a:gd name="connsiteX6" fmla="*/ 259328 w 300621"/>
              <a:gd name="connsiteY6" fmla="*/ 2028064 h 3895725"/>
              <a:gd name="connsiteX7" fmla="*/ 264089 w 300621"/>
              <a:gd name="connsiteY7" fmla="*/ 2251902 h 3895725"/>
              <a:gd name="connsiteX8" fmla="*/ 287903 w 300621"/>
              <a:gd name="connsiteY8" fmla="*/ 2913889 h 3895725"/>
              <a:gd name="connsiteX9" fmla="*/ 273614 w 300621"/>
              <a:gd name="connsiteY9" fmla="*/ 3194877 h 3895725"/>
              <a:gd name="connsiteX10" fmla="*/ 268853 w 300621"/>
              <a:gd name="connsiteY10" fmla="*/ 3433002 h 3895725"/>
              <a:gd name="connsiteX11" fmla="*/ 273615 w 300621"/>
              <a:gd name="connsiteY11" fmla="*/ 3661602 h 3895725"/>
              <a:gd name="connsiteX12" fmla="*/ 300621 w 300621"/>
              <a:gd name="connsiteY12" fmla="*/ 3895725 h 3895725"/>
              <a:gd name="connsiteX13" fmla="*/ 6870 w 300621"/>
              <a:gd name="connsiteY13" fmla="*/ 3886200 h 3895725"/>
              <a:gd name="connsiteX14" fmla="*/ 0 w 300621"/>
              <a:gd name="connsiteY14" fmla="*/ 927453 h 3895725"/>
              <a:gd name="connsiteX0" fmla="*/ 0 w 300621"/>
              <a:gd name="connsiteY0" fmla="*/ 685326 h 3653598"/>
              <a:gd name="connsiteX1" fmla="*/ 127968 w 300621"/>
              <a:gd name="connsiteY1" fmla="*/ 728772 h 3653598"/>
              <a:gd name="connsiteX2" fmla="*/ 283139 w 300621"/>
              <a:gd name="connsiteY2" fmla="*/ 0 h 3653598"/>
              <a:gd name="connsiteX3" fmla="*/ 278376 w 300621"/>
              <a:gd name="connsiteY3" fmla="*/ 938212 h 3653598"/>
              <a:gd name="connsiteX4" fmla="*/ 292664 w 300621"/>
              <a:gd name="connsiteY4" fmla="*/ 1357312 h 3653598"/>
              <a:gd name="connsiteX5" fmla="*/ 259328 w 300621"/>
              <a:gd name="connsiteY5" fmla="*/ 1785937 h 3653598"/>
              <a:gd name="connsiteX6" fmla="*/ 264089 w 300621"/>
              <a:gd name="connsiteY6" fmla="*/ 2009775 h 3653598"/>
              <a:gd name="connsiteX7" fmla="*/ 287903 w 300621"/>
              <a:gd name="connsiteY7" fmla="*/ 2671762 h 3653598"/>
              <a:gd name="connsiteX8" fmla="*/ 273614 w 300621"/>
              <a:gd name="connsiteY8" fmla="*/ 2952750 h 3653598"/>
              <a:gd name="connsiteX9" fmla="*/ 268853 w 300621"/>
              <a:gd name="connsiteY9" fmla="*/ 3190875 h 3653598"/>
              <a:gd name="connsiteX10" fmla="*/ 273615 w 300621"/>
              <a:gd name="connsiteY10" fmla="*/ 3419475 h 3653598"/>
              <a:gd name="connsiteX11" fmla="*/ 300621 w 300621"/>
              <a:gd name="connsiteY11" fmla="*/ 3653598 h 3653598"/>
              <a:gd name="connsiteX12" fmla="*/ 6870 w 300621"/>
              <a:gd name="connsiteY12" fmla="*/ 3644073 h 3653598"/>
              <a:gd name="connsiteX13" fmla="*/ 0 w 300621"/>
              <a:gd name="connsiteY13" fmla="*/ 685326 h 3653598"/>
              <a:gd name="connsiteX0" fmla="*/ 0 w 300621"/>
              <a:gd name="connsiteY0" fmla="*/ 60154 h 3028426"/>
              <a:gd name="connsiteX1" fmla="*/ 127968 w 300621"/>
              <a:gd name="connsiteY1" fmla="*/ 103600 h 3028426"/>
              <a:gd name="connsiteX2" fmla="*/ 283139 w 300621"/>
              <a:gd name="connsiteY2" fmla="*/ 0 h 3028426"/>
              <a:gd name="connsiteX3" fmla="*/ 278376 w 300621"/>
              <a:gd name="connsiteY3" fmla="*/ 313040 h 3028426"/>
              <a:gd name="connsiteX4" fmla="*/ 292664 w 300621"/>
              <a:gd name="connsiteY4" fmla="*/ 732140 h 3028426"/>
              <a:gd name="connsiteX5" fmla="*/ 259328 w 300621"/>
              <a:gd name="connsiteY5" fmla="*/ 1160765 h 3028426"/>
              <a:gd name="connsiteX6" fmla="*/ 264089 w 300621"/>
              <a:gd name="connsiteY6" fmla="*/ 1384603 h 3028426"/>
              <a:gd name="connsiteX7" fmla="*/ 287903 w 300621"/>
              <a:gd name="connsiteY7" fmla="*/ 2046590 h 3028426"/>
              <a:gd name="connsiteX8" fmla="*/ 273614 w 300621"/>
              <a:gd name="connsiteY8" fmla="*/ 2327578 h 3028426"/>
              <a:gd name="connsiteX9" fmla="*/ 268853 w 300621"/>
              <a:gd name="connsiteY9" fmla="*/ 2565703 h 3028426"/>
              <a:gd name="connsiteX10" fmla="*/ 273615 w 300621"/>
              <a:gd name="connsiteY10" fmla="*/ 2794303 h 3028426"/>
              <a:gd name="connsiteX11" fmla="*/ 300621 w 300621"/>
              <a:gd name="connsiteY11" fmla="*/ 3028426 h 3028426"/>
              <a:gd name="connsiteX12" fmla="*/ 6870 w 300621"/>
              <a:gd name="connsiteY12" fmla="*/ 3018901 h 3028426"/>
              <a:gd name="connsiteX13" fmla="*/ 0 w 300621"/>
              <a:gd name="connsiteY13" fmla="*/ 60154 h 3028426"/>
              <a:gd name="connsiteX0" fmla="*/ 0 w 403981"/>
              <a:gd name="connsiteY0" fmla="*/ 60154 h 3028426"/>
              <a:gd name="connsiteX1" fmla="*/ 127968 w 403981"/>
              <a:gd name="connsiteY1" fmla="*/ 103600 h 3028426"/>
              <a:gd name="connsiteX2" fmla="*/ 283139 w 403981"/>
              <a:gd name="connsiteY2" fmla="*/ 0 h 3028426"/>
              <a:gd name="connsiteX3" fmla="*/ 278376 w 403981"/>
              <a:gd name="connsiteY3" fmla="*/ 313040 h 3028426"/>
              <a:gd name="connsiteX4" fmla="*/ 292664 w 403981"/>
              <a:gd name="connsiteY4" fmla="*/ 732140 h 3028426"/>
              <a:gd name="connsiteX5" fmla="*/ 259328 w 403981"/>
              <a:gd name="connsiteY5" fmla="*/ 1160765 h 3028426"/>
              <a:gd name="connsiteX6" fmla="*/ 264089 w 403981"/>
              <a:gd name="connsiteY6" fmla="*/ 1384603 h 3028426"/>
              <a:gd name="connsiteX7" fmla="*/ 287903 w 403981"/>
              <a:gd name="connsiteY7" fmla="*/ 2046590 h 3028426"/>
              <a:gd name="connsiteX8" fmla="*/ 273614 w 403981"/>
              <a:gd name="connsiteY8" fmla="*/ 2327578 h 3028426"/>
              <a:gd name="connsiteX9" fmla="*/ 268853 w 403981"/>
              <a:gd name="connsiteY9" fmla="*/ 2565703 h 3028426"/>
              <a:gd name="connsiteX10" fmla="*/ 273615 w 403981"/>
              <a:gd name="connsiteY10" fmla="*/ 2794303 h 3028426"/>
              <a:gd name="connsiteX11" fmla="*/ 300621 w 403981"/>
              <a:gd name="connsiteY11" fmla="*/ 3028426 h 3028426"/>
              <a:gd name="connsiteX12" fmla="*/ 403981 w 403981"/>
              <a:gd name="connsiteY12" fmla="*/ 3018901 h 3028426"/>
              <a:gd name="connsiteX13" fmla="*/ 0 w 403981"/>
              <a:gd name="connsiteY13" fmla="*/ 60154 h 3028426"/>
              <a:gd name="connsiteX0" fmla="*/ 0 w 403981"/>
              <a:gd name="connsiteY0" fmla="*/ 60154 h 3028426"/>
              <a:gd name="connsiteX1" fmla="*/ 127968 w 403981"/>
              <a:gd name="connsiteY1" fmla="*/ 103600 h 3028426"/>
              <a:gd name="connsiteX2" fmla="*/ 283139 w 403981"/>
              <a:gd name="connsiteY2" fmla="*/ 0 h 3028426"/>
              <a:gd name="connsiteX3" fmla="*/ 278376 w 403981"/>
              <a:gd name="connsiteY3" fmla="*/ 313040 h 3028426"/>
              <a:gd name="connsiteX4" fmla="*/ 272809 w 403981"/>
              <a:gd name="connsiteY4" fmla="*/ 986291 h 3028426"/>
              <a:gd name="connsiteX5" fmla="*/ 259328 w 403981"/>
              <a:gd name="connsiteY5" fmla="*/ 1160765 h 3028426"/>
              <a:gd name="connsiteX6" fmla="*/ 264089 w 403981"/>
              <a:gd name="connsiteY6" fmla="*/ 1384603 h 3028426"/>
              <a:gd name="connsiteX7" fmla="*/ 287903 w 403981"/>
              <a:gd name="connsiteY7" fmla="*/ 2046590 h 3028426"/>
              <a:gd name="connsiteX8" fmla="*/ 273614 w 403981"/>
              <a:gd name="connsiteY8" fmla="*/ 2327578 h 3028426"/>
              <a:gd name="connsiteX9" fmla="*/ 268853 w 403981"/>
              <a:gd name="connsiteY9" fmla="*/ 2565703 h 3028426"/>
              <a:gd name="connsiteX10" fmla="*/ 273615 w 403981"/>
              <a:gd name="connsiteY10" fmla="*/ 2794303 h 3028426"/>
              <a:gd name="connsiteX11" fmla="*/ 300621 w 403981"/>
              <a:gd name="connsiteY11" fmla="*/ 3028426 h 3028426"/>
              <a:gd name="connsiteX12" fmla="*/ 403981 w 403981"/>
              <a:gd name="connsiteY12" fmla="*/ 3018901 h 3028426"/>
              <a:gd name="connsiteX13" fmla="*/ 0 w 403981"/>
              <a:gd name="connsiteY13" fmla="*/ 60154 h 3028426"/>
              <a:gd name="connsiteX0" fmla="*/ 0 w 403981"/>
              <a:gd name="connsiteY0" fmla="*/ 60154 h 3028426"/>
              <a:gd name="connsiteX1" fmla="*/ 127968 w 403981"/>
              <a:gd name="connsiteY1" fmla="*/ 103600 h 3028426"/>
              <a:gd name="connsiteX2" fmla="*/ 283139 w 403981"/>
              <a:gd name="connsiteY2" fmla="*/ 0 h 3028426"/>
              <a:gd name="connsiteX3" fmla="*/ 272809 w 403981"/>
              <a:gd name="connsiteY3" fmla="*/ 986291 h 3028426"/>
              <a:gd name="connsiteX4" fmla="*/ 259328 w 403981"/>
              <a:gd name="connsiteY4" fmla="*/ 1160765 h 3028426"/>
              <a:gd name="connsiteX5" fmla="*/ 264089 w 403981"/>
              <a:gd name="connsiteY5" fmla="*/ 1384603 h 3028426"/>
              <a:gd name="connsiteX6" fmla="*/ 287903 w 403981"/>
              <a:gd name="connsiteY6" fmla="*/ 2046590 h 3028426"/>
              <a:gd name="connsiteX7" fmla="*/ 273614 w 403981"/>
              <a:gd name="connsiteY7" fmla="*/ 2327578 h 3028426"/>
              <a:gd name="connsiteX8" fmla="*/ 268853 w 403981"/>
              <a:gd name="connsiteY8" fmla="*/ 2565703 h 3028426"/>
              <a:gd name="connsiteX9" fmla="*/ 273615 w 403981"/>
              <a:gd name="connsiteY9" fmla="*/ 2794303 h 3028426"/>
              <a:gd name="connsiteX10" fmla="*/ 300621 w 403981"/>
              <a:gd name="connsiteY10" fmla="*/ 3028426 h 3028426"/>
              <a:gd name="connsiteX11" fmla="*/ 403981 w 403981"/>
              <a:gd name="connsiteY11" fmla="*/ 3018901 h 3028426"/>
              <a:gd name="connsiteX12" fmla="*/ 0 w 403981"/>
              <a:gd name="connsiteY12" fmla="*/ 60154 h 3028426"/>
              <a:gd name="connsiteX0" fmla="*/ 276013 w 276013"/>
              <a:gd name="connsiteY0" fmla="*/ 3018901 h 3028426"/>
              <a:gd name="connsiteX1" fmla="*/ 0 w 276013"/>
              <a:gd name="connsiteY1" fmla="*/ 103600 h 3028426"/>
              <a:gd name="connsiteX2" fmla="*/ 155171 w 276013"/>
              <a:gd name="connsiteY2" fmla="*/ 0 h 3028426"/>
              <a:gd name="connsiteX3" fmla="*/ 144841 w 276013"/>
              <a:gd name="connsiteY3" fmla="*/ 986291 h 3028426"/>
              <a:gd name="connsiteX4" fmla="*/ 131360 w 276013"/>
              <a:gd name="connsiteY4" fmla="*/ 1160765 h 3028426"/>
              <a:gd name="connsiteX5" fmla="*/ 136121 w 276013"/>
              <a:gd name="connsiteY5" fmla="*/ 1384603 h 3028426"/>
              <a:gd name="connsiteX6" fmla="*/ 159935 w 276013"/>
              <a:gd name="connsiteY6" fmla="*/ 2046590 h 3028426"/>
              <a:gd name="connsiteX7" fmla="*/ 145646 w 276013"/>
              <a:gd name="connsiteY7" fmla="*/ 2327578 h 3028426"/>
              <a:gd name="connsiteX8" fmla="*/ 140885 w 276013"/>
              <a:gd name="connsiteY8" fmla="*/ 2565703 h 3028426"/>
              <a:gd name="connsiteX9" fmla="*/ 145647 w 276013"/>
              <a:gd name="connsiteY9" fmla="*/ 2794303 h 3028426"/>
              <a:gd name="connsiteX10" fmla="*/ 172653 w 276013"/>
              <a:gd name="connsiteY10" fmla="*/ 3028426 h 3028426"/>
              <a:gd name="connsiteX11" fmla="*/ 276013 w 276013"/>
              <a:gd name="connsiteY11" fmla="*/ 3018901 h 3028426"/>
              <a:gd name="connsiteX0" fmla="*/ 280983 w 280983"/>
              <a:gd name="connsiteY0" fmla="*/ 3018901 h 3028426"/>
              <a:gd name="connsiteX1" fmla="*/ 0 w 280983"/>
              <a:gd name="connsiteY1" fmla="*/ 119162 h 3028426"/>
              <a:gd name="connsiteX2" fmla="*/ 4970 w 280983"/>
              <a:gd name="connsiteY2" fmla="*/ 103600 h 3028426"/>
              <a:gd name="connsiteX3" fmla="*/ 160141 w 280983"/>
              <a:gd name="connsiteY3" fmla="*/ 0 h 3028426"/>
              <a:gd name="connsiteX4" fmla="*/ 149811 w 280983"/>
              <a:gd name="connsiteY4" fmla="*/ 986291 h 3028426"/>
              <a:gd name="connsiteX5" fmla="*/ 136330 w 280983"/>
              <a:gd name="connsiteY5" fmla="*/ 1160765 h 3028426"/>
              <a:gd name="connsiteX6" fmla="*/ 141091 w 280983"/>
              <a:gd name="connsiteY6" fmla="*/ 1384603 h 3028426"/>
              <a:gd name="connsiteX7" fmla="*/ 164905 w 280983"/>
              <a:gd name="connsiteY7" fmla="*/ 2046590 h 3028426"/>
              <a:gd name="connsiteX8" fmla="*/ 150616 w 280983"/>
              <a:gd name="connsiteY8" fmla="*/ 2327578 h 3028426"/>
              <a:gd name="connsiteX9" fmla="*/ 145855 w 280983"/>
              <a:gd name="connsiteY9" fmla="*/ 2565703 h 3028426"/>
              <a:gd name="connsiteX10" fmla="*/ 150617 w 280983"/>
              <a:gd name="connsiteY10" fmla="*/ 2794303 h 3028426"/>
              <a:gd name="connsiteX11" fmla="*/ 177623 w 280983"/>
              <a:gd name="connsiteY11" fmla="*/ 3028426 h 3028426"/>
              <a:gd name="connsiteX12" fmla="*/ 280983 w 280983"/>
              <a:gd name="connsiteY12" fmla="*/ 3018901 h 3028426"/>
              <a:gd name="connsiteX0" fmla="*/ 280983 w 280983"/>
              <a:gd name="connsiteY0" fmla="*/ 3018901 h 3028426"/>
              <a:gd name="connsiteX1" fmla="*/ 0 w 280983"/>
              <a:gd name="connsiteY1" fmla="*/ 119162 h 3028426"/>
              <a:gd name="connsiteX2" fmla="*/ 160141 w 280983"/>
              <a:gd name="connsiteY2" fmla="*/ 0 h 3028426"/>
              <a:gd name="connsiteX3" fmla="*/ 149811 w 280983"/>
              <a:gd name="connsiteY3" fmla="*/ 986291 h 3028426"/>
              <a:gd name="connsiteX4" fmla="*/ 136330 w 280983"/>
              <a:gd name="connsiteY4" fmla="*/ 1160765 h 3028426"/>
              <a:gd name="connsiteX5" fmla="*/ 141091 w 280983"/>
              <a:gd name="connsiteY5" fmla="*/ 1384603 h 3028426"/>
              <a:gd name="connsiteX6" fmla="*/ 164905 w 280983"/>
              <a:gd name="connsiteY6" fmla="*/ 2046590 h 3028426"/>
              <a:gd name="connsiteX7" fmla="*/ 150616 w 280983"/>
              <a:gd name="connsiteY7" fmla="*/ 2327578 h 3028426"/>
              <a:gd name="connsiteX8" fmla="*/ 145855 w 280983"/>
              <a:gd name="connsiteY8" fmla="*/ 2565703 h 3028426"/>
              <a:gd name="connsiteX9" fmla="*/ 150617 w 280983"/>
              <a:gd name="connsiteY9" fmla="*/ 2794303 h 3028426"/>
              <a:gd name="connsiteX10" fmla="*/ 177623 w 280983"/>
              <a:gd name="connsiteY10" fmla="*/ 3028426 h 3028426"/>
              <a:gd name="connsiteX11" fmla="*/ 280983 w 280983"/>
              <a:gd name="connsiteY11" fmla="*/ 3018901 h 3028426"/>
              <a:gd name="connsiteX0" fmla="*/ 145476 w 145476"/>
              <a:gd name="connsiteY0" fmla="*/ 3018901 h 3028426"/>
              <a:gd name="connsiteX1" fmla="*/ 24634 w 145476"/>
              <a:gd name="connsiteY1" fmla="*/ 0 h 3028426"/>
              <a:gd name="connsiteX2" fmla="*/ 14304 w 145476"/>
              <a:gd name="connsiteY2" fmla="*/ 986291 h 3028426"/>
              <a:gd name="connsiteX3" fmla="*/ 823 w 145476"/>
              <a:gd name="connsiteY3" fmla="*/ 1160765 h 3028426"/>
              <a:gd name="connsiteX4" fmla="*/ 5584 w 145476"/>
              <a:gd name="connsiteY4" fmla="*/ 1384603 h 3028426"/>
              <a:gd name="connsiteX5" fmla="*/ 29398 w 145476"/>
              <a:gd name="connsiteY5" fmla="*/ 2046590 h 3028426"/>
              <a:gd name="connsiteX6" fmla="*/ 15109 w 145476"/>
              <a:gd name="connsiteY6" fmla="*/ 2327578 h 3028426"/>
              <a:gd name="connsiteX7" fmla="*/ 10348 w 145476"/>
              <a:gd name="connsiteY7" fmla="*/ 2565703 h 3028426"/>
              <a:gd name="connsiteX8" fmla="*/ 15110 w 145476"/>
              <a:gd name="connsiteY8" fmla="*/ 2794303 h 3028426"/>
              <a:gd name="connsiteX9" fmla="*/ 42116 w 145476"/>
              <a:gd name="connsiteY9" fmla="*/ 3028426 h 3028426"/>
              <a:gd name="connsiteX10" fmla="*/ 145476 w 145476"/>
              <a:gd name="connsiteY10" fmla="*/ 3018901 h 3028426"/>
              <a:gd name="connsiteX0" fmla="*/ 145476 w 145476"/>
              <a:gd name="connsiteY0" fmla="*/ 2032610 h 2042135"/>
              <a:gd name="connsiteX1" fmla="*/ 14304 w 145476"/>
              <a:gd name="connsiteY1" fmla="*/ 0 h 2042135"/>
              <a:gd name="connsiteX2" fmla="*/ 823 w 145476"/>
              <a:gd name="connsiteY2" fmla="*/ 174474 h 2042135"/>
              <a:gd name="connsiteX3" fmla="*/ 5584 w 145476"/>
              <a:gd name="connsiteY3" fmla="*/ 398312 h 2042135"/>
              <a:gd name="connsiteX4" fmla="*/ 29398 w 145476"/>
              <a:gd name="connsiteY4" fmla="*/ 1060299 h 2042135"/>
              <a:gd name="connsiteX5" fmla="*/ 15109 w 145476"/>
              <a:gd name="connsiteY5" fmla="*/ 1341287 h 2042135"/>
              <a:gd name="connsiteX6" fmla="*/ 10348 w 145476"/>
              <a:gd name="connsiteY6" fmla="*/ 1579412 h 2042135"/>
              <a:gd name="connsiteX7" fmla="*/ 15110 w 145476"/>
              <a:gd name="connsiteY7" fmla="*/ 1808012 h 2042135"/>
              <a:gd name="connsiteX8" fmla="*/ 42116 w 145476"/>
              <a:gd name="connsiteY8" fmla="*/ 2042135 h 2042135"/>
              <a:gd name="connsiteX9" fmla="*/ 145476 w 145476"/>
              <a:gd name="connsiteY9" fmla="*/ 2032610 h 2042135"/>
              <a:gd name="connsiteX0" fmla="*/ 145476 w 145476"/>
              <a:gd name="connsiteY0" fmla="*/ 2032610 h 2042135"/>
              <a:gd name="connsiteX1" fmla="*/ 130558 w 145476"/>
              <a:gd name="connsiteY1" fmla="*/ 2544 h 2042135"/>
              <a:gd name="connsiteX2" fmla="*/ 14304 w 145476"/>
              <a:gd name="connsiteY2" fmla="*/ 0 h 2042135"/>
              <a:gd name="connsiteX3" fmla="*/ 823 w 145476"/>
              <a:gd name="connsiteY3" fmla="*/ 174474 h 2042135"/>
              <a:gd name="connsiteX4" fmla="*/ 5584 w 145476"/>
              <a:gd name="connsiteY4" fmla="*/ 398312 h 2042135"/>
              <a:gd name="connsiteX5" fmla="*/ 29398 w 145476"/>
              <a:gd name="connsiteY5" fmla="*/ 1060299 h 2042135"/>
              <a:gd name="connsiteX6" fmla="*/ 15109 w 145476"/>
              <a:gd name="connsiteY6" fmla="*/ 1341287 h 2042135"/>
              <a:gd name="connsiteX7" fmla="*/ 10348 w 145476"/>
              <a:gd name="connsiteY7" fmla="*/ 1579412 h 2042135"/>
              <a:gd name="connsiteX8" fmla="*/ 15110 w 145476"/>
              <a:gd name="connsiteY8" fmla="*/ 1808012 h 2042135"/>
              <a:gd name="connsiteX9" fmla="*/ 42116 w 145476"/>
              <a:gd name="connsiteY9" fmla="*/ 2042135 h 2042135"/>
              <a:gd name="connsiteX10" fmla="*/ 145476 w 145476"/>
              <a:gd name="connsiteY10" fmla="*/ 2032610 h 2042135"/>
              <a:gd name="connsiteX0" fmla="*/ 145476 w 145476"/>
              <a:gd name="connsiteY0" fmla="*/ 2032610 h 2042135"/>
              <a:gd name="connsiteX1" fmla="*/ 130558 w 145476"/>
              <a:gd name="connsiteY1" fmla="*/ 2544 h 2042135"/>
              <a:gd name="connsiteX2" fmla="*/ 14304 w 145476"/>
              <a:gd name="connsiteY2" fmla="*/ 0 h 2042135"/>
              <a:gd name="connsiteX3" fmla="*/ 823 w 145476"/>
              <a:gd name="connsiteY3" fmla="*/ 174474 h 2042135"/>
              <a:gd name="connsiteX4" fmla="*/ 5584 w 145476"/>
              <a:gd name="connsiteY4" fmla="*/ 398312 h 2042135"/>
              <a:gd name="connsiteX5" fmla="*/ 29398 w 145476"/>
              <a:gd name="connsiteY5" fmla="*/ 1060299 h 2042135"/>
              <a:gd name="connsiteX6" fmla="*/ 15109 w 145476"/>
              <a:gd name="connsiteY6" fmla="*/ 1341287 h 2042135"/>
              <a:gd name="connsiteX7" fmla="*/ 10348 w 145476"/>
              <a:gd name="connsiteY7" fmla="*/ 1579412 h 2042135"/>
              <a:gd name="connsiteX8" fmla="*/ 15110 w 145476"/>
              <a:gd name="connsiteY8" fmla="*/ 1808012 h 2042135"/>
              <a:gd name="connsiteX9" fmla="*/ 42116 w 145476"/>
              <a:gd name="connsiteY9" fmla="*/ 2042135 h 2042135"/>
              <a:gd name="connsiteX10" fmla="*/ 145476 w 145476"/>
              <a:gd name="connsiteY10" fmla="*/ 2032610 h 2042135"/>
              <a:gd name="connsiteX0" fmla="*/ 137534 w 137534"/>
              <a:gd name="connsiteY0" fmla="*/ 2040552 h 2042135"/>
              <a:gd name="connsiteX1" fmla="*/ 130558 w 137534"/>
              <a:gd name="connsiteY1" fmla="*/ 2544 h 2042135"/>
              <a:gd name="connsiteX2" fmla="*/ 14304 w 137534"/>
              <a:gd name="connsiteY2" fmla="*/ 0 h 2042135"/>
              <a:gd name="connsiteX3" fmla="*/ 823 w 137534"/>
              <a:gd name="connsiteY3" fmla="*/ 174474 h 2042135"/>
              <a:gd name="connsiteX4" fmla="*/ 5584 w 137534"/>
              <a:gd name="connsiteY4" fmla="*/ 398312 h 2042135"/>
              <a:gd name="connsiteX5" fmla="*/ 29398 w 137534"/>
              <a:gd name="connsiteY5" fmla="*/ 1060299 h 2042135"/>
              <a:gd name="connsiteX6" fmla="*/ 15109 w 137534"/>
              <a:gd name="connsiteY6" fmla="*/ 1341287 h 2042135"/>
              <a:gd name="connsiteX7" fmla="*/ 10348 w 137534"/>
              <a:gd name="connsiteY7" fmla="*/ 1579412 h 2042135"/>
              <a:gd name="connsiteX8" fmla="*/ 15110 w 137534"/>
              <a:gd name="connsiteY8" fmla="*/ 1808012 h 2042135"/>
              <a:gd name="connsiteX9" fmla="*/ 42116 w 137534"/>
              <a:gd name="connsiteY9" fmla="*/ 2042135 h 2042135"/>
              <a:gd name="connsiteX10" fmla="*/ 137534 w 137534"/>
              <a:gd name="connsiteY10" fmla="*/ 2040552 h 20421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37534" h="2042135">
                <a:moveTo>
                  <a:pt x="137534" y="2040552"/>
                </a:moveTo>
                <a:cubicBezTo>
                  <a:pt x="135209" y="1361216"/>
                  <a:pt x="132883" y="681880"/>
                  <a:pt x="130558" y="2544"/>
                </a:cubicBezTo>
                <a:lnTo>
                  <a:pt x="14304" y="0"/>
                </a:lnTo>
                <a:cubicBezTo>
                  <a:pt x="9542" y="142875"/>
                  <a:pt x="3998" y="67318"/>
                  <a:pt x="823" y="174474"/>
                </a:cubicBezTo>
                <a:cubicBezTo>
                  <a:pt x="-1297" y="548203"/>
                  <a:pt x="822" y="250675"/>
                  <a:pt x="5584" y="398312"/>
                </a:cubicBezTo>
                <a:cubicBezTo>
                  <a:pt x="10346" y="545949"/>
                  <a:pt x="29398" y="901549"/>
                  <a:pt x="29398" y="1060299"/>
                </a:cubicBezTo>
                <a:cubicBezTo>
                  <a:pt x="34954" y="1269055"/>
                  <a:pt x="15109" y="1251593"/>
                  <a:pt x="15109" y="1341287"/>
                </a:cubicBezTo>
                <a:cubicBezTo>
                  <a:pt x="15109" y="1430981"/>
                  <a:pt x="16698" y="1515912"/>
                  <a:pt x="10348" y="1579412"/>
                </a:cubicBezTo>
                <a:cubicBezTo>
                  <a:pt x="3998" y="1642912"/>
                  <a:pt x="12197" y="1740417"/>
                  <a:pt x="15110" y="1808012"/>
                </a:cubicBezTo>
                <a:lnTo>
                  <a:pt x="42116" y="2042135"/>
                </a:lnTo>
                <a:lnTo>
                  <a:pt x="137534" y="2040552"/>
                </a:lnTo>
                <a:close/>
              </a:path>
            </a:pathLst>
          </a:custGeom>
          <a:pattFill prst="wdDnDiag">
            <a:fgClr>
              <a:srgbClr val="FFFF00"/>
            </a:fgClr>
            <a:bgClr>
              <a:srgbClr val="EE7713"/>
            </a:bgClr>
          </a:pattFill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/>
          </a:p>
        </p:txBody>
      </p:sp>
      <p:grpSp>
        <p:nvGrpSpPr>
          <p:cNvPr id="93" name="Gruppo 92"/>
          <p:cNvGrpSpPr/>
          <p:nvPr/>
        </p:nvGrpSpPr>
        <p:grpSpPr>
          <a:xfrm>
            <a:off x="3743687" y="3344646"/>
            <a:ext cx="1084944" cy="1255044"/>
            <a:chOff x="5674120" y="1790653"/>
            <a:chExt cx="2462139" cy="3332465"/>
          </a:xfrm>
        </p:grpSpPr>
        <p:sp>
          <p:nvSpPr>
            <p:cNvPr id="95" name="Freccia curva 2"/>
            <p:cNvSpPr/>
            <p:nvPr/>
          </p:nvSpPr>
          <p:spPr>
            <a:xfrm flipV="1">
              <a:off x="6084815" y="2733865"/>
              <a:ext cx="2051444" cy="2389253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  <a:gd name="connsiteX0" fmla="*/ 45354 w 2612790"/>
                <a:gd name="connsiteY0" fmla="*/ 2389253 h 2389253"/>
                <a:gd name="connsiteX1" fmla="*/ 72468 w 2612790"/>
                <a:gd name="connsiteY1" fmla="*/ 2095501 h 2389253"/>
                <a:gd name="connsiteX2" fmla="*/ 34368 w 2612790"/>
                <a:gd name="connsiteY2" fmla="*/ 1900238 h 2389253"/>
                <a:gd name="connsiteX3" fmla="*/ 77231 w 2612790"/>
                <a:gd name="connsiteY3" fmla="*/ 1319213 h 2389253"/>
                <a:gd name="connsiteX4" fmla="*/ 24843 w 2612790"/>
                <a:gd name="connsiteY4" fmla="*/ 952501 h 2389253"/>
                <a:gd name="connsiteX5" fmla="*/ 12016 w 2612790"/>
                <a:gd name="connsiteY5" fmla="*/ 583866 h 2389253"/>
                <a:gd name="connsiteX6" fmla="*/ 62944 w 2612790"/>
                <a:gd name="connsiteY6" fmla="*/ 447676 h 2389253"/>
                <a:gd name="connsiteX7" fmla="*/ 191532 w 2612790"/>
                <a:gd name="connsiteY7" fmla="*/ 252413 h 2389253"/>
                <a:gd name="connsiteX8" fmla="*/ 353457 w 2612790"/>
                <a:gd name="connsiteY8" fmla="*/ 123826 h 2389253"/>
                <a:gd name="connsiteX9" fmla="*/ 621210 w 2612790"/>
                <a:gd name="connsiteY9" fmla="*/ 12772 h 2389253"/>
                <a:gd name="connsiteX10" fmla="*/ 1339294 w 2612790"/>
                <a:gd name="connsiteY10" fmla="*/ 33338 h 2389253"/>
                <a:gd name="connsiteX11" fmla="*/ 1601232 w 2612790"/>
                <a:gd name="connsiteY11" fmla="*/ 14288 h 2389253"/>
                <a:gd name="connsiteX12" fmla="*/ 1867932 w 2612790"/>
                <a:gd name="connsiteY12" fmla="*/ 0 h 2389253"/>
                <a:gd name="connsiteX13" fmla="*/ 2210832 w 2612790"/>
                <a:gd name="connsiteY13" fmla="*/ 42864 h 2389253"/>
                <a:gd name="connsiteX14" fmla="*/ 2612656 w 2612790"/>
                <a:gd name="connsiteY14" fmla="*/ 12772 h 2389253"/>
                <a:gd name="connsiteX15" fmla="*/ 2607261 w 2612790"/>
                <a:gd name="connsiteY15" fmla="*/ 167260 h 2389253"/>
                <a:gd name="connsiteX16" fmla="*/ 2051444 w 2612790"/>
                <a:gd name="connsiteY16" fmla="*/ 268939 h 2389253"/>
                <a:gd name="connsiteX17" fmla="*/ 621210 w 2612790"/>
                <a:gd name="connsiteY17" fmla="*/ 271213 h 2389253"/>
                <a:gd name="connsiteX18" fmla="*/ 303794 w 2612790"/>
                <a:gd name="connsiteY18" fmla="*/ 588629 h 2389253"/>
                <a:gd name="connsiteX19" fmla="*/ 303795 w 2612790"/>
                <a:gd name="connsiteY19" fmla="*/ 2389253 h 2389253"/>
                <a:gd name="connsiteX20" fmla="*/ 45354 w 2612790"/>
                <a:gd name="connsiteY20" fmla="*/ 2389253 h 2389253"/>
                <a:gd name="connsiteX0" fmla="*/ 45354 w 2612656"/>
                <a:gd name="connsiteY0" fmla="*/ 2389253 h 2389253"/>
                <a:gd name="connsiteX1" fmla="*/ 72468 w 2612656"/>
                <a:gd name="connsiteY1" fmla="*/ 2095501 h 2389253"/>
                <a:gd name="connsiteX2" fmla="*/ 34368 w 2612656"/>
                <a:gd name="connsiteY2" fmla="*/ 1900238 h 2389253"/>
                <a:gd name="connsiteX3" fmla="*/ 77231 w 2612656"/>
                <a:gd name="connsiteY3" fmla="*/ 1319213 h 2389253"/>
                <a:gd name="connsiteX4" fmla="*/ 24843 w 2612656"/>
                <a:gd name="connsiteY4" fmla="*/ 952501 h 2389253"/>
                <a:gd name="connsiteX5" fmla="*/ 12016 w 2612656"/>
                <a:gd name="connsiteY5" fmla="*/ 583866 h 2389253"/>
                <a:gd name="connsiteX6" fmla="*/ 62944 w 2612656"/>
                <a:gd name="connsiteY6" fmla="*/ 447676 h 2389253"/>
                <a:gd name="connsiteX7" fmla="*/ 191532 w 2612656"/>
                <a:gd name="connsiteY7" fmla="*/ 252413 h 2389253"/>
                <a:gd name="connsiteX8" fmla="*/ 353457 w 2612656"/>
                <a:gd name="connsiteY8" fmla="*/ 123826 h 2389253"/>
                <a:gd name="connsiteX9" fmla="*/ 621210 w 2612656"/>
                <a:gd name="connsiteY9" fmla="*/ 12772 h 2389253"/>
                <a:gd name="connsiteX10" fmla="*/ 1339294 w 2612656"/>
                <a:gd name="connsiteY10" fmla="*/ 33338 h 2389253"/>
                <a:gd name="connsiteX11" fmla="*/ 1601232 w 2612656"/>
                <a:gd name="connsiteY11" fmla="*/ 14288 h 2389253"/>
                <a:gd name="connsiteX12" fmla="*/ 1867932 w 2612656"/>
                <a:gd name="connsiteY12" fmla="*/ 0 h 2389253"/>
                <a:gd name="connsiteX13" fmla="*/ 2210832 w 2612656"/>
                <a:gd name="connsiteY13" fmla="*/ 42864 h 2389253"/>
                <a:gd name="connsiteX14" fmla="*/ 2612656 w 2612656"/>
                <a:gd name="connsiteY14" fmla="*/ 12772 h 2389253"/>
                <a:gd name="connsiteX15" fmla="*/ 2051444 w 2612656"/>
                <a:gd name="connsiteY15" fmla="*/ 268939 h 2389253"/>
                <a:gd name="connsiteX16" fmla="*/ 621210 w 2612656"/>
                <a:gd name="connsiteY16" fmla="*/ 271213 h 2389253"/>
                <a:gd name="connsiteX17" fmla="*/ 303794 w 2612656"/>
                <a:gd name="connsiteY17" fmla="*/ 588629 h 2389253"/>
                <a:gd name="connsiteX18" fmla="*/ 303795 w 2612656"/>
                <a:gd name="connsiteY18" fmla="*/ 2389253 h 2389253"/>
                <a:gd name="connsiteX19" fmla="*/ 45354 w 2612656"/>
                <a:gd name="connsiteY19" fmla="*/ 2389253 h 2389253"/>
                <a:gd name="connsiteX0" fmla="*/ 45354 w 2210832"/>
                <a:gd name="connsiteY0" fmla="*/ 2389253 h 2389253"/>
                <a:gd name="connsiteX1" fmla="*/ 72468 w 2210832"/>
                <a:gd name="connsiteY1" fmla="*/ 2095501 h 2389253"/>
                <a:gd name="connsiteX2" fmla="*/ 34368 w 2210832"/>
                <a:gd name="connsiteY2" fmla="*/ 1900238 h 2389253"/>
                <a:gd name="connsiteX3" fmla="*/ 77231 w 2210832"/>
                <a:gd name="connsiteY3" fmla="*/ 1319213 h 2389253"/>
                <a:gd name="connsiteX4" fmla="*/ 24843 w 2210832"/>
                <a:gd name="connsiteY4" fmla="*/ 952501 h 2389253"/>
                <a:gd name="connsiteX5" fmla="*/ 12016 w 2210832"/>
                <a:gd name="connsiteY5" fmla="*/ 583866 h 2389253"/>
                <a:gd name="connsiteX6" fmla="*/ 62944 w 2210832"/>
                <a:gd name="connsiteY6" fmla="*/ 447676 h 2389253"/>
                <a:gd name="connsiteX7" fmla="*/ 191532 w 2210832"/>
                <a:gd name="connsiteY7" fmla="*/ 252413 h 2389253"/>
                <a:gd name="connsiteX8" fmla="*/ 353457 w 2210832"/>
                <a:gd name="connsiteY8" fmla="*/ 123826 h 2389253"/>
                <a:gd name="connsiteX9" fmla="*/ 621210 w 2210832"/>
                <a:gd name="connsiteY9" fmla="*/ 12772 h 2389253"/>
                <a:gd name="connsiteX10" fmla="*/ 1339294 w 2210832"/>
                <a:gd name="connsiteY10" fmla="*/ 33338 h 2389253"/>
                <a:gd name="connsiteX11" fmla="*/ 1601232 w 2210832"/>
                <a:gd name="connsiteY11" fmla="*/ 14288 h 2389253"/>
                <a:gd name="connsiteX12" fmla="*/ 1867932 w 2210832"/>
                <a:gd name="connsiteY12" fmla="*/ 0 h 2389253"/>
                <a:gd name="connsiteX13" fmla="*/ 2210832 w 2210832"/>
                <a:gd name="connsiteY13" fmla="*/ 42864 h 2389253"/>
                <a:gd name="connsiteX14" fmla="*/ 2051444 w 2210832"/>
                <a:gd name="connsiteY14" fmla="*/ 268939 h 2389253"/>
                <a:gd name="connsiteX15" fmla="*/ 621210 w 2210832"/>
                <a:gd name="connsiteY15" fmla="*/ 271213 h 2389253"/>
                <a:gd name="connsiteX16" fmla="*/ 303794 w 2210832"/>
                <a:gd name="connsiteY16" fmla="*/ 588629 h 2389253"/>
                <a:gd name="connsiteX17" fmla="*/ 303795 w 2210832"/>
                <a:gd name="connsiteY17" fmla="*/ 2389253 h 2389253"/>
                <a:gd name="connsiteX18" fmla="*/ 45354 w 2210832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867932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  <a:gd name="connsiteX0" fmla="*/ 45354 w 2051444"/>
                <a:gd name="connsiteY0" fmla="*/ 2389253 h 2389253"/>
                <a:gd name="connsiteX1" fmla="*/ 72468 w 2051444"/>
                <a:gd name="connsiteY1" fmla="*/ 2095501 h 2389253"/>
                <a:gd name="connsiteX2" fmla="*/ 34368 w 2051444"/>
                <a:gd name="connsiteY2" fmla="*/ 1900238 h 2389253"/>
                <a:gd name="connsiteX3" fmla="*/ 77231 w 2051444"/>
                <a:gd name="connsiteY3" fmla="*/ 1319213 h 2389253"/>
                <a:gd name="connsiteX4" fmla="*/ 24843 w 2051444"/>
                <a:gd name="connsiteY4" fmla="*/ 952501 h 2389253"/>
                <a:gd name="connsiteX5" fmla="*/ 12016 w 2051444"/>
                <a:gd name="connsiteY5" fmla="*/ 583866 h 2389253"/>
                <a:gd name="connsiteX6" fmla="*/ 62944 w 2051444"/>
                <a:gd name="connsiteY6" fmla="*/ 447676 h 2389253"/>
                <a:gd name="connsiteX7" fmla="*/ 191532 w 2051444"/>
                <a:gd name="connsiteY7" fmla="*/ 252413 h 2389253"/>
                <a:gd name="connsiteX8" fmla="*/ 353457 w 2051444"/>
                <a:gd name="connsiteY8" fmla="*/ 123826 h 2389253"/>
                <a:gd name="connsiteX9" fmla="*/ 621210 w 2051444"/>
                <a:gd name="connsiteY9" fmla="*/ 12772 h 2389253"/>
                <a:gd name="connsiteX10" fmla="*/ 1339294 w 2051444"/>
                <a:gd name="connsiteY10" fmla="*/ 33338 h 2389253"/>
                <a:gd name="connsiteX11" fmla="*/ 1601232 w 2051444"/>
                <a:gd name="connsiteY11" fmla="*/ 14288 h 2389253"/>
                <a:gd name="connsiteX12" fmla="*/ 1957243 w 2051444"/>
                <a:gd name="connsiteY12" fmla="*/ 0 h 2389253"/>
                <a:gd name="connsiteX13" fmla="*/ 1881071 w 2051444"/>
                <a:gd name="connsiteY13" fmla="*/ 145914 h 2389253"/>
                <a:gd name="connsiteX14" fmla="*/ 2051444 w 2051444"/>
                <a:gd name="connsiteY14" fmla="*/ 268939 h 2389253"/>
                <a:gd name="connsiteX15" fmla="*/ 621210 w 2051444"/>
                <a:gd name="connsiteY15" fmla="*/ 271213 h 2389253"/>
                <a:gd name="connsiteX16" fmla="*/ 303794 w 2051444"/>
                <a:gd name="connsiteY16" fmla="*/ 588629 h 2389253"/>
                <a:gd name="connsiteX17" fmla="*/ 303795 w 2051444"/>
                <a:gd name="connsiteY17" fmla="*/ 2389253 h 2389253"/>
                <a:gd name="connsiteX18" fmla="*/ 45354 w 2051444"/>
                <a:gd name="connsiteY18" fmla="*/ 2389253 h 2389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</a:cxnLst>
              <a:rect l="l" t="t" r="r" b="b"/>
              <a:pathLst>
                <a:path w="2051444" h="2389253">
                  <a:moveTo>
                    <a:pt x="45354" y="2389253"/>
                  </a:moveTo>
                  <a:cubicBezTo>
                    <a:pt x="44867" y="2292923"/>
                    <a:pt x="72955" y="2191831"/>
                    <a:pt x="72468" y="2095501"/>
                  </a:cubicBezTo>
                  <a:cubicBezTo>
                    <a:pt x="72468" y="2058988"/>
                    <a:pt x="34368" y="1936751"/>
                    <a:pt x="34368" y="1900238"/>
                  </a:cubicBezTo>
                  <a:cubicBezTo>
                    <a:pt x="37543" y="1711326"/>
                    <a:pt x="74056" y="1508125"/>
                    <a:pt x="77231" y="1319213"/>
                  </a:cubicBezTo>
                  <a:cubicBezTo>
                    <a:pt x="74056" y="1201738"/>
                    <a:pt x="28018" y="1069976"/>
                    <a:pt x="24843" y="952501"/>
                  </a:cubicBezTo>
                  <a:cubicBezTo>
                    <a:pt x="65017" y="807397"/>
                    <a:pt x="5179" y="705157"/>
                    <a:pt x="12016" y="583866"/>
                  </a:cubicBezTo>
                  <a:cubicBezTo>
                    <a:pt x="13604" y="499729"/>
                    <a:pt x="-38588" y="542858"/>
                    <a:pt x="62944" y="447676"/>
                  </a:cubicBezTo>
                  <a:cubicBezTo>
                    <a:pt x="96832" y="391640"/>
                    <a:pt x="143113" y="306388"/>
                    <a:pt x="191532" y="252413"/>
                  </a:cubicBezTo>
                  <a:cubicBezTo>
                    <a:pt x="239951" y="198438"/>
                    <a:pt x="285813" y="162972"/>
                    <a:pt x="353457" y="123826"/>
                  </a:cubicBezTo>
                  <a:cubicBezTo>
                    <a:pt x="421101" y="84680"/>
                    <a:pt x="455316" y="30235"/>
                    <a:pt x="621210" y="12772"/>
                  </a:cubicBezTo>
                  <a:cubicBezTo>
                    <a:pt x="863746" y="14865"/>
                    <a:pt x="1096758" y="31245"/>
                    <a:pt x="1339294" y="33338"/>
                  </a:cubicBezTo>
                  <a:lnTo>
                    <a:pt x="1601232" y="14288"/>
                  </a:lnTo>
                  <a:cubicBezTo>
                    <a:pt x="1691719" y="14288"/>
                    <a:pt x="1866756" y="0"/>
                    <a:pt x="1957243" y="0"/>
                  </a:cubicBezTo>
                  <a:lnTo>
                    <a:pt x="1881071" y="145914"/>
                  </a:lnTo>
                  <a:lnTo>
                    <a:pt x="2051444" y="268939"/>
                  </a:lnTo>
                  <a:lnTo>
                    <a:pt x="621210" y="271213"/>
                  </a:lnTo>
                  <a:cubicBezTo>
                    <a:pt x="445906" y="271213"/>
                    <a:pt x="303794" y="413325"/>
                    <a:pt x="303794" y="588629"/>
                  </a:cubicBezTo>
                  <a:cubicBezTo>
                    <a:pt x="303794" y="1188837"/>
                    <a:pt x="303795" y="1789045"/>
                    <a:pt x="303795" y="2389253"/>
                  </a:cubicBezTo>
                  <a:lnTo>
                    <a:pt x="45354" y="2389253"/>
                  </a:lnTo>
                  <a:close/>
                </a:path>
              </a:pathLst>
            </a:custGeom>
            <a:pattFill prst="dkDnDiag">
              <a:fgClr>
                <a:schemeClr val="accent4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  <p:sp>
          <p:nvSpPr>
            <p:cNvPr id="96" name="Rettangolo 6"/>
            <p:cNvSpPr/>
            <p:nvPr/>
          </p:nvSpPr>
          <p:spPr>
            <a:xfrm>
              <a:off x="5674120" y="1790653"/>
              <a:ext cx="300621" cy="3028426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300621" h="3028426">
                  <a:moveTo>
                    <a:pt x="0" y="60154"/>
                  </a:moveTo>
                  <a:cubicBezTo>
                    <a:pt x="42672" y="57106"/>
                    <a:pt x="85296" y="106648"/>
                    <a:pt x="127968" y="103600"/>
                  </a:cubicBezTo>
                  <a:lnTo>
                    <a:pt x="283139" y="0"/>
                  </a:lnTo>
                  <a:cubicBezTo>
                    <a:pt x="285782" y="195136"/>
                    <a:pt x="272026" y="86821"/>
                    <a:pt x="278376" y="313040"/>
                  </a:cubicBezTo>
                  <a:cubicBezTo>
                    <a:pt x="284726" y="539259"/>
                    <a:pt x="297426" y="589265"/>
                    <a:pt x="292664" y="732140"/>
                  </a:cubicBezTo>
                  <a:cubicBezTo>
                    <a:pt x="287902" y="875015"/>
                    <a:pt x="262503" y="1053609"/>
                    <a:pt x="259328" y="1160765"/>
                  </a:cubicBezTo>
                  <a:cubicBezTo>
                    <a:pt x="257208" y="1534494"/>
                    <a:pt x="259327" y="1236966"/>
                    <a:pt x="264089" y="1384603"/>
                  </a:cubicBezTo>
                  <a:cubicBezTo>
                    <a:pt x="268851" y="1532240"/>
                    <a:pt x="287903" y="1887840"/>
                    <a:pt x="287903" y="2046590"/>
                  </a:cubicBezTo>
                  <a:cubicBezTo>
                    <a:pt x="293459" y="2255346"/>
                    <a:pt x="273614" y="2237884"/>
                    <a:pt x="273614" y="2327578"/>
                  </a:cubicBezTo>
                  <a:cubicBezTo>
                    <a:pt x="273614" y="2417272"/>
                    <a:pt x="275203" y="2502203"/>
                    <a:pt x="268853" y="2565703"/>
                  </a:cubicBezTo>
                  <a:cubicBezTo>
                    <a:pt x="262503" y="2629203"/>
                    <a:pt x="270702" y="2726708"/>
                    <a:pt x="273615" y="2794303"/>
                  </a:cubicBezTo>
                  <a:lnTo>
                    <a:pt x="300621" y="3028426"/>
                  </a:lnTo>
                  <a:lnTo>
                    <a:pt x="6870" y="3018901"/>
                  </a:lnTo>
                  <a:lnTo>
                    <a:pt x="0" y="60154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58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97" name="Gruppo 96"/>
          <p:cNvGrpSpPr/>
          <p:nvPr/>
        </p:nvGrpSpPr>
        <p:grpSpPr>
          <a:xfrm rot="16200000">
            <a:off x="3729358" y="3779005"/>
            <a:ext cx="219000" cy="514932"/>
            <a:chOff x="5308435" y="4212641"/>
            <a:chExt cx="436890" cy="1168570"/>
          </a:xfrm>
          <a:solidFill>
            <a:srgbClr val="FF0000"/>
          </a:solidFill>
        </p:grpSpPr>
        <p:sp>
          <p:nvSpPr>
            <p:cNvPr id="105" name="Rectangle 325"/>
            <p:cNvSpPr>
              <a:spLocks noChangeArrowheads="1"/>
            </p:cNvSpPr>
            <p:nvPr/>
          </p:nvSpPr>
          <p:spPr bwMode="auto">
            <a:xfrm rot="5400000">
              <a:off x="4961582" y="4652820"/>
              <a:ext cx="1129280" cy="248921"/>
            </a:xfrm>
            <a:prstGeom prst="rect">
              <a:avLst/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  <p:sp>
          <p:nvSpPr>
            <p:cNvPr id="106" name="Ritaglia angolo stesso lato rettangolo 38"/>
            <p:cNvSpPr/>
            <p:nvPr/>
          </p:nvSpPr>
          <p:spPr>
            <a:xfrm rot="10800000">
              <a:off x="5308435" y="5302631"/>
              <a:ext cx="436890" cy="78580"/>
            </a:xfrm>
            <a:prstGeom prst="snip2SameRect">
              <a:avLst>
                <a:gd name="adj1" fmla="val 50000"/>
                <a:gd name="adj2" fmla="val 0"/>
              </a:avLst>
            </a:prstGeom>
            <a:grp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050" b="1" dirty="0">
                <a:latin typeface="Arial Narrow" pitchFamily="34" charset="0"/>
              </a:endParaRPr>
            </a:p>
          </p:txBody>
        </p:sp>
      </p:grpSp>
      <p:grpSp>
        <p:nvGrpSpPr>
          <p:cNvPr id="107" name="Group 327"/>
          <p:cNvGrpSpPr>
            <a:grpSpLocks/>
          </p:cNvGrpSpPr>
          <p:nvPr/>
        </p:nvGrpSpPr>
        <p:grpSpPr bwMode="auto">
          <a:xfrm flipV="1">
            <a:off x="3611585" y="3926223"/>
            <a:ext cx="129201" cy="215524"/>
            <a:chOff x="957" y="1985"/>
            <a:chExt cx="256" cy="318"/>
          </a:xfrm>
        </p:grpSpPr>
        <p:sp>
          <p:nvSpPr>
            <p:cNvPr id="108" name="AutoShape 328"/>
            <p:cNvSpPr>
              <a:spLocks noChangeArrowheads="1"/>
            </p:cNvSpPr>
            <p:nvPr/>
          </p:nvSpPr>
          <p:spPr bwMode="auto">
            <a:xfrm rot="5400000" flipH="1">
              <a:off x="974" y="2117"/>
              <a:ext cx="314" cy="53"/>
            </a:xfrm>
            <a:custGeom>
              <a:avLst/>
              <a:gdLst>
                <a:gd name="T0" fmla="*/ 4 w 21600"/>
                <a:gd name="T1" fmla="*/ 0 h 21600"/>
                <a:gd name="T2" fmla="*/ 2 w 21600"/>
                <a:gd name="T3" fmla="*/ 0 h 21600"/>
                <a:gd name="T4" fmla="*/ 0 w 21600"/>
                <a:gd name="T5" fmla="*/ 0 h 21600"/>
                <a:gd name="T6" fmla="*/ 2 w 21600"/>
                <a:gd name="T7" fmla="*/ 0 h 2160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2820 w 21600"/>
                <a:gd name="T13" fmla="*/ 2853 h 21600"/>
                <a:gd name="T14" fmla="*/ 18780 w 21600"/>
                <a:gd name="T15" fmla="*/ 18747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0" y="0"/>
                  </a:moveTo>
                  <a:lnTo>
                    <a:pt x="2076" y="21600"/>
                  </a:lnTo>
                  <a:lnTo>
                    <a:pt x="19524" y="21600"/>
                  </a:lnTo>
                  <a:lnTo>
                    <a:pt x="21600" y="0"/>
                  </a:lnTo>
                  <a:close/>
                </a:path>
              </a:pathLst>
            </a:cu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  <p:sp>
          <p:nvSpPr>
            <p:cNvPr id="109" name="Rectangle 329"/>
            <p:cNvSpPr>
              <a:spLocks noChangeArrowheads="1"/>
            </p:cNvSpPr>
            <p:nvPr/>
          </p:nvSpPr>
          <p:spPr bwMode="auto">
            <a:xfrm flipH="1">
              <a:off x="957" y="2017"/>
              <a:ext cx="153" cy="256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  <p:sp>
          <p:nvSpPr>
            <p:cNvPr id="110" name="Rectangle 330"/>
            <p:cNvSpPr>
              <a:spLocks noChangeArrowheads="1"/>
            </p:cNvSpPr>
            <p:nvPr/>
          </p:nvSpPr>
          <p:spPr bwMode="auto">
            <a:xfrm flipH="1">
              <a:off x="1158" y="1985"/>
              <a:ext cx="55" cy="318"/>
            </a:xfrm>
            <a:prstGeom prst="rect">
              <a:avLst/>
            </a:prstGeom>
            <a:gradFill rotWithShape="1">
              <a:gsLst>
                <a:gs pos="0">
                  <a:srgbClr val="5E4776"/>
                </a:gs>
                <a:gs pos="50000">
                  <a:srgbClr val="CC99FF"/>
                </a:gs>
                <a:gs pos="100000">
                  <a:srgbClr val="5E4776"/>
                </a:gs>
              </a:gsLst>
              <a:lin ang="5400000" scaled="1"/>
            </a:gradFill>
            <a:ln w="9525" algn="ctr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GB" sz="1050" b="1" dirty="0">
                <a:latin typeface="Arial Narrow" pitchFamily="34" charset="0"/>
              </a:endParaRPr>
            </a:p>
          </p:txBody>
        </p:sp>
      </p:grpSp>
      <p:cxnSp>
        <p:nvCxnSpPr>
          <p:cNvPr id="111" name="Connettore 1 33"/>
          <p:cNvCxnSpPr>
            <a:stCxn id="105" idx="1"/>
            <a:endCxn id="105" idx="3"/>
          </p:cNvCxnSpPr>
          <p:nvPr/>
        </p:nvCxnSpPr>
        <p:spPr>
          <a:xfrm>
            <a:off x="3581391" y="4036801"/>
            <a:ext cx="497618" cy="0"/>
          </a:xfrm>
          <a:prstGeom prst="line">
            <a:avLst/>
          </a:prstGeom>
          <a:noFill/>
          <a:ln w="12700">
            <a:solidFill>
              <a:schemeClr val="tx1"/>
            </a:solidFill>
            <a:prstDash val="lgDashDot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91937565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itolo 1"/>
          <p:cNvSpPr txBox="1">
            <a:spLocks/>
          </p:cNvSpPr>
          <p:nvPr/>
        </p:nvSpPr>
        <p:spPr>
          <a:xfrm>
            <a:off x="772266" y="3274077"/>
            <a:ext cx="3485206" cy="550279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Il </a:t>
            </a:r>
            <a:r>
              <a:rPr lang="en-US" sz="1488" dirty="0" err="1" smtClean="0"/>
              <a:t>processo</a:t>
            </a:r>
            <a:r>
              <a:rPr lang="en-US" sz="1488" dirty="0" smtClean="0"/>
              <a:t> è </a:t>
            </a:r>
            <a:r>
              <a:rPr lang="en-US" sz="1488" dirty="0" err="1" smtClean="0"/>
              <a:t>iterativo</a:t>
            </a:r>
            <a:r>
              <a:rPr lang="en-US" sz="1488" dirty="0"/>
              <a:t> </a:t>
            </a:r>
            <a:r>
              <a:rPr lang="en-US" sz="1488" dirty="0" smtClean="0"/>
              <a:t>e </a:t>
            </a:r>
            <a:r>
              <a:rPr lang="en-US" sz="1488" dirty="0" err="1" smtClean="0"/>
              <a:t>spesso</a:t>
            </a:r>
            <a:r>
              <a:rPr lang="en-US" sz="1488" dirty="0" smtClean="0"/>
              <a:t> porta a </a:t>
            </a:r>
            <a:r>
              <a:rPr lang="en-US" sz="1488" dirty="0" err="1" smtClean="0"/>
              <a:t>rilavorazioni</a:t>
            </a:r>
            <a:r>
              <a:rPr lang="en-US" sz="1488" dirty="0" smtClean="0"/>
              <a:t> </a:t>
            </a:r>
            <a:endParaRPr lang="en-US" sz="1488" dirty="0"/>
          </a:p>
        </p:txBody>
      </p:sp>
      <p:grpSp>
        <p:nvGrpSpPr>
          <p:cNvPr id="4" name="Gruppo 3"/>
          <p:cNvGrpSpPr/>
          <p:nvPr/>
        </p:nvGrpSpPr>
        <p:grpSpPr>
          <a:xfrm>
            <a:off x="3673292" y="913860"/>
            <a:ext cx="5856964" cy="4116175"/>
            <a:chOff x="1794132" y="362380"/>
            <a:chExt cx="6426618" cy="5042274"/>
          </a:xfrm>
        </p:grpSpPr>
        <p:sp>
          <p:nvSpPr>
            <p:cNvPr id="187" name="Rettangolo 6"/>
            <p:cNvSpPr/>
            <p:nvPr/>
          </p:nvSpPr>
          <p:spPr>
            <a:xfrm>
              <a:off x="7444208" y="4087024"/>
              <a:ext cx="98538" cy="444646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92664 w 403981"/>
                <a:gd name="connsiteY4" fmla="*/ 732140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72809 w 403981"/>
                <a:gd name="connsiteY4" fmla="*/ 986291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2809 w 403981"/>
                <a:gd name="connsiteY3" fmla="*/ 986291 h 3028426"/>
                <a:gd name="connsiteX4" fmla="*/ 259328 w 403981"/>
                <a:gd name="connsiteY4" fmla="*/ 1160765 h 3028426"/>
                <a:gd name="connsiteX5" fmla="*/ 264089 w 403981"/>
                <a:gd name="connsiteY5" fmla="*/ 1384603 h 3028426"/>
                <a:gd name="connsiteX6" fmla="*/ 287903 w 403981"/>
                <a:gd name="connsiteY6" fmla="*/ 2046590 h 3028426"/>
                <a:gd name="connsiteX7" fmla="*/ 273614 w 403981"/>
                <a:gd name="connsiteY7" fmla="*/ 2327578 h 3028426"/>
                <a:gd name="connsiteX8" fmla="*/ 268853 w 403981"/>
                <a:gd name="connsiteY8" fmla="*/ 2565703 h 3028426"/>
                <a:gd name="connsiteX9" fmla="*/ 273615 w 403981"/>
                <a:gd name="connsiteY9" fmla="*/ 2794303 h 3028426"/>
                <a:gd name="connsiteX10" fmla="*/ 300621 w 403981"/>
                <a:gd name="connsiteY10" fmla="*/ 3028426 h 3028426"/>
                <a:gd name="connsiteX11" fmla="*/ 403981 w 403981"/>
                <a:gd name="connsiteY11" fmla="*/ 3018901 h 3028426"/>
                <a:gd name="connsiteX12" fmla="*/ 0 w 403981"/>
                <a:gd name="connsiteY12" fmla="*/ 60154 h 3028426"/>
                <a:gd name="connsiteX0" fmla="*/ 276013 w 276013"/>
                <a:gd name="connsiteY0" fmla="*/ 3018901 h 3028426"/>
                <a:gd name="connsiteX1" fmla="*/ 0 w 276013"/>
                <a:gd name="connsiteY1" fmla="*/ 103600 h 3028426"/>
                <a:gd name="connsiteX2" fmla="*/ 155171 w 276013"/>
                <a:gd name="connsiteY2" fmla="*/ 0 h 3028426"/>
                <a:gd name="connsiteX3" fmla="*/ 144841 w 276013"/>
                <a:gd name="connsiteY3" fmla="*/ 986291 h 3028426"/>
                <a:gd name="connsiteX4" fmla="*/ 131360 w 276013"/>
                <a:gd name="connsiteY4" fmla="*/ 1160765 h 3028426"/>
                <a:gd name="connsiteX5" fmla="*/ 136121 w 276013"/>
                <a:gd name="connsiteY5" fmla="*/ 1384603 h 3028426"/>
                <a:gd name="connsiteX6" fmla="*/ 159935 w 276013"/>
                <a:gd name="connsiteY6" fmla="*/ 2046590 h 3028426"/>
                <a:gd name="connsiteX7" fmla="*/ 145646 w 276013"/>
                <a:gd name="connsiteY7" fmla="*/ 2327578 h 3028426"/>
                <a:gd name="connsiteX8" fmla="*/ 140885 w 276013"/>
                <a:gd name="connsiteY8" fmla="*/ 2565703 h 3028426"/>
                <a:gd name="connsiteX9" fmla="*/ 145647 w 276013"/>
                <a:gd name="connsiteY9" fmla="*/ 2794303 h 3028426"/>
                <a:gd name="connsiteX10" fmla="*/ 172653 w 276013"/>
                <a:gd name="connsiteY10" fmla="*/ 3028426 h 3028426"/>
                <a:gd name="connsiteX11" fmla="*/ 276013 w 276013"/>
                <a:gd name="connsiteY11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4970 w 280983"/>
                <a:gd name="connsiteY2" fmla="*/ 103600 h 3028426"/>
                <a:gd name="connsiteX3" fmla="*/ 160141 w 280983"/>
                <a:gd name="connsiteY3" fmla="*/ 0 h 3028426"/>
                <a:gd name="connsiteX4" fmla="*/ 149811 w 280983"/>
                <a:gd name="connsiteY4" fmla="*/ 986291 h 3028426"/>
                <a:gd name="connsiteX5" fmla="*/ 136330 w 280983"/>
                <a:gd name="connsiteY5" fmla="*/ 1160765 h 3028426"/>
                <a:gd name="connsiteX6" fmla="*/ 141091 w 280983"/>
                <a:gd name="connsiteY6" fmla="*/ 1384603 h 3028426"/>
                <a:gd name="connsiteX7" fmla="*/ 164905 w 280983"/>
                <a:gd name="connsiteY7" fmla="*/ 2046590 h 3028426"/>
                <a:gd name="connsiteX8" fmla="*/ 150616 w 280983"/>
                <a:gd name="connsiteY8" fmla="*/ 2327578 h 3028426"/>
                <a:gd name="connsiteX9" fmla="*/ 145855 w 280983"/>
                <a:gd name="connsiteY9" fmla="*/ 2565703 h 3028426"/>
                <a:gd name="connsiteX10" fmla="*/ 150617 w 280983"/>
                <a:gd name="connsiteY10" fmla="*/ 2794303 h 3028426"/>
                <a:gd name="connsiteX11" fmla="*/ 177623 w 280983"/>
                <a:gd name="connsiteY11" fmla="*/ 3028426 h 3028426"/>
                <a:gd name="connsiteX12" fmla="*/ 280983 w 280983"/>
                <a:gd name="connsiteY12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160141 w 280983"/>
                <a:gd name="connsiteY2" fmla="*/ 0 h 3028426"/>
                <a:gd name="connsiteX3" fmla="*/ 149811 w 280983"/>
                <a:gd name="connsiteY3" fmla="*/ 986291 h 3028426"/>
                <a:gd name="connsiteX4" fmla="*/ 136330 w 280983"/>
                <a:gd name="connsiteY4" fmla="*/ 1160765 h 3028426"/>
                <a:gd name="connsiteX5" fmla="*/ 141091 w 280983"/>
                <a:gd name="connsiteY5" fmla="*/ 1384603 h 3028426"/>
                <a:gd name="connsiteX6" fmla="*/ 164905 w 280983"/>
                <a:gd name="connsiteY6" fmla="*/ 2046590 h 3028426"/>
                <a:gd name="connsiteX7" fmla="*/ 150616 w 280983"/>
                <a:gd name="connsiteY7" fmla="*/ 2327578 h 3028426"/>
                <a:gd name="connsiteX8" fmla="*/ 145855 w 280983"/>
                <a:gd name="connsiteY8" fmla="*/ 2565703 h 3028426"/>
                <a:gd name="connsiteX9" fmla="*/ 150617 w 280983"/>
                <a:gd name="connsiteY9" fmla="*/ 2794303 h 3028426"/>
                <a:gd name="connsiteX10" fmla="*/ 177623 w 280983"/>
                <a:gd name="connsiteY10" fmla="*/ 3028426 h 3028426"/>
                <a:gd name="connsiteX11" fmla="*/ 280983 w 280983"/>
                <a:gd name="connsiteY11" fmla="*/ 3018901 h 3028426"/>
                <a:gd name="connsiteX0" fmla="*/ 145476 w 145476"/>
                <a:gd name="connsiteY0" fmla="*/ 3018901 h 3028426"/>
                <a:gd name="connsiteX1" fmla="*/ 24634 w 145476"/>
                <a:gd name="connsiteY1" fmla="*/ 0 h 3028426"/>
                <a:gd name="connsiteX2" fmla="*/ 14304 w 145476"/>
                <a:gd name="connsiteY2" fmla="*/ 986291 h 3028426"/>
                <a:gd name="connsiteX3" fmla="*/ 823 w 145476"/>
                <a:gd name="connsiteY3" fmla="*/ 1160765 h 3028426"/>
                <a:gd name="connsiteX4" fmla="*/ 5584 w 145476"/>
                <a:gd name="connsiteY4" fmla="*/ 1384603 h 3028426"/>
                <a:gd name="connsiteX5" fmla="*/ 29398 w 145476"/>
                <a:gd name="connsiteY5" fmla="*/ 2046590 h 3028426"/>
                <a:gd name="connsiteX6" fmla="*/ 15109 w 145476"/>
                <a:gd name="connsiteY6" fmla="*/ 2327578 h 3028426"/>
                <a:gd name="connsiteX7" fmla="*/ 10348 w 145476"/>
                <a:gd name="connsiteY7" fmla="*/ 2565703 h 3028426"/>
                <a:gd name="connsiteX8" fmla="*/ 15110 w 145476"/>
                <a:gd name="connsiteY8" fmla="*/ 2794303 h 3028426"/>
                <a:gd name="connsiteX9" fmla="*/ 42116 w 145476"/>
                <a:gd name="connsiteY9" fmla="*/ 3028426 h 3028426"/>
                <a:gd name="connsiteX10" fmla="*/ 145476 w 145476"/>
                <a:gd name="connsiteY10" fmla="*/ 3018901 h 3028426"/>
                <a:gd name="connsiteX0" fmla="*/ 145476 w 145476"/>
                <a:gd name="connsiteY0" fmla="*/ 2032610 h 2042135"/>
                <a:gd name="connsiteX1" fmla="*/ 14304 w 145476"/>
                <a:gd name="connsiteY1" fmla="*/ 0 h 2042135"/>
                <a:gd name="connsiteX2" fmla="*/ 823 w 145476"/>
                <a:gd name="connsiteY2" fmla="*/ 174474 h 2042135"/>
                <a:gd name="connsiteX3" fmla="*/ 5584 w 145476"/>
                <a:gd name="connsiteY3" fmla="*/ 398312 h 2042135"/>
                <a:gd name="connsiteX4" fmla="*/ 29398 w 145476"/>
                <a:gd name="connsiteY4" fmla="*/ 1060299 h 2042135"/>
                <a:gd name="connsiteX5" fmla="*/ 15109 w 145476"/>
                <a:gd name="connsiteY5" fmla="*/ 1341287 h 2042135"/>
                <a:gd name="connsiteX6" fmla="*/ 10348 w 145476"/>
                <a:gd name="connsiteY6" fmla="*/ 1579412 h 2042135"/>
                <a:gd name="connsiteX7" fmla="*/ 15110 w 145476"/>
                <a:gd name="connsiteY7" fmla="*/ 1808012 h 2042135"/>
                <a:gd name="connsiteX8" fmla="*/ 42116 w 145476"/>
                <a:gd name="connsiteY8" fmla="*/ 2042135 h 2042135"/>
                <a:gd name="connsiteX9" fmla="*/ 145476 w 145476"/>
                <a:gd name="connsiteY9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37534 w 137534"/>
                <a:gd name="connsiteY0" fmla="*/ 2040552 h 2042135"/>
                <a:gd name="connsiteX1" fmla="*/ 130558 w 137534"/>
                <a:gd name="connsiteY1" fmla="*/ 2544 h 2042135"/>
                <a:gd name="connsiteX2" fmla="*/ 14304 w 137534"/>
                <a:gd name="connsiteY2" fmla="*/ 0 h 2042135"/>
                <a:gd name="connsiteX3" fmla="*/ 823 w 137534"/>
                <a:gd name="connsiteY3" fmla="*/ 174474 h 2042135"/>
                <a:gd name="connsiteX4" fmla="*/ 5584 w 137534"/>
                <a:gd name="connsiteY4" fmla="*/ 398312 h 2042135"/>
                <a:gd name="connsiteX5" fmla="*/ 29398 w 137534"/>
                <a:gd name="connsiteY5" fmla="*/ 1060299 h 2042135"/>
                <a:gd name="connsiteX6" fmla="*/ 15109 w 137534"/>
                <a:gd name="connsiteY6" fmla="*/ 1341287 h 2042135"/>
                <a:gd name="connsiteX7" fmla="*/ 10348 w 137534"/>
                <a:gd name="connsiteY7" fmla="*/ 1579412 h 2042135"/>
                <a:gd name="connsiteX8" fmla="*/ 15110 w 137534"/>
                <a:gd name="connsiteY8" fmla="*/ 1808012 h 2042135"/>
                <a:gd name="connsiteX9" fmla="*/ 42116 w 137534"/>
                <a:gd name="connsiteY9" fmla="*/ 2042135 h 2042135"/>
                <a:gd name="connsiteX10" fmla="*/ 137534 w 137534"/>
                <a:gd name="connsiteY10" fmla="*/ 2040552 h 204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34" h="2042135">
                  <a:moveTo>
                    <a:pt x="137534" y="2040552"/>
                  </a:moveTo>
                  <a:cubicBezTo>
                    <a:pt x="135209" y="1361216"/>
                    <a:pt x="132883" y="681880"/>
                    <a:pt x="130558" y="2544"/>
                  </a:cubicBezTo>
                  <a:lnTo>
                    <a:pt x="14304" y="0"/>
                  </a:lnTo>
                  <a:cubicBezTo>
                    <a:pt x="9542" y="142875"/>
                    <a:pt x="3998" y="67318"/>
                    <a:pt x="823" y="174474"/>
                  </a:cubicBezTo>
                  <a:cubicBezTo>
                    <a:pt x="-1297" y="548203"/>
                    <a:pt x="822" y="250675"/>
                    <a:pt x="5584" y="398312"/>
                  </a:cubicBezTo>
                  <a:cubicBezTo>
                    <a:pt x="10346" y="545949"/>
                    <a:pt x="29398" y="901549"/>
                    <a:pt x="29398" y="1060299"/>
                  </a:cubicBezTo>
                  <a:cubicBezTo>
                    <a:pt x="34954" y="1269055"/>
                    <a:pt x="15109" y="1251593"/>
                    <a:pt x="15109" y="1341287"/>
                  </a:cubicBezTo>
                  <a:cubicBezTo>
                    <a:pt x="15109" y="1430981"/>
                    <a:pt x="16698" y="1515912"/>
                    <a:pt x="10348" y="1579412"/>
                  </a:cubicBezTo>
                  <a:cubicBezTo>
                    <a:pt x="3998" y="1642912"/>
                    <a:pt x="12197" y="1740417"/>
                    <a:pt x="15110" y="1808012"/>
                  </a:cubicBezTo>
                  <a:lnTo>
                    <a:pt x="42116" y="2042135"/>
                  </a:lnTo>
                  <a:lnTo>
                    <a:pt x="137534" y="2040552"/>
                  </a:lnTo>
                  <a:close/>
                </a:path>
              </a:pathLst>
            </a:custGeom>
            <a:pattFill prst="wdDnDiag">
              <a:fgClr>
                <a:srgbClr val="FFFF00"/>
              </a:fgClr>
              <a:bgClr>
                <a:srgbClr val="EE7713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grpSp>
          <p:nvGrpSpPr>
            <p:cNvPr id="156" name="Gruppo 155"/>
            <p:cNvGrpSpPr/>
            <p:nvPr/>
          </p:nvGrpSpPr>
          <p:grpSpPr>
            <a:xfrm>
              <a:off x="2585130" y="673884"/>
              <a:ext cx="2574344" cy="2744873"/>
              <a:chOff x="2700961" y="2998856"/>
              <a:chExt cx="897004" cy="927098"/>
            </a:xfrm>
          </p:grpSpPr>
          <p:sp>
            <p:nvSpPr>
              <p:cNvPr id="154" name="Freccia ad arco 153"/>
              <p:cNvSpPr/>
              <p:nvPr/>
            </p:nvSpPr>
            <p:spPr>
              <a:xfrm>
                <a:off x="2700961" y="3011554"/>
                <a:ext cx="897004" cy="914400"/>
              </a:xfrm>
              <a:prstGeom prst="circularArrow">
                <a:avLst>
                  <a:gd name="adj1" fmla="val 15142"/>
                  <a:gd name="adj2" fmla="val 934235"/>
                  <a:gd name="adj3" fmla="val 19272471"/>
                  <a:gd name="adj4" fmla="val 12961417"/>
                  <a:gd name="adj5" fmla="val 12575"/>
                </a:avLst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Freccia ad arco 154"/>
              <p:cNvSpPr/>
              <p:nvPr/>
            </p:nvSpPr>
            <p:spPr>
              <a:xfrm rot="10800000">
                <a:off x="2700961" y="2998856"/>
                <a:ext cx="897004" cy="914400"/>
              </a:xfrm>
              <a:prstGeom prst="circularArrow">
                <a:avLst>
                  <a:gd name="adj1" fmla="val 14700"/>
                  <a:gd name="adj2" fmla="val 957146"/>
                  <a:gd name="adj3" fmla="val 18709542"/>
                  <a:gd name="adj4" fmla="val 12798358"/>
                  <a:gd name="adj5" fmla="val 12500"/>
                </a:avLst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01" name="Rettangolo 200"/>
            <p:cNvSpPr/>
            <p:nvPr/>
          </p:nvSpPr>
          <p:spPr>
            <a:xfrm rot="5400000">
              <a:off x="5387040" y="4373368"/>
              <a:ext cx="338124" cy="80291"/>
            </a:xfrm>
            <a:prstGeom prst="rect">
              <a:avLst/>
            </a:prstGeom>
            <a:pattFill prst="wdUpDiag">
              <a:fgClr>
                <a:srgbClr val="EE7713"/>
              </a:fgClr>
              <a:bgClr>
                <a:srgbClr val="FFFF00"/>
              </a:bgClr>
            </a:pattFill>
            <a:ln w="127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1794132" y="1857302"/>
              <a:ext cx="1158764" cy="55883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Gap measurement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1" name="Rettangolo 120"/>
            <p:cNvSpPr/>
            <p:nvPr/>
          </p:nvSpPr>
          <p:spPr>
            <a:xfrm>
              <a:off x="3339148" y="1857302"/>
              <a:ext cx="1158764" cy="55883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Point interpolation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2" name="Rettangolo 121"/>
            <p:cNvSpPr/>
            <p:nvPr/>
          </p:nvSpPr>
          <p:spPr>
            <a:xfrm>
              <a:off x="4908820" y="1857301"/>
              <a:ext cx="1158764" cy="55883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Shim CNC machining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5" name="Rettangolo 124"/>
            <p:cNvSpPr/>
            <p:nvPr/>
          </p:nvSpPr>
          <p:spPr>
            <a:xfrm>
              <a:off x="6199646" y="3045606"/>
              <a:ext cx="651140" cy="652166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lvl="0" algn="ctr"/>
              <a:r>
                <a:rPr lang="en-US" sz="2315" b="1" dirty="0">
                  <a:solidFill>
                    <a:srgbClr val="00B050"/>
                  </a:solidFill>
                  <a:latin typeface="Arial Narrow" panose="020B0606020202030204" pitchFamily="34" charset="0"/>
                  <a:sym typeface="Wingdings"/>
                </a:rPr>
                <a:t></a:t>
              </a:r>
            </a:p>
            <a:p>
              <a:pPr lvl="0"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&lt; 0.005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6" name="Rettangolo 125"/>
            <p:cNvSpPr/>
            <p:nvPr/>
          </p:nvSpPr>
          <p:spPr>
            <a:xfrm>
              <a:off x="4118143" y="3037128"/>
              <a:ext cx="651140" cy="652166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lvl="0" algn="ctr"/>
              <a:r>
                <a:rPr lang="en-US" sz="2315" b="1" dirty="0">
                  <a:solidFill>
                    <a:srgbClr val="FF0000"/>
                  </a:solidFill>
                  <a:latin typeface="Arial Narrow" panose="020B0606020202030204" pitchFamily="34" charset="0"/>
                  <a:sym typeface="Wingdings"/>
                </a:rPr>
                <a:t></a:t>
              </a:r>
            </a:p>
            <a:p>
              <a:pPr lvl="0"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&gt; 0.005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4" name="Decisione 63"/>
            <p:cNvSpPr/>
            <p:nvPr/>
          </p:nvSpPr>
          <p:spPr>
            <a:xfrm>
              <a:off x="4612966" y="3010917"/>
              <a:ext cx="1766910" cy="808813"/>
            </a:xfrm>
            <a:prstGeom prst="flowChartDecisi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Residual gap check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5" name="Rettangolo arrotondato 64"/>
            <p:cNvSpPr/>
            <p:nvPr/>
          </p:nvSpPr>
          <p:spPr>
            <a:xfrm>
              <a:off x="7130029" y="3132959"/>
              <a:ext cx="1090721" cy="558837"/>
            </a:xfrm>
            <a:prstGeom prst="roundRect">
              <a:avLst>
                <a:gd name="adj" fmla="val 38726"/>
              </a:avLst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Shim installation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67" name="Connettore 2 66"/>
            <p:cNvCxnSpPr>
              <a:stCxn id="16" idx="3"/>
              <a:endCxn id="121" idx="1"/>
            </p:cNvCxnSpPr>
            <p:nvPr/>
          </p:nvCxnSpPr>
          <p:spPr>
            <a:xfrm>
              <a:off x="2952896" y="2136721"/>
              <a:ext cx="386252" cy="0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nettore 2 128"/>
            <p:cNvCxnSpPr>
              <a:stCxn id="121" idx="3"/>
              <a:endCxn id="122" idx="1"/>
            </p:cNvCxnSpPr>
            <p:nvPr/>
          </p:nvCxnSpPr>
          <p:spPr>
            <a:xfrm flipV="1">
              <a:off x="4497912" y="2136720"/>
              <a:ext cx="410907" cy="1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nettore 2 130"/>
            <p:cNvCxnSpPr>
              <a:stCxn id="122" idx="2"/>
              <a:endCxn id="64" idx="0"/>
            </p:cNvCxnSpPr>
            <p:nvPr/>
          </p:nvCxnSpPr>
          <p:spPr>
            <a:xfrm>
              <a:off x="5488202" y="2416139"/>
              <a:ext cx="8219" cy="594765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nettore 2 133"/>
            <p:cNvCxnSpPr>
              <a:stCxn id="64" idx="3"/>
              <a:endCxn id="65" idx="1"/>
            </p:cNvCxnSpPr>
            <p:nvPr/>
          </p:nvCxnSpPr>
          <p:spPr>
            <a:xfrm flipV="1">
              <a:off x="6379876" y="3412378"/>
              <a:ext cx="750153" cy="2946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Connettore 4 143"/>
            <p:cNvCxnSpPr>
              <a:stCxn id="64" idx="1"/>
              <a:endCxn id="16" idx="2"/>
            </p:cNvCxnSpPr>
            <p:nvPr/>
          </p:nvCxnSpPr>
          <p:spPr>
            <a:xfrm rot="10800000">
              <a:off x="2373515" y="2416140"/>
              <a:ext cx="2239451" cy="999185"/>
            </a:xfrm>
            <a:prstGeom prst="bentConnector2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7" name="Gruppo 166"/>
            <p:cNvGrpSpPr/>
            <p:nvPr/>
          </p:nvGrpSpPr>
          <p:grpSpPr>
            <a:xfrm rot="5400000">
              <a:off x="5211597" y="601559"/>
              <a:ext cx="742171" cy="797648"/>
              <a:chOff x="4483749" y="1737795"/>
              <a:chExt cx="1924057" cy="3027581"/>
            </a:xfrm>
          </p:grpSpPr>
          <p:sp>
            <p:nvSpPr>
              <p:cNvPr id="158" name="Rettangolo 157"/>
              <p:cNvSpPr/>
              <p:nvPr/>
            </p:nvSpPr>
            <p:spPr>
              <a:xfrm>
                <a:off x="5877454" y="2028177"/>
                <a:ext cx="530352" cy="2686089"/>
              </a:xfrm>
              <a:prstGeom prst="rect">
                <a:avLst/>
              </a:prstGeom>
              <a:pattFill prst="wdUpDiag">
                <a:fgClr>
                  <a:srgbClr val="EE7713"/>
                </a:fgClr>
                <a:bgClr>
                  <a:srgbClr val="FFFF00"/>
                </a:bgClr>
              </a:pattFill>
              <a:ln w="12700"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/>
              </a:p>
            </p:txBody>
          </p:sp>
          <p:grpSp>
            <p:nvGrpSpPr>
              <p:cNvPr id="159" name="Gruppo 158"/>
              <p:cNvGrpSpPr/>
              <p:nvPr/>
            </p:nvGrpSpPr>
            <p:grpSpPr>
              <a:xfrm flipV="1">
                <a:off x="4483749" y="1737795"/>
                <a:ext cx="1708907" cy="3027581"/>
                <a:chOff x="810767" y="5116879"/>
                <a:chExt cx="1412319" cy="1847864"/>
              </a:xfrm>
            </p:grpSpPr>
            <p:sp>
              <p:nvSpPr>
                <p:cNvPr id="160" name="Rettangolo 159"/>
                <p:cNvSpPr/>
                <p:nvPr/>
              </p:nvSpPr>
              <p:spPr>
                <a:xfrm>
                  <a:off x="1464184" y="5116879"/>
                  <a:ext cx="758902" cy="1013355"/>
                </a:xfrm>
                <a:custGeom>
                  <a:avLst/>
                  <a:gdLst>
                    <a:gd name="connsiteX0" fmla="*/ 0 w 417253"/>
                    <a:gd name="connsiteY0" fmla="*/ 0 h 529024"/>
                    <a:gd name="connsiteX1" fmla="*/ 417253 w 417253"/>
                    <a:gd name="connsiteY1" fmla="*/ 0 h 529024"/>
                    <a:gd name="connsiteX2" fmla="*/ 417253 w 417253"/>
                    <a:gd name="connsiteY2" fmla="*/ 529024 h 529024"/>
                    <a:gd name="connsiteX3" fmla="*/ 0 w 417253"/>
                    <a:gd name="connsiteY3" fmla="*/ 529024 h 529024"/>
                    <a:gd name="connsiteX4" fmla="*/ 0 w 417253"/>
                    <a:gd name="connsiteY4" fmla="*/ 0 h 529024"/>
                    <a:gd name="connsiteX0" fmla="*/ 0 w 417253"/>
                    <a:gd name="connsiteY0" fmla="*/ 0 h 529024"/>
                    <a:gd name="connsiteX1" fmla="*/ 417253 w 417253"/>
                    <a:gd name="connsiteY1" fmla="*/ 0 h 529024"/>
                    <a:gd name="connsiteX2" fmla="*/ 405520 w 417253"/>
                    <a:gd name="connsiteY2" fmla="*/ 150248 h 529024"/>
                    <a:gd name="connsiteX3" fmla="*/ 417253 w 417253"/>
                    <a:gd name="connsiteY3" fmla="*/ 529024 h 529024"/>
                    <a:gd name="connsiteX4" fmla="*/ 0 w 417253"/>
                    <a:gd name="connsiteY4" fmla="*/ 529024 h 529024"/>
                    <a:gd name="connsiteX5" fmla="*/ 0 w 417253"/>
                    <a:gd name="connsiteY5" fmla="*/ 0 h 529024"/>
                    <a:gd name="connsiteX0" fmla="*/ 0 w 428380"/>
                    <a:gd name="connsiteY0" fmla="*/ 0 h 529024"/>
                    <a:gd name="connsiteX1" fmla="*/ 417253 w 428380"/>
                    <a:gd name="connsiteY1" fmla="*/ 0 h 529024"/>
                    <a:gd name="connsiteX2" fmla="*/ 405520 w 428380"/>
                    <a:gd name="connsiteY2" fmla="*/ 150248 h 529024"/>
                    <a:gd name="connsiteX3" fmla="*/ 428380 w 428380"/>
                    <a:gd name="connsiteY3" fmla="*/ 310268 h 529024"/>
                    <a:gd name="connsiteX4" fmla="*/ 417253 w 428380"/>
                    <a:gd name="connsiteY4" fmla="*/ 529024 h 529024"/>
                    <a:gd name="connsiteX5" fmla="*/ 0 w 428380"/>
                    <a:gd name="connsiteY5" fmla="*/ 529024 h 529024"/>
                    <a:gd name="connsiteX6" fmla="*/ 0 w 428380"/>
                    <a:gd name="connsiteY6" fmla="*/ 0 h 529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8380" h="529024">
                      <a:moveTo>
                        <a:pt x="0" y="0"/>
                      </a:moveTo>
                      <a:lnTo>
                        <a:pt x="417253" y="0"/>
                      </a:lnTo>
                      <a:cubicBezTo>
                        <a:pt x="417151" y="50082"/>
                        <a:pt x="405622" y="100166"/>
                        <a:pt x="405520" y="150248"/>
                      </a:cubicBezTo>
                      <a:cubicBezTo>
                        <a:pt x="406789" y="203587"/>
                        <a:pt x="427111" y="256929"/>
                        <a:pt x="428380" y="310268"/>
                      </a:cubicBezTo>
                      <a:lnTo>
                        <a:pt x="417253" y="529024"/>
                      </a:lnTo>
                      <a:lnTo>
                        <a:pt x="0" y="5290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9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1488" dirty="0"/>
                </a:p>
              </p:txBody>
            </p:sp>
            <p:grpSp>
              <p:nvGrpSpPr>
                <p:cNvPr id="161" name="Gruppo 160"/>
                <p:cNvGrpSpPr/>
                <p:nvPr/>
              </p:nvGrpSpPr>
              <p:grpSpPr>
                <a:xfrm>
                  <a:off x="810767" y="5675864"/>
                  <a:ext cx="1391508" cy="688975"/>
                  <a:chOff x="865631" y="5438120"/>
                  <a:chExt cx="1391508" cy="688975"/>
                </a:xfrm>
              </p:grpSpPr>
              <p:sp>
                <p:nvSpPr>
                  <p:cNvPr id="163" name="Rettangolo arrotondato 162"/>
                  <p:cNvSpPr/>
                  <p:nvPr/>
                </p:nvSpPr>
                <p:spPr>
                  <a:xfrm>
                    <a:off x="1225994" y="5573009"/>
                    <a:ext cx="1031145" cy="412321"/>
                  </a:xfrm>
                  <a:prstGeom prst="roundRect">
                    <a:avLst>
                      <a:gd name="adj" fmla="val 36626"/>
                    </a:avLst>
                  </a:prstGeom>
                  <a:pattFill prst="wdDnDiag">
                    <a:fgClr>
                      <a:schemeClr val="bg1">
                        <a:lumMod val="50000"/>
                      </a:schemeClr>
                    </a:fgClr>
                    <a:bgClr>
                      <a:schemeClr val="bg1"/>
                    </a:bgClr>
                  </a:pattFill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488" dirty="0"/>
                  </a:p>
                </p:txBody>
              </p:sp>
              <p:sp>
                <p:nvSpPr>
                  <p:cNvPr id="164" name="Rectangle 113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732281" y="5631795"/>
                    <a:ext cx="688975" cy="301625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488" dirty="0"/>
                  </a:p>
                </p:txBody>
              </p:sp>
              <p:sp>
                <p:nvSpPr>
                  <p:cNvPr id="165" name="AutoShape 114"/>
                  <p:cNvSpPr>
                    <a:spLocks noChangeArrowheads="1"/>
                  </p:cNvSpPr>
                  <p:nvPr/>
                </p:nvSpPr>
                <p:spPr bwMode="auto">
                  <a:xfrm rot="16200000">
                    <a:off x="981519" y="5682595"/>
                    <a:ext cx="688975" cy="200025"/>
                  </a:xfrm>
                  <a:custGeom>
                    <a:avLst/>
                    <a:gdLst>
                      <a:gd name="G0" fmla="+- 2746 0 0"/>
                      <a:gd name="G1" fmla="+- 21600 0 2746"/>
                      <a:gd name="G2" fmla="*/ 2746 1 2"/>
                      <a:gd name="G3" fmla="+- 21600 0 G2"/>
                      <a:gd name="G4" fmla="+/ 2746 21600 2"/>
                      <a:gd name="G5" fmla="+/ G1 0 2"/>
                      <a:gd name="G6" fmla="*/ 21600 21600 2746"/>
                      <a:gd name="G7" fmla="*/ G6 1 2"/>
                      <a:gd name="G8" fmla="+- 21600 0 G7"/>
                      <a:gd name="G9" fmla="*/ 21600 1 2"/>
                      <a:gd name="G10" fmla="+- 2746 0 G9"/>
                      <a:gd name="G11" fmla="?: G10 G8 0"/>
                      <a:gd name="G12" fmla="?: G10 G7 21600"/>
                      <a:gd name="T0" fmla="*/ 20227 w 21600"/>
                      <a:gd name="T1" fmla="*/ 10800 h 21600"/>
                      <a:gd name="T2" fmla="*/ 10800 w 21600"/>
                      <a:gd name="T3" fmla="*/ 21600 h 21600"/>
                      <a:gd name="T4" fmla="*/ 1373 w 21600"/>
                      <a:gd name="T5" fmla="*/ 10800 h 21600"/>
                      <a:gd name="T6" fmla="*/ 10800 w 21600"/>
                      <a:gd name="T7" fmla="*/ 0 h 21600"/>
                      <a:gd name="T8" fmla="*/ 3173 w 21600"/>
                      <a:gd name="T9" fmla="*/ 3173 h 21600"/>
                      <a:gd name="T10" fmla="*/ 18427 w 21600"/>
                      <a:gd name="T11" fmla="*/ 1842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746" y="21600"/>
                        </a:lnTo>
                        <a:lnTo>
                          <a:pt x="18854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488" dirty="0"/>
                  </a:p>
                </p:txBody>
              </p:sp>
              <p:sp>
                <p:nvSpPr>
                  <p:cNvPr id="166" name="Line 115"/>
                  <p:cNvSpPr>
                    <a:spLocks noChangeShapeType="1"/>
                  </p:cNvSpPr>
                  <p:nvPr/>
                </p:nvSpPr>
                <p:spPr bwMode="auto">
                  <a:xfrm rot="10816890">
                    <a:off x="865631" y="5779433"/>
                    <a:ext cx="1387475" cy="0"/>
                  </a:xfrm>
                  <a:prstGeom prst="line">
                    <a:avLst/>
                  </a:prstGeom>
                  <a:noFill/>
                  <a:ln w="9525">
                    <a:solidFill>
                      <a:srgbClr val="000000"/>
                    </a:solidFill>
                    <a:prstDash val="lgDashDot"/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it-IT" sz="1488" dirty="0"/>
                  </a:p>
                </p:txBody>
              </p:sp>
            </p:grpSp>
            <p:sp>
              <p:nvSpPr>
                <p:cNvPr id="162" name="AutoShape 31"/>
                <p:cNvSpPr>
                  <a:spLocks noChangeArrowheads="1"/>
                </p:cNvSpPr>
                <p:nvPr/>
              </p:nvSpPr>
              <p:spPr bwMode="auto">
                <a:xfrm rot="16200000">
                  <a:off x="1146711" y="6209093"/>
                  <a:ext cx="766763" cy="744537"/>
                </a:xfrm>
                <a:prstGeom prst="leftArrow">
                  <a:avLst>
                    <a:gd name="adj1" fmla="val 59620"/>
                    <a:gd name="adj2" fmla="val 44541"/>
                  </a:avLst>
                </a:prstGeom>
                <a:gradFill rotWithShape="1">
                  <a:gsLst>
                    <a:gs pos="0">
                      <a:srgbClr val="92D050"/>
                    </a:gs>
                    <a:gs pos="100000">
                      <a:srgbClr val="33CC33">
                        <a:gamma/>
                        <a:shade val="46275"/>
                        <a:invGamma/>
                        <a:alpha val="0"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</p:spPr>
              <p:txBody>
                <a:bodyPr rot="10800000" vert="eaVert" wrap="none" anchor="ctr"/>
                <a:lstStyle/>
                <a:p>
                  <a:pPr algn="ctr" eaLnBrk="1" hangingPunct="1"/>
                  <a:endParaRPr lang="en-US" sz="1488" dirty="0">
                    <a:latin typeface="Arial Narrow" pitchFamily="34" charset="0"/>
                  </a:endParaRPr>
                </a:p>
              </p:txBody>
            </p:sp>
          </p:grpSp>
        </p:grpSp>
        <p:grpSp>
          <p:nvGrpSpPr>
            <p:cNvPr id="176" name="Gruppo 175"/>
            <p:cNvGrpSpPr/>
            <p:nvPr/>
          </p:nvGrpSpPr>
          <p:grpSpPr>
            <a:xfrm>
              <a:off x="2161001" y="404430"/>
              <a:ext cx="634586" cy="755763"/>
              <a:chOff x="1221054" y="923199"/>
              <a:chExt cx="3205916" cy="4199919"/>
            </a:xfrm>
          </p:grpSpPr>
          <p:sp>
            <p:nvSpPr>
              <p:cNvPr id="174" name="Freccia curva 2"/>
              <p:cNvSpPr/>
              <p:nvPr/>
            </p:nvSpPr>
            <p:spPr>
              <a:xfrm flipV="1">
                <a:off x="1722874" y="2733865"/>
                <a:ext cx="2704096" cy="2389253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04096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777445" y="0"/>
                      <a:pt x="1867932" y="0"/>
                    </a:cubicBezTo>
                    <a:cubicBezTo>
                      <a:pt x="1974295" y="3175"/>
                      <a:pt x="2104469" y="39689"/>
                      <a:pt x="2210832" y="42864"/>
                    </a:cubicBezTo>
                    <a:lnTo>
                      <a:pt x="2612656" y="12772"/>
                    </a:lnTo>
                    <a:cubicBezTo>
                      <a:pt x="2613906" y="55124"/>
                      <a:pt x="2606011" y="124908"/>
                      <a:pt x="2607261" y="167260"/>
                    </a:cubicBezTo>
                    <a:lnTo>
                      <a:pt x="2704096" y="26206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5" name="Rettangolo 6"/>
              <p:cNvSpPr/>
              <p:nvPr/>
            </p:nvSpPr>
            <p:spPr>
              <a:xfrm>
                <a:off x="1221054" y="923199"/>
                <a:ext cx="361929" cy="3895880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3751" h="3895880">
                    <a:moveTo>
                      <a:pt x="0" y="155"/>
                    </a:moveTo>
                    <a:cubicBezTo>
                      <a:pt x="42672" y="-2893"/>
                      <a:pt x="112776" y="39779"/>
                      <a:pt x="155448" y="36731"/>
                    </a:cubicBezTo>
                    <a:lnTo>
                      <a:pt x="265176" y="155"/>
                    </a:lnTo>
                    <a:cubicBezTo>
                      <a:pt x="284519" y="34413"/>
                      <a:pt x="272833" y="-24291"/>
                      <a:pt x="276269" y="242282"/>
                    </a:cubicBezTo>
                    <a:cubicBezTo>
                      <a:pt x="278912" y="437418"/>
                      <a:pt x="265156" y="954275"/>
                      <a:pt x="271506" y="1180494"/>
                    </a:cubicBezTo>
                    <a:cubicBezTo>
                      <a:pt x="277856" y="1406713"/>
                      <a:pt x="290556" y="1456719"/>
                      <a:pt x="285794" y="1599594"/>
                    </a:cubicBezTo>
                    <a:cubicBezTo>
                      <a:pt x="281032" y="1742469"/>
                      <a:pt x="255633" y="1921063"/>
                      <a:pt x="252458" y="2028219"/>
                    </a:cubicBezTo>
                    <a:cubicBezTo>
                      <a:pt x="250338" y="2401948"/>
                      <a:pt x="252457" y="2104420"/>
                      <a:pt x="257219" y="2252057"/>
                    </a:cubicBezTo>
                    <a:cubicBezTo>
                      <a:pt x="261981" y="2399694"/>
                      <a:pt x="281033" y="2755294"/>
                      <a:pt x="281033" y="2914044"/>
                    </a:cubicBezTo>
                    <a:cubicBezTo>
                      <a:pt x="286589" y="3122800"/>
                      <a:pt x="266744" y="3105338"/>
                      <a:pt x="266744" y="3195032"/>
                    </a:cubicBezTo>
                    <a:cubicBezTo>
                      <a:pt x="266744" y="3284726"/>
                      <a:pt x="268333" y="3369657"/>
                      <a:pt x="261983" y="3433157"/>
                    </a:cubicBezTo>
                    <a:cubicBezTo>
                      <a:pt x="255633" y="3496657"/>
                      <a:pt x="263832" y="3594162"/>
                      <a:pt x="266745" y="3661757"/>
                    </a:cubicBezTo>
                    <a:lnTo>
                      <a:pt x="293751" y="3895880"/>
                    </a:lnTo>
                    <a:lnTo>
                      <a:pt x="0" y="3886355"/>
                    </a:lnTo>
                    <a:lnTo>
                      <a:pt x="0" y="155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7" name="Rettangolo 176"/>
            <p:cNvSpPr/>
            <p:nvPr/>
          </p:nvSpPr>
          <p:spPr>
            <a:xfrm>
              <a:off x="3289270" y="362380"/>
              <a:ext cx="1180131" cy="136486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US" sz="8269" dirty="0">
                  <a:solidFill>
                    <a:srgbClr val="002060"/>
                  </a:solidFill>
                  <a:latin typeface="Arial Narrow" panose="020B0606020202030204" pitchFamily="34" charset="0"/>
                  <a:sym typeface="Wingdings"/>
                </a:rPr>
                <a:t></a:t>
              </a:r>
              <a:endParaRPr lang="en-US" sz="8269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78" name="Gruppo 177"/>
            <p:cNvGrpSpPr/>
            <p:nvPr/>
          </p:nvGrpSpPr>
          <p:grpSpPr>
            <a:xfrm rot="1053938">
              <a:off x="5139184" y="4412144"/>
              <a:ext cx="417141" cy="992510"/>
              <a:chOff x="461977" y="4457251"/>
              <a:chExt cx="1081422" cy="2126483"/>
            </a:xfrm>
          </p:grpSpPr>
          <p:sp>
            <p:nvSpPr>
              <p:cNvPr id="179" name="Figura a mano libera 178"/>
              <p:cNvSpPr/>
              <p:nvPr/>
            </p:nvSpPr>
            <p:spPr>
              <a:xfrm>
                <a:off x="1108093" y="4457251"/>
                <a:ext cx="435306" cy="1314596"/>
              </a:xfrm>
              <a:custGeom>
                <a:avLst/>
                <a:gdLst>
                  <a:gd name="connsiteX0" fmla="*/ 1459 w 476080"/>
                  <a:gd name="connsiteY0" fmla="*/ 1729408 h 1731897"/>
                  <a:gd name="connsiteX1" fmla="*/ 51155 w 476080"/>
                  <a:gd name="connsiteY1" fmla="*/ 1659835 h 1731897"/>
                  <a:gd name="connsiteX2" fmla="*/ 438781 w 476080"/>
                  <a:gd name="connsiteY2" fmla="*/ 1093304 h 1731897"/>
                  <a:gd name="connsiteX3" fmla="*/ 438781 w 476080"/>
                  <a:gd name="connsiteY3" fmla="*/ 0 h 1731897"/>
                  <a:gd name="connsiteX0" fmla="*/ 1459 w 438799"/>
                  <a:gd name="connsiteY0" fmla="*/ 1910601 h 1913090"/>
                  <a:gd name="connsiteX1" fmla="*/ 51155 w 438799"/>
                  <a:gd name="connsiteY1" fmla="*/ 1841028 h 1913090"/>
                  <a:gd name="connsiteX2" fmla="*/ 438781 w 438799"/>
                  <a:gd name="connsiteY2" fmla="*/ 1274497 h 1913090"/>
                  <a:gd name="connsiteX3" fmla="*/ 34166 w 438799"/>
                  <a:gd name="connsiteY3" fmla="*/ 0 h 1913090"/>
                  <a:gd name="connsiteX0" fmla="*/ 8586 w 445821"/>
                  <a:gd name="connsiteY0" fmla="*/ 1910601 h 1934081"/>
                  <a:gd name="connsiteX1" fmla="*/ 58282 w 445821"/>
                  <a:gd name="connsiteY1" fmla="*/ 1841028 h 1934081"/>
                  <a:gd name="connsiteX2" fmla="*/ 445802 w 445821"/>
                  <a:gd name="connsiteY2" fmla="*/ 1092039 h 1934081"/>
                  <a:gd name="connsiteX3" fmla="*/ 41293 w 445821"/>
                  <a:gd name="connsiteY3" fmla="*/ 0 h 1934081"/>
                  <a:gd name="connsiteX0" fmla="*/ 7891 w 428518"/>
                  <a:gd name="connsiteY0" fmla="*/ 1910601 h 1924702"/>
                  <a:gd name="connsiteX1" fmla="*/ 57587 w 428518"/>
                  <a:gd name="connsiteY1" fmla="*/ 1841028 h 1924702"/>
                  <a:gd name="connsiteX2" fmla="*/ 428498 w 428518"/>
                  <a:gd name="connsiteY2" fmla="*/ 1271292 h 1924702"/>
                  <a:gd name="connsiteX3" fmla="*/ 40598 w 428518"/>
                  <a:gd name="connsiteY3" fmla="*/ 0 h 1924702"/>
                  <a:gd name="connsiteX0" fmla="*/ 7891 w 435307"/>
                  <a:gd name="connsiteY0" fmla="*/ 1910601 h 1924702"/>
                  <a:gd name="connsiteX1" fmla="*/ 57587 w 435307"/>
                  <a:gd name="connsiteY1" fmla="*/ 1841028 h 1924702"/>
                  <a:gd name="connsiteX2" fmla="*/ 428498 w 435307"/>
                  <a:gd name="connsiteY2" fmla="*/ 1271292 h 1924702"/>
                  <a:gd name="connsiteX3" fmla="*/ 40598 w 435307"/>
                  <a:gd name="connsiteY3" fmla="*/ 0 h 192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5307" h="1924702">
                    <a:moveTo>
                      <a:pt x="7891" y="1910601"/>
                    </a:moveTo>
                    <a:cubicBezTo>
                      <a:pt x="-3705" y="1928823"/>
                      <a:pt x="-12514" y="1947580"/>
                      <a:pt x="57587" y="1841028"/>
                    </a:cubicBezTo>
                    <a:cubicBezTo>
                      <a:pt x="127688" y="1734476"/>
                      <a:pt x="489049" y="1556021"/>
                      <a:pt x="428498" y="1271292"/>
                    </a:cubicBezTo>
                    <a:cubicBezTo>
                      <a:pt x="367947" y="986563"/>
                      <a:pt x="72900" y="408332"/>
                      <a:pt x="40598" y="0"/>
                    </a:cubicBezTo>
                  </a:path>
                </a:pathLst>
              </a:custGeom>
              <a:noFill/>
              <a:ln w="25400" cmpd="dbl">
                <a:solidFill>
                  <a:srgbClr val="002060"/>
                </a:solidFill>
                <a:headEnd w="lg" len="lg"/>
                <a:tailEnd type="oval" w="sm" len="sm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180" name="Rettangolo con singolo angolo ritagliato 179"/>
              <p:cNvSpPr/>
              <p:nvPr/>
            </p:nvSpPr>
            <p:spPr>
              <a:xfrm rot="18648123">
                <a:off x="148671" y="5606010"/>
                <a:ext cx="1291030" cy="664417"/>
              </a:xfrm>
              <a:prstGeom prst="snip1Rect">
                <a:avLst>
                  <a:gd name="adj" fmla="val 34322"/>
                </a:avLst>
              </a:prstGeom>
              <a:pattFill prst="pct25">
                <a:fgClr>
                  <a:schemeClr val="tx1">
                    <a:lumMod val="85000"/>
                    <a:lumOff val="1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  <a:effectLst>
                <a:outerShdw blurRad="50800" dist="38100" dir="2700000" sx="110000" sy="11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181" name="Rettangolo arrotondato 180"/>
              <p:cNvSpPr/>
              <p:nvPr/>
            </p:nvSpPr>
            <p:spPr>
              <a:xfrm rot="18636994">
                <a:off x="230952" y="5877992"/>
                <a:ext cx="716624" cy="21369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662" dirty="0">
                    <a:solidFill>
                      <a:srgbClr val="002060"/>
                    </a:solidFill>
                    <a:latin typeface="Tw Cen MT Condensed" panose="020B0606020104020203" pitchFamily="34" charset="0"/>
                  </a:rPr>
                  <a:t>0.0125</a:t>
                </a:r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182" name="Rettangolo arrotondato 181"/>
              <p:cNvSpPr/>
              <p:nvPr/>
            </p:nvSpPr>
            <p:spPr>
              <a:xfrm rot="18636994">
                <a:off x="503897" y="6272006"/>
                <a:ext cx="284137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183" name="Rettangolo arrotondato 182"/>
              <p:cNvSpPr/>
              <p:nvPr/>
            </p:nvSpPr>
            <p:spPr>
              <a:xfrm rot="18636994">
                <a:off x="765335" y="6017645"/>
                <a:ext cx="284136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</p:grpSp>
        <p:sp>
          <p:nvSpPr>
            <p:cNvPr id="185" name="Freccia curva 2"/>
            <p:cNvSpPr/>
            <p:nvPr/>
          </p:nvSpPr>
          <p:spPr>
            <a:xfrm flipV="1">
              <a:off x="5568756" y="4244452"/>
              <a:ext cx="535254" cy="429939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4096" h="2389253">
                  <a:moveTo>
                    <a:pt x="45354" y="2389253"/>
                  </a:moveTo>
                  <a:cubicBezTo>
                    <a:pt x="44867" y="2292923"/>
                    <a:pt x="72955" y="2191831"/>
                    <a:pt x="72468" y="2095501"/>
                  </a:cubicBezTo>
                  <a:cubicBezTo>
                    <a:pt x="72468" y="2058988"/>
                    <a:pt x="34368" y="1936751"/>
                    <a:pt x="34368" y="1900238"/>
                  </a:cubicBezTo>
                  <a:cubicBezTo>
                    <a:pt x="37543" y="1711326"/>
                    <a:pt x="74056" y="1508125"/>
                    <a:pt x="77231" y="1319213"/>
                  </a:cubicBezTo>
                  <a:cubicBezTo>
                    <a:pt x="74056" y="1201738"/>
                    <a:pt x="28018" y="1069976"/>
                    <a:pt x="24843" y="952501"/>
                  </a:cubicBezTo>
                  <a:cubicBezTo>
                    <a:pt x="65017" y="807397"/>
                    <a:pt x="5179" y="705157"/>
                    <a:pt x="12016" y="583866"/>
                  </a:cubicBezTo>
                  <a:cubicBezTo>
                    <a:pt x="13604" y="499729"/>
                    <a:pt x="-38588" y="542858"/>
                    <a:pt x="62944" y="447676"/>
                  </a:cubicBezTo>
                  <a:cubicBezTo>
                    <a:pt x="96832" y="391640"/>
                    <a:pt x="143113" y="306388"/>
                    <a:pt x="191532" y="252413"/>
                  </a:cubicBezTo>
                  <a:cubicBezTo>
                    <a:pt x="239951" y="198438"/>
                    <a:pt x="285813" y="162972"/>
                    <a:pt x="353457" y="123826"/>
                  </a:cubicBezTo>
                  <a:cubicBezTo>
                    <a:pt x="421101" y="84680"/>
                    <a:pt x="455316" y="30235"/>
                    <a:pt x="621210" y="12772"/>
                  </a:cubicBezTo>
                  <a:cubicBezTo>
                    <a:pt x="863746" y="14865"/>
                    <a:pt x="1096758" y="31245"/>
                    <a:pt x="1339294" y="33338"/>
                  </a:cubicBezTo>
                  <a:lnTo>
                    <a:pt x="1601232" y="14288"/>
                  </a:lnTo>
                  <a:cubicBezTo>
                    <a:pt x="1691719" y="14288"/>
                    <a:pt x="1777445" y="0"/>
                    <a:pt x="1867932" y="0"/>
                  </a:cubicBezTo>
                  <a:cubicBezTo>
                    <a:pt x="1974295" y="3175"/>
                    <a:pt x="2104469" y="39689"/>
                    <a:pt x="2210832" y="42864"/>
                  </a:cubicBezTo>
                  <a:lnTo>
                    <a:pt x="2612656" y="12772"/>
                  </a:lnTo>
                  <a:cubicBezTo>
                    <a:pt x="2613906" y="55124"/>
                    <a:pt x="2606011" y="124908"/>
                    <a:pt x="2607261" y="167260"/>
                  </a:cubicBezTo>
                  <a:lnTo>
                    <a:pt x="2704096" y="262069"/>
                  </a:lnTo>
                  <a:lnTo>
                    <a:pt x="621210" y="271213"/>
                  </a:lnTo>
                  <a:cubicBezTo>
                    <a:pt x="445906" y="271213"/>
                    <a:pt x="303794" y="413325"/>
                    <a:pt x="303794" y="588629"/>
                  </a:cubicBezTo>
                  <a:cubicBezTo>
                    <a:pt x="303794" y="1188837"/>
                    <a:pt x="303795" y="1789045"/>
                    <a:pt x="303795" y="2389253"/>
                  </a:cubicBezTo>
                  <a:lnTo>
                    <a:pt x="45354" y="2389253"/>
                  </a:lnTo>
                  <a:close/>
                </a:path>
              </a:pathLst>
            </a:custGeom>
            <a:pattFill prst="dkDnDiag">
              <a:fgClr>
                <a:schemeClr val="accent4">
                  <a:lumMod val="75000"/>
                </a:schemeClr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sp>
          <p:nvSpPr>
            <p:cNvPr id="186" name="Rettangolo 6"/>
            <p:cNvSpPr/>
            <p:nvPr/>
          </p:nvSpPr>
          <p:spPr>
            <a:xfrm>
              <a:off x="5469425" y="3918628"/>
              <a:ext cx="71641" cy="701052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3751" h="3895880">
                  <a:moveTo>
                    <a:pt x="0" y="155"/>
                  </a:moveTo>
                  <a:cubicBezTo>
                    <a:pt x="42672" y="-2893"/>
                    <a:pt x="112776" y="39779"/>
                    <a:pt x="155448" y="36731"/>
                  </a:cubicBezTo>
                  <a:lnTo>
                    <a:pt x="265176" y="155"/>
                  </a:lnTo>
                  <a:cubicBezTo>
                    <a:pt x="284519" y="34413"/>
                    <a:pt x="272833" y="-24291"/>
                    <a:pt x="276269" y="242282"/>
                  </a:cubicBezTo>
                  <a:cubicBezTo>
                    <a:pt x="278912" y="437418"/>
                    <a:pt x="265156" y="954275"/>
                    <a:pt x="271506" y="1180494"/>
                  </a:cubicBezTo>
                  <a:cubicBezTo>
                    <a:pt x="277856" y="1406713"/>
                    <a:pt x="290556" y="1456719"/>
                    <a:pt x="285794" y="1599594"/>
                  </a:cubicBezTo>
                  <a:cubicBezTo>
                    <a:pt x="281032" y="1742469"/>
                    <a:pt x="255633" y="1921063"/>
                    <a:pt x="252458" y="2028219"/>
                  </a:cubicBezTo>
                  <a:cubicBezTo>
                    <a:pt x="250338" y="2401948"/>
                    <a:pt x="252457" y="2104420"/>
                    <a:pt x="257219" y="2252057"/>
                  </a:cubicBezTo>
                  <a:cubicBezTo>
                    <a:pt x="261981" y="2399694"/>
                    <a:pt x="281033" y="2755294"/>
                    <a:pt x="281033" y="2914044"/>
                  </a:cubicBezTo>
                  <a:cubicBezTo>
                    <a:pt x="286589" y="3122800"/>
                    <a:pt x="266744" y="3105338"/>
                    <a:pt x="266744" y="3195032"/>
                  </a:cubicBezTo>
                  <a:cubicBezTo>
                    <a:pt x="266744" y="3284726"/>
                    <a:pt x="268333" y="3369657"/>
                    <a:pt x="261983" y="3433157"/>
                  </a:cubicBezTo>
                  <a:cubicBezTo>
                    <a:pt x="255633" y="3496657"/>
                    <a:pt x="263832" y="3594162"/>
                    <a:pt x="266745" y="3661757"/>
                  </a:cubicBezTo>
                  <a:lnTo>
                    <a:pt x="293751" y="3895880"/>
                  </a:lnTo>
                  <a:lnTo>
                    <a:pt x="0" y="3886355"/>
                  </a:lnTo>
                  <a:lnTo>
                    <a:pt x="0" y="155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grpSp>
          <p:nvGrpSpPr>
            <p:cNvPr id="188" name="Gruppo 187"/>
            <p:cNvGrpSpPr/>
            <p:nvPr/>
          </p:nvGrpSpPr>
          <p:grpSpPr>
            <a:xfrm>
              <a:off x="7408206" y="3881653"/>
              <a:ext cx="589706" cy="725597"/>
              <a:chOff x="5674120" y="1790653"/>
              <a:chExt cx="2462139" cy="3332465"/>
            </a:xfrm>
          </p:grpSpPr>
          <p:sp>
            <p:nvSpPr>
              <p:cNvPr id="189" name="Freccia curva 2"/>
              <p:cNvSpPr/>
              <p:nvPr/>
            </p:nvSpPr>
            <p:spPr>
              <a:xfrm flipV="1">
                <a:off x="6084815" y="2733865"/>
                <a:ext cx="2051444" cy="2389253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51444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866756" y="0"/>
                      <a:pt x="1957243" y="0"/>
                    </a:cubicBezTo>
                    <a:lnTo>
                      <a:pt x="1881071" y="145914"/>
                    </a:lnTo>
                    <a:lnTo>
                      <a:pt x="2051444" y="26893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Rettangolo 6"/>
              <p:cNvSpPr/>
              <p:nvPr/>
            </p:nvSpPr>
            <p:spPr>
              <a:xfrm>
                <a:off x="5674120" y="1790653"/>
                <a:ext cx="300621" cy="3028426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0621" h="3028426">
                    <a:moveTo>
                      <a:pt x="0" y="60154"/>
                    </a:moveTo>
                    <a:cubicBezTo>
                      <a:pt x="42672" y="57106"/>
                      <a:pt x="85296" y="106648"/>
                      <a:pt x="127968" y="103600"/>
                    </a:cubicBezTo>
                    <a:lnTo>
                      <a:pt x="283139" y="0"/>
                    </a:lnTo>
                    <a:cubicBezTo>
                      <a:pt x="285782" y="195136"/>
                      <a:pt x="272026" y="86821"/>
                      <a:pt x="278376" y="313040"/>
                    </a:cubicBezTo>
                    <a:cubicBezTo>
                      <a:pt x="284726" y="539259"/>
                      <a:pt x="297426" y="589265"/>
                      <a:pt x="292664" y="732140"/>
                    </a:cubicBezTo>
                    <a:cubicBezTo>
                      <a:pt x="287902" y="875015"/>
                      <a:pt x="262503" y="1053609"/>
                      <a:pt x="259328" y="1160765"/>
                    </a:cubicBezTo>
                    <a:cubicBezTo>
                      <a:pt x="257208" y="1534494"/>
                      <a:pt x="259327" y="1236966"/>
                      <a:pt x="264089" y="1384603"/>
                    </a:cubicBezTo>
                    <a:cubicBezTo>
                      <a:pt x="268851" y="1532240"/>
                      <a:pt x="287903" y="1887840"/>
                      <a:pt x="287903" y="2046590"/>
                    </a:cubicBezTo>
                    <a:cubicBezTo>
                      <a:pt x="293459" y="2255346"/>
                      <a:pt x="273614" y="2237884"/>
                      <a:pt x="273614" y="2327578"/>
                    </a:cubicBezTo>
                    <a:cubicBezTo>
                      <a:pt x="273614" y="2417272"/>
                      <a:pt x="275203" y="2502203"/>
                      <a:pt x="268853" y="2565703"/>
                    </a:cubicBezTo>
                    <a:cubicBezTo>
                      <a:pt x="262503" y="2629203"/>
                      <a:pt x="270702" y="2726708"/>
                      <a:pt x="273615" y="2794303"/>
                    </a:cubicBezTo>
                    <a:lnTo>
                      <a:pt x="300621" y="3028426"/>
                    </a:lnTo>
                    <a:lnTo>
                      <a:pt x="6870" y="3018901"/>
                    </a:lnTo>
                    <a:lnTo>
                      <a:pt x="0" y="60154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2" name="Gruppo 191"/>
            <p:cNvGrpSpPr/>
            <p:nvPr/>
          </p:nvGrpSpPr>
          <p:grpSpPr>
            <a:xfrm rot="16200000">
              <a:off x="7396629" y="4141686"/>
              <a:ext cx="126613" cy="279884"/>
              <a:chOff x="5308435" y="4212641"/>
              <a:chExt cx="436890" cy="1168570"/>
            </a:xfrm>
          </p:grpSpPr>
          <p:sp>
            <p:nvSpPr>
              <p:cNvPr id="193" name="Rectangle 325"/>
              <p:cNvSpPr>
                <a:spLocks noChangeArrowheads="1"/>
              </p:cNvSpPr>
              <p:nvPr/>
            </p:nvSpPr>
            <p:spPr bwMode="auto">
              <a:xfrm rot="5400000">
                <a:off x="4961582" y="4652820"/>
                <a:ext cx="1129280" cy="248921"/>
              </a:xfrm>
              <a:prstGeom prst="rect">
                <a:avLst/>
              </a:prstGeom>
              <a:gradFill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4" name="Ritaglia angolo stesso lato rettangolo 193"/>
              <p:cNvSpPr/>
              <p:nvPr/>
            </p:nvSpPr>
            <p:spPr>
              <a:xfrm rot="10800000">
                <a:off x="5308435" y="5302631"/>
                <a:ext cx="436890" cy="78580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0" scaled="1"/>
                <a:tileRect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95" name="Group 327"/>
            <p:cNvGrpSpPr>
              <a:grpSpLocks/>
            </p:cNvGrpSpPr>
            <p:nvPr/>
          </p:nvGrpSpPr>
          <p:grpSpPr bwMode="auto">
            <a:xfrm flipV="1">
              <a:off x="7336405" y="4217888"/>
              <a:ext cx="70225" cy="124604"/>
              <a:chOff x="957" y="1985"/>
              <a:chExt cx="256" cy="318"/>
            </a:xfrm>
          </p:grpSpPr>
          <p:sp>
            <p:nvSpPr>
              <p:cNvPr id="196" name="AutoShape 328"/>
              <p:cNvSpPr>
                <a:spLocks noChangeArrowheads="1"/>
              </p:cNvSpPr>
              <p:nvPr/>
            </p:nvSpPr>
            <p:spPr bwMode="auto">
              <a:xfrm rot="5400000" flipH="1">
                <a:off x="974" y="2117"/>
                <a:ext cx="314" cy="53"/>
              </a:xfrm>
              <a:custGeom>
                <a:avLst/>
                <a:gdLst>
                  <a:gd name="T0" fmla="*/ 4 w 21600"/>
                  <a:gd name="T1" fmla="*/ 0 h 21600"/>
                  <a:gd name="T2" fmla="*/ 2 w 21600"/>
                  <a:gd name="T3" fmla="*/ 0 h 21600"/>
                  <a:gd name="T4" fmla="*/ 0 w 21600"/>
                  <a:gd name="T5" fmla="*/ 0 h 21600"/>
                  <a:gd name="T6" fmla="*/ 2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20 w 21600"/>
                  <a:gd name="T13" fmla="*/ 2853 h 21600"/>
                  <a:gd name="T14" fmla="*/ 18780 w 21600"/>
                  <a:gd name="T15" fmla="*/ 1874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2076" y="21600"/>
                    </a:lnTo>
                    <a:lnTo>
                      <a:pt x="19524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7" name="Rectangle 329"/>
              <p:cNvSpPr>
                <a:spLocks noChangeArrowheads="1"/>
              </p:cNvSpPr>
              <p:nvPr/>
            </p:nvSpPr>
            <p:spPr bwMode="auto">
              <a:xfrm flipH="1">
                <a:off x="957" y="2017"/>
                <a:ext cx="153" cy="256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8" name="Rectangle 330"/>
              <p:cNvSpPr>
                <a:spLocks noChangeArrowheads="1"/>
              </p:cNvSpPr>
              <p:nvPr/>
            </p:nvSpPr>
            <p:spPr bwMode="auto">
              <a:xfrm flipH="1">
                <a:off x="1158" y="1985"/>
                <a:ext cx="55" cy="318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</p:grpSp>
        <p:cxnSp>
          <p:nvCxnSpPr>
            <p:cNvPr id="199" name="Connettore 1 198"/>
            <p:cNvCxnSpPr>
              <a:stCxn id="193" idx="1"/>
              <a:endCxn id="193" idx="3"/>
            </p:cNvCxnSpPr>
            <p:nvPr/>
          </p:nvCxnSpPr>
          <p:spPr>
            <a:xfrm>
              <a:off x="7319993" y="4281818"/>
              <a:ext cx="27047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lg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9030" y="754444"/>
              <a:ext cx="552688" cy="328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2" name="Gruppo 291"/>
            <p:cNvGrpSpPr/>
            <p:nvPr/>
          </p:nvGrpSpPr>
          <p:grpSpPr>
            <a:xfrm rot="1053938">
              <a:off x="1849201" y="883979"/>
              <a:ext cx="417141" cy="992510"/>
              <a:chOff x="461977" y="4457251"/>
              <a:chExt cx="1081422" cy="2126483"/>
            </a:xfrm>
          </p:grpSpPr>
          <p:sp>
            <p:nvSpPr>
              <p:cNvPr id="293" name="Figura a mano libera 292"/>
              <p:cNvSpPr/>
              <p:nvPr/>
            </p:nvSpPr>
            <p:spPr>
              <a:xfrm>
                <a:off x="1108093" y="4457251"/>
                <a:ext cx="435306" cy="1314596"/>
              </a:xfrm>
              <a:custGeom>
                <a:avLst/>
                <a:gdLst>
                  <a:gd name="connsiteX0" fmla="*/ 1459 w 476080"/>
                  <a:gd name="connsiteY0" fmla="*/ 1729408 h 1731897"/>
                  <a:gd name="connsiteX1" fmla="*/ 51155 w 476080"/>
                  <a:gd name="connsiteY1" fmla="*/ 1659835 h 1731897"/>
                  <a:gd name="connsiteX2" fmla="*/ 438781 w 476080"/>
                  <a:gd name="connsiteY2" fmla="*/ 1093304 h 1731897"/>
                  <a:gd name="connsiteX3" fmla="*/ 438781 w 476080"/>
                  <a:gd name="connsiteY3" fmla="*/ 0 h 1731897"/>
                  <a:gd name="connsiteX0" fmla="*/ 1459 w 438799"/>
                  <a:gd name="connsiteY0" fmla="*/ 1910601 h 1913090"/>
                  <a:gd name="connsiteX1" fmla="*/ 51155 w 438799"/>
                  <a:gd name="connsiteY1" fmla="*/ 1841028 h 1913090"/>
                  <a:gd name="connsiteX2" fmla="*/ 438781 w 438799"/>
                  <a:gd name="connsiteY2" fmla="*/ 1274497 h 1913090"/>
                  <a:gd name="connsiteX3" fmla="*/ 34166 w 438799"/>
                  <a:gd name="connsiteY3" fmla="*/ 0 h 1913090"/>
                  <a:gd name="connsiteX0" fmla="*/ 8586 w 445821"/>
                  <a:gd name="connsiteY0" fmla="*/ 1910601 h 1934081"/>
                  <a:gd name="connsiteX1" fmla="*/ 58282 w 445821"/>
                  <a:gd name="connsiteY1" fmla="*/ 1841028 h 1934081"/>
                  <a:gd name="connsiteX2" fmla="*/ 445802 w 445821"/>
                  <a:gd name="connsiteY2" fmla="*/ 1092039 h 1934081"/>
                  <a:gd name="connsiteX3" fmla="*/ 41293 w 445821"/>
                  <a:gd name="connsiteY3" fmla="*/ 0 h 1934081"/>
                  <a:gd name="connsiteX0" fmla="*/ 7891 w 428518"/>
                  <a:gd name="connsiteY0" fmla="*/ 1910601 h 1924702"/>
                  <a:gd name="connsiteX1" fmla="*/ 57587 w 428518"/>
                  <a:gd name="connsiteY1" fmla="*/ 1841028 h 1924702"/>
                  <a:gd name="connsiteX2" fmla="*/ 428498 w 428518"/>
                  <a:gd name="connsiteY2" fmla="*/ 1271292 h 1924702"/>
                  <a:gd name="connsiteX3" fmla="*/ 40598 w 428518"/>
                  <a:gd name="connsiteY3" fmla="*/ 0 h 1924702"/>
                  <a:gd name="connsiteX0" fmla="*/ 7891 w 435307"/>
                  <a:gd name="connsiteY0" fmla="*/ 1910601 h 1924702"/>
                  <a:gd name="connsiteX1" fmla="*/ 57587 w 435307"/>
                  <a:gd name="connsiteY1" fmla="*/ 1841028 h 1924702"/>
                  <a:gd name="connsiteX2" fmla="*/ 428498 w 435307"/>
                  <a:gd name="connsiteY2" fmla="*/ 1271292 h 1924702"/>
                  <a:gd name="connsiteX3" fmla="*/ 40598 w 435307"/>
                  <a:gd name="connsiteY3" fmla="*/ 0 h 192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5307" h="1924702">
                    <a:moveTo>
                      <a:pt x="7891" y="1910601"/>
                    </a:moveTo>
                    <a:cubicBezTo>
                      <a:pt x="-3705" y="1928823"/>
                      <a:pt x="-12514" y="1947580"/>
                      <a:pt x="57587" y="1841028"/>
                    </a:cubicBezTo>
                    <a:cubicBezTo>
                      <a:pt x="127688" y="1734476"/>
                      <a:pt x="489049" y="1556021"/>
                      <a:pt x="428498" y="1271292"/>
                    </a:cubicBezTo>
                    <a:cubicBezTo>
                      <a:pt x="367947" y="986563"/>
                      <a:pt x="72900" y="408332"/>
                      <a:pt x="40598" y="0"/>
                    </a:cubicBezTo>
                  </a:path>
                </a:pathLst>
              </a:custGeom>
              <a:noFill/>
              <a:ln w="25400" cmpd="dbl">
                <a:solidFill>
                  <a:srgbClr val="002060"/>
                </a:solidFill>
                <a:headEnd w="lg" len="lg"/>
                <a:tailEnd type="oval" w="sm" len="sm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294" name="Rettangolo con singolo angolo ritagliato 293"/>
              <p:cNvSpPr/>
              <p:nvPr/>
            </p:nvSpPr>
            <p:spPr>
              <a:xfrm rot="18648123">
                <a:off x="148671" y="5606010"/>
                <a:ext cx="1291030" cy="664417"/>
              </a:xfrm>
              <a:prstGeom prst="snip1Rect">
                <a:avLst>
                  <a:gd name="adj" fmla="val 34322"/>
                </a:avLst>
              </a:prstGeom>
              <a:pattFill prst="pct25">
                <a:fgClr>
                  <a:schemeClr val="tx1">
                    <a:lumMod val="85000"/>
                    <a:lumOff val="1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  <a:effectLst>
                <a:outerShdw blurRad="50800" dist="38100" dir="2700000" sx="110000" sy="11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295" name="Rettangolo arrotondato 294"/>
              <p:cNvSpPr/>
              <p:nvPr/>
            </p:nvSpPr>
            <p:spPr>
              <a:xfrm rot="18636994">
                <a:off x="230952" y="5877992"/>
                <a:ext cx="716624" cy="21369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662" dirty="0">
                    <a:solidFill>
                      <a:srgbClr val="002060"/>
                    </a:solidFill>
                    <a:latin typeface="Tw Cen MT Condensed" panose="020B0606020104020203" pitchFamily="34" charset="0"/>
                  </a:rPr>
                  <a:t>0.0125</a:t>
                </a:r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296" name="Rettangolo arrotondato 295"/>
              <p:cNvSpPr/>
              <p:nvPr/>
            </p:nvSpPr>
            <p:spPr>
              <a:xfrm rot="18636994">
                <a:off x="503897" y="6272006"/>
                <a:ext cx="284137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297" name="Rettangolo arrotondato 296"/>
              <p:cNvSpPr/>
              <p:nvPr/>
            </p:nvSpPr>
            <p:spPr>
              <a:xfrm rot="18636994">
                <a:off x="765335" y="6017645"/>
                <a:ext cx="284136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</p:grpSp>
      </p:grpSp>
      <p:sp>
        <p:nvSpPr>
          <p:cNvPr id="63" name="Titolo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Stato dell’arte del processo di </a:t>
            </a:r>
            <a:r>
              <a:rPr lang="it-IT" dirty="0" err="1" smtClean="0"/>
              <a:t>shimming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sz="2700" dirty="0" err="1" smtClean="0"/>
              <a:t>Shim</a:t>
            </a:r>
            <a:r>
              <a:rPr lang="it-IT" sz="2700" dirty="0" smtClean="0"/>
              <a:t> in composito fresato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74420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itolo 4"/>
          <p:cNvSpPr txBox="1">
            <a:spLocks/>
          </p:cNvSpPr>
          <p:nvPr/>
        </p:nvSpPr>
        <p:spPr>
          <a:xfrm>
            <a:off x="550370" y="626926"/>
            <a:ext cx="8979886" cy="585554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2500" lnSpcReduction="20000"/>
          </a:bodyPr>
          <a:lstStyle>
            <a:lvl1pPr algn="ctr" defTabSz="7560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it-IT" dirty="0" smtClean="0"/>
              <a:t>Obiettivo 3 – Soluzioni Tecnologiche</a:t>
            </a:r>
            <a:endParaRPr lang="en-GB" dirty="0"/>
          </a:p>
        </p:txBody>
      </p:sp>
      <p:pic>
        <p:nvPicPr>
          <p:cNvPr id="2" name="Immagine 1"/>
          <p:cNvPicPr>
            <a:picLocks noChangeAspect="1"/>
          </p:cNvPicPr>
          <p:nvPr/>
        </p:nvPicPr>
        <p:blipFill rotWithShape="1">
          <a:blip r:embed="rId2"/>
          <a:srcRect l="49690" t="-3199" r="24545" b="3199"/>
          <a:stretch/>
        </p:blipFill>
        <p:spPr>
          <a:xfrm>
            <a:off x="161925" y="1212480"/>
            <a:ext cx="2543175" cy="3572566"/>
          </a:xfrm>
          <a:prstGeom prst="rect">
            <a:avLst/>
          </a:prstGeom>
        </p:spPr>
      </p:pic>
      <p:sp>
        <p:nvSpPr>
          <p:cNvPr id="4" name="Rettangolo 3"/>
          <p:cNvSpPr/>
          <p:nvPr/>
        </p:nvSpPr>
        <p:spPr>
          <a:xfrm>
            <a:off x="2705100" y="1312083"/>
            <a:ext cx="6880225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3544" indent="-283544" algn="just">
              <a:lnSpc>
                <a:spcPct val="150000"/>
              </a:lnSpc>
              <a:buAutoNum type="arabicPeriod"/>
            </a:pPr>
            <a:r>
              <a:rPr lang="it-IT" dirty="0" smtClean="0"/>
              <a:t>Ottimizzazione del processo esistente</a:t>
            </a:r>
          </a:p>
          <a:p>
            <a:pPr marL="283544" indent="-283544" algn="just">
              <a:lnSpc>
                <a:spcPct val="150000"/>
              </a:lnSpc>
              <a:buAutoNum type="arabicPeriod"/>
            </a:pPr>
            <a:r>
              <a:rPr lang="it-IT" dirty="0" smtClean="0"/>
              <a:t>Sviluppo </a:t>
            </a:r>
            <a:r>
              <a:rPr lang="it-IT" dirty="0"/>
              <a:t>delle tecnologie di additive manufacturing sui materiali identificati come idonei per la produzione degli </a:t>
            </a:r>
            <a:r>
              <a:rPr lang="it-IT" dirty="0" err="1"/>
              <a:t>shim</a:t>
            </a:r>
            <a:r>
              <a:rPr lang="it-IT" dirty="0"/>
              <a:t> fuori scalo;</a:t>
            </a:r>
          </a:p>
          <a:p>
            <a:pPr marL="283544" indent="-283544" algn="just">
              <a:lnSpc>
                <a:spcPct val="150000"/>
              </a:lnSpc>
              <a:buAutoNum type="arabicPeriod"/>
            </a:pPr>
            <a:r>
              <a:rPr lang="it-IT" dirty="0"/>
              <a:t>Sviluppo di tecniche di deposizione direttamente sulla </a:t>
            </a:r>
            <a:r>
              <a:rPr lang="it-IT" dirty="0" smtClean="0"/>
              <a:t>parte (in-situ)</a:t>
            </a:r>
            <a:endParaRPr lang="it-IT" dirty="0"/>
          </a:p>
          <a:p>
            <a:pPr marL="283544" indent="-283544" algn="just">
              <a:lnSpc>
                <a:spcPct val="150000"/>
              </a:lnSpc>
              <a:buFontTx/>
              <a:buAutoNum type="arabicPeriod"/>
            </a:pPr>
            <a:r>
              <a:rPr lang="it-IT" dirty="0" smtClean="0"/>
              <a:t>Realizzazione </a:t>
            </a:r>
            <a:r>
              <a:rPr lang="it-IT" dirty="0"/>
              <a:t>di attrezzature adattative con l’ausilio di tecniche di additive manufacturing </a:t>
            </a:r>
          </a:p>
        </p:txBody>
      </p:sp>
    </p:spTree>
    <p:extLst>
      <p:ext uri="{BB962C8B-B14F-4D97-AF65-F5344CB8AC3E}">
        <p14:creationId xmlns:p14="http://schemas.microsoft.com/office/powerpoint/2010/main" val="102947053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itolo 1"/>
          <p:cNvSpPr txBox="1">
            <a:spLocks/>
          </p:cNvSpPr>
          <p:nvPr/>
        </p:nvSpPr>
        <p:spPr>
          <a:xfrm>
            <a:off x="927543" y="4464336"/>
            <a:ext cx="3485206" cy="550279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Il </a:t>
            </a:r>
            <a:r>
              <a:rPr lang="en-US" sz="1488" dirty="0" err="1" smtClean="0"/>
              <a:t>processo</a:t>
            </a:r>
            <a:r>
              <a:rPr lang="en-US" sz="1488" dirty="0" smtClean="0"/>
              <a:t> è </a:t>
            </a:r>
            <a:r>
              <a:rPr lang="en-US" sz="1488" dirty="0" err="1" smtClean="0"/>
              <a:t>automatizzato</a:t>
            </a:r>
            <a:r>
              <a:rPr lang="en-US" sz="1488" dirty="0" smtClean="0"/>
              <a:t> e non </a:t>
            </a:r>
            <a:r>
              <a:rPr lang="en-US" sz="1488" dirty="0" err="1" smtClean="0"/>
              <a:t>richiede</a:t>
            </a:r>
            <a:r>
              <a:rPr lang="en-US" sz="1488" dirty="0" smtClean="0"/>
              <a:t> </a:t>
            </a:r>
            <a:r>
              <a:rPr lang="en-US" sz="1488" dirty="0" err="1" smtClean="0"/>
              <a:t>iterazioni</a:t>
            </a:r>
            <a:endParaRPr lang="en-US" sz="1488" dirty="0"/>
          </a:p>
        </p:txBody>
      </p:sp>
      <p:grpSp>
        <p:nvGrpSpPr>
          <p:cNvPr id="4" name="Gruppo 3"/>
          <p:cNvGrpSpPr/>
          <p:nvPr/>
        </p:nvGrpSpPr>
        <p:grpSpPr>
          <a:xfrm>
            <a:off x="3673292" y="913860"/>
            <a:ext cx="5856964" cy="4116175"/>
            <a:chOff x="1794132" y="362380"/>
            <a:chExt cx="6426618" cy="5042274"/>
          </a:xfrm>
        </p:grpSpPr>
        <p:sp>
          <p:nvSpPr>
            <p:cNvPr id="187" name="Rettangolo 6"/>
            <p:cNvSpPr/>
            <p:nvPr/>
          </p:nvSpPr>
          <p:spPr>
            <a:xfrm>
              <a:off x="7444208" y="4087024"/>
              <a:ext cx="98538" cy="444646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92664 w 403981"/>
                <a:gd name="connsiteY4" fmla="*/ 732140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72809 w 403981"/>
                <a:gd name="connsiteY4" fmla="*/ 986291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2809 w 403981"/>
                <a:gd name="connsiteY3" fmla="*/ 986291 h 3028426"/>
                <a:gd name="connsiteX4" fmla="*/ 259328 w 403981"/>
                <a:gd name="connsiteY4" fmla="*/ 1160765 h 3028426"/>
                <a:gd name="connsiteX5" fmla="*/ 264089 w 403981"/>
                <a:gd name="connsiteY5" fmla="*/ 1384603 h 3028426"/>
                <a:gd name="connsiteX6" fmla="*/ 287903 w 403981"/>
                <a:gd name="connsiteY6" fmla="*/ 2046590 h 3028426"/>
                <a:gd name="connsiteX7" fmla="*/ 273614 w 403981"/>
                <a:gd name="connsiteY7" fmla="*/ 2327578 h 3028426"/>
                <a:gd name="connsiteX8" fmla="*/ 268853 w 403981"/>
                <a:gd name="connsiteY8" fmla="*/ 2565703 h 3028426"/>
                <a:gd name="connsiteX9" fmla="*/ 273615 w 403981"/>
                <a:gd name="connsiteY9" fmla="*/ 2794303 h 3028426"/>
                <a:gd name="connsiteX10" fmla="*/ 300621 w 403981"/>
                <a:gd name="connsiteY10" fmla="*/ 3028426 h 3028426"/>
                <a:gd name="connsiteX11" fmla="*/ 403981 w 403981"/>
                <a:gd name="connsiteY11" fmla="*/ 3018901 h 3028426"/>
                <a:gd name="connsiteX12" fmla="*/ 0 w 403981"/>
                <a:gd name="connsiteY12" fmla="*/ 60154 h 3028426"/>
                <a:gd name="connsiteX0" fmla="*/ 276013 w 276013"/>
                <a:gd name="connsiteY0" fmla="*/ 3018901 h 3028426"/>
                <a:gd name="connsiteX1" fmla="*/ 0 w 276013"/>
                <a:gd name="connsiteY1" fmla="*/ 103600 h 3028426"/>
                <a:gd name="connsiteX2" fmla="*/ 155171 w 276013"/>
                <a:gd name="connsiteY2" fmla="*/ 0 h 3028426"/>
                <a:gd name="connsiteX3" fmla="*/ 144841 w 276013"/>
                <a:gd name="connsiteY3" fmla="*/ 986291 h 3028426"/>
                <a:gd name="connsiteX4" fmla="*/ 131360 w 276013"/>
                <a:gd name="connsiteY4" fmla="*/ 1160765 h 3028426"/>
                <a:gd name="connsiteX5" fmla="*/ 136121 w 276013"/>
                <a:gd name="connsiteY5" fmla="*/ 1384603 h 3028426"/>
                <a:gd name="connsiteX6" fmla="*/ 159935 w 276013"/>
                <a:gd name="connsiteY6" fmla="*/ 2046590 h 3028426"/>
                <a:gd name="connsiteX7" fmla="*/ 145646 w 276013"/>
                <a:gd name="connsiteY7" fmla="*/ 2327578 h 3028426"/>
                <a:gd name="connsiteX8" fmla="*/ 140885 w 276013"/>
                <a:gd name="connsiteY8" fmla="*/ 2565703 h 3028426"/>
                <a:gd name="connsiteX9" fmla="*/ 145647 w 276013"/>
                <a:gd name="connsiteY9" fmla="*/ 2794303 h 3028426"/>
                <a:gd name="connsiteX10" fmla="*/ 172653 w 276013"/>
                <a:gd name="connsiteY10" fmla="*/ 3028426 h 3028426"/>
                <a:gd name="connsiteX11" fmla="*/ 276013 w 276013"/>
                <a:gd name="connsiteY11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4970 w 280983"/>
                <a:gd name="connsiteY2" fmla="*/ 103600 h 3028426"/>
                <a:gd name="connsiteX3" fmla="*/ 160141 w 280983"/>
                <a:gd name="connsiteY3" fmla="*/ 0 h 3028426"/>
                <a:gd name="connsiteX4" fmla="*/ 149811 w 280983"/>
                <a:gd name="connsiteY4" fmla="*/ 986291 h 3028426"/>
                <a:gd name="connsiteX5" fmla="*/ 136330 w 280983"/>
                <a:gd name="connsiteY5" fmla="*/ 1160765 h 3028426"/>
                <a:gd name="connsiteX6" fmla="*/ 141091 w 280983"/>
                <a:gd name="connsiteY6" fmla="*/ 1384603 h 3028426"/>
                <a:gd name="connsiteX7" fmla="*/ 164905 w 280983"/>
                <a:gd name="connsiteY7" fmla="*/ 2046590 h 3028426"/>
                <a:gd name="connsiteX8" fmla="*/ 150616 w 280983"/>
                <a:gd name="connsiteY8" fmla="*/ 2327578 h 3028426"/>
                <a:gd name="connsiteX9" fmla="*/ 145855 w 280983"/>
                <a:gd name="connsiteY9" fmla="*/ 2565703 h 3028426"/>
                <a:gd name="connsiteX10" fmla="*/ 150617 w 280983"/>
                <a:gd name="connsiteY10" fmla="*/ 2794303 h 3028426"/>
                <a:gd name="connsiteX11" fmla="*/ 177623 w 280983"/>
                <a:gd name="connsiteY11" fmla="*/ 3028426 h 3028426"/>
                <a:gd name="connsiteX12" fmla="*/ 280983 w 280983"/>
                <a:gd name="connsiteY12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160141 w 280983"/>
                <a:gd name="connsiteY2" fmla="*/ 0 h 3028426"/>
                <a:gd name="connsiteX3" fmla="*/ 149811 w 280983"/>
                <a:gd name="connsiteY3" fmla="*/ 986291 h 3028426"/>
                <a:gd name="connsiteX4" fmla="*/ 136330 w 280983"/>
                <a:gd name="connsiteY4" fmla="*/ 1160765 h 3028426"/>
                <a:gd name="connsiteX5" fmla="*/ 141091 w 280983"/>
                <a:gd name="connsiteY5" fmla="*/ 1384603 h 3028426"/>
                <a:gd name="connsiteX6" fmla="*/ 164905 w 280983"/>
                <a:gd name="connsiteY6" fmla="*/ 2046590 h 3028426"/>
                <a:gd name="connsiteX7" fmla="*/ 150616 w 280983"/>
                <a:gd name="connsiteY7" fmla="*/ 2327578 h 3028426"/>
                <a:gd name="connsiteX8" fmla="*/ 145855 w 280983"/>
                <a:gd name="connsiteY8" fmla="*/ 2565703 h 3028426"/>
                <a:gd name="connsiteX9" fmla="*/ 150617 w 280983"/>
                <a:gd name="connsiteY9" fmla="*/ 2794303 h 3028426"/>
                <a:gd name="connsiteX10" fmla="*/ 177623 w 280983"/>
                <a:gd name="connsiteY10" fmla="*/ 3028426 h 3028426"/>
                <a:gd name="connsiteX11" fmla="*/ 280983 w 280983"/>
                <a:gd name="connsiteY11" fmla="*/ 3018901 h 3028426"/>
                <a:gd name="connsiteX0" fmla="*/ 145476 w 145476"/>
                <a:gd name="connsiteY0" fmla="*/ 3018901 h 3028426"/>
                <a:gd name="connsiteX1" fmla="*/ 24634 w 145476"/>
                <a:gd name="connsiteY1" fmla="*/ 0 h 3028426"/>
                <a:gd name="connsiteX2" fmla="*/ 14304 w 145476"/>
                <a:gd name="connsiteY2" fmla="*/ 986291 h 3028426"/>
                <a:gd name="connsiteX3" fmla="*/ 823 w 145476"/>
                <a:gd name="connsiteY3" fmla="*/ 1160765 h 3028426"/>
                <a:gd name="connsiteX4" fmla="*/ 5584 w 145476"/>
                <a:gd name="connsiteY4" fmla="*/ 1384603 h 3028426"/>
                <a:gd name="connsiteX5" fmla="*/ 29398 w 145476"/>
                <a:gd name="connsiteY5" fmla="*/ 2046590 h 3028426"/>
                <a:gd name="connsiteX6" fmla="*/ 15109 w 145476"/>
                <a:gd name="connsiteY6" fmla="*/ 2327578 h 3028426"/>
                <a:gd name="connsiteX7" fmla="*/ 10348 w 145476"/>
                <a:gd name="connsiteY7" fmla="*/ 2565703 h 3028426"/>
                <a:gd name="connsiteX8" fmla="*/ 15110 w 145476"/>
                <a:gd name="connsiteY8" fmla="*/ 2794303 h 3028426"/>
                <a:gd name="connsiteX9" fmla="*/ 42116 w 145476"/>
                <a:gd name="connsiteY9" fmla="*/ 3028426 h 3028426"/>
                <a:gd name="connsiteX10" fmla="*/ 145476 w 145476"/>
                <a:gd name="connsiteY10" fmla="*/ 3018901 h 3028426"/>
                <a:gd name="connsiteX0" fmla="*/ 145476 w 145476"/>
                <a:gd name="connsiteY0" fmla="*/ 2032610 h 2042135"/>
                <a:gd name="connsiteX1" fmla="*/ 14304 w 145476"/>
                <a:gd name="connsiteY1" fmla="*/ 0 h 2042135"/>
                <a:gd name="connsiteX2" fmla="*/ 823 w 145476"/>
                <a:gd name="connsiteY2" fmla="*/ 174474 h 2042135"/>
                <a:gd name="connsiteX3" fmla="*/ 5584 w 145476"/>
                <a:gd name="connsiteY3" fmla="*/ 398312 h 2042135"/>
                <a:gd name="connsiteX4" fmla="*/ 29398 w 145476"/>
                <a:gd name="connsiteY4" fmla="*/ 1060299 h 2042135"/>
                <a:gd name="connsiteX5" fmla="*/ 15109 w 145476"/>
                <a:gd name="connsiteY5" fmla="*/ 1341287 h 2042135"/>
                <a:gd name="connsiteX6" fmla="*/ 10348 w 145476"/>
                <a:gd name="connsiteY6" fmla="*/ 1579412 h 2042135"/>
                <a:gd name="connsiteX7" fmla="*/ 15110 w 145476"/>
                <a:gd name="connsiteY7" fmla="*/ 1808012 h 2042135"/>
                <a:gd name="connsiteX8" fmla="*/ 42116 w 145476"/>
                <a:gd name="connsiteY8" fmla="*/ 2042135 h 2042135"/>
                <a:gd name="connsiteX9" fmla="*/ 145476 w 145476"/>
                <a:gd name="connsiteY9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37534 w 137534"/>
                <a:gd name="connsiteY0" fmla="*/ 2040552 h 2042135"/>
                <a:gd name="connsiteX1" fmla="*/ 130558 w 137534"/>
                <a:gd name="connsiteY1" fmla="*/ 2544 h 2042135"/>
                <a:gd name="connsiteX2" fmla="*/ 14304 w 137534"/>
                <a:gd name="connsiteY2" fmla="*/ 0 h 2042135"/>
                <a:gd name="connsiteX3" fmla="*/ 823 w 137534"/>
                <a:gd name="connsiteY3" fmla="*/ 174474 h 2042135"/>
                <a:gd name="connsiteX4" fmla="*/ 5584 w 137534"/>
                <a:gd name="connsiteY4" fmla="*/ 398312 h 2042135"/>
                <a:gd name="connsiteX5" fmla="*/ 29398 w 137534"/>
                <a:gd name="connsiteY5" fmla="*/ 1060299 h 2042135"/>
                <a:gd name="connsiteX6" fmla="*/ 15109 w 137534"/>
                <a:gd name="connsiteY6" fmla="*/ 1341287 h 2042135"/>
                <a:gd name="connsiteX7" fmla="*/ 10348 w 137534"/>
                <a:gd name="connsiteY7" fmla="*/ 1579412 h 2042135"/>
                <a:gd name="connsiteX8" fmla="*/ 15110 w 137534"/>
                <a:gd name="connsiteY8" fmla="*/ 1808012 h 2042135"/>
                <a:gd name="connsiteX9" fmla="*/ 42116 w 137534"/>
                <a:gd name="connsiteY9" fmla="*/ 2042135 h 2042135"/>
                <a:gd name="connsiteX10" fmla="*/ 137534 w 137534"/>
                <a:gd name="connsiteY10" fmla="*/ 2040552 h 204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34" h="2042135">
                  <a:moveTo>
                    <a:pt x="137534" y="2040552"/>
                  </a:moveTo>
                  <a:cubicBezTo>
                    <a:pt x="135209" y="1361216"/>
                    <a:pt x="132883" y="681880"/>
                    <a:pt x="130558" y="2544"/>
                  </a:cubicBezTo>
                  <a:lnTo>
                    <a:pt x="14304" y="0"/>
                  </a:lnTo>
                  <a:cubicBezTo>
                    <a:pt x="9542" y="142875"/>
                    <a:pt x="3998" y="67318"/>
                    <a:pt x="823" y="174474"/>
                  </a:cubicBezTo>
                  <a:cubicBezTo>
                    <a:pt x="-1297" y="548203"/>
                    <a:pt x="822" y="250675"/>
                    <a:pt x="5584" y="398312"/>
                  </a:cubicBezTo>
                  <a:cubicBezTo>
                    <a:pt x="10346" y="545949"/>
                    <a:pt x="29398" y="901549"/>
                    <a:pt x="29398" y="1060299"/>
                  </a:cubicBezTo>
                  <a:cubicBezTo>
                    <a:pt x="34954" y="1269055"/>
                    <a:pt x="15109" y="1251593"/>
                    <a:pt x="15109" y="1341287"/>
                  </a:cubicBezTo>
                  <a:cubicBezTo>
                    <a:pt x="15109" y="1430981"/>
                    <a:pt x="16698" y="1515912"/>
                    <a:pt x="10348" y="1579412"/>
                  </a:cubicBezTo>
                  <a:cubicBezTo>
                    <a:pt x="3998" y="1642912"/>
                    <a:pt x="12197" y="1740417"/>
                    <a:pt x="15110" y="1808012"/>
                  </a:cubicBezTo>
                  <a:lnTo>
                    <a:pt x="42116" y="2042135"/>
                  </a:lnTo>
                  <a:lnTo>
                    <a:pt x="137534" y="2040552"/>
                  </a:lnTo>
                  <a:close/>
                </a:path>
              </a:pathLst>
            </a:custGeom>
            <a:pattFill prst="wdDnDiag">
              <a:fgClr>
                <a:srgbClr val="FFFF00"/>
              </a:fgClr>
              <a:bgClr>
                <a:srgbClr val="EE7713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grpSp>
          <p:nvGrpSpPr>
            <p:cNvPr id="156" name="Gruppo 155"/>
            <p:cNvGrpSpPr/>
            <p:nvPr/>
          </p:nvGrpSpPr>
          <p:grpSpPr>
            <a:xfrm>
              <a:off x="2585130" y="673884"/>
              <a:ext cx="2574344" cy="2744873"/>
              <a:chOff x="2700961" y="2998856"/>
              <a:chExt cx="897004" cy="927098"/>
            </a:xfrm>
          </p:grpSpPr>
          <p:sp>
            <p:nvSpPr>
              <p:cNvPr id="154" name="Freccia ad arco 153"/>
              <p:cNvSpPr/>
              <p:nvPr/>
            </p:nvSpPr>
            <p:spPr>
              <a:xfrm>
                <a:off x="2700961" y="3011554"/>
                <a:ext cx="897004" cy="914400"/>
              </a:xfrm>
              <a:prstGeom prst="circularArrow">
                <a:avLst>
                  <a:gd name="adj1" fmla="val 15142"/>
                  <a:gd name="adj2" fmla="val 934235"/>
                  <a:gd name="adj3" fmla="val 19272471"/>
                  <a:gd name="adj4" fmla="val 12961417"/>
                  <a:gd name="adj5" fmla="val 12575"/>
                </a:avLst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>
                  <a:solidFill>
                    <a:schemeClr val="tx1"/>
                  </a:solidFill>
                </a:endParaRPr>
              </a:p>
            </p:txBody>
          </p:sp>
          <p:sp>
            <p:nvSpPr>
              <p:cNvPr id="155" name="Freccia ad arco 154"/>
              <p:cNvSpPr/>
              <p:nvPr/>
            </p:nvSpPr>
            <p:spPr>
              <a:xfrm rot="10800000">
                <a:off x="2700961" y="2998856"/>
                <a:ext cx="897004" cy="914400"/>
              </a:xfrm>
              <a:prstGeom prst="circularArrow">
                <a:avLst>
                  <a:gd name="adj1" fmla="val 14700"/>
                  <a:gd name="adj2" fmla="val 957146"/>
                  <a:gd name="adj3" fmla="val 18709542"/>
                  <a:gd name="adj4" fmla="val 12798358"/>
                  <a:gd name="adj5" fmla="val 12500"/>
                </a:avLst>
              </a:prstGeom>
              <a:noFill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201" name="Rettangolo 200"/>
            <p:cNvSpPr/>
            <p:nvPr/>
          </p:nvSpPr>
          <p:spPr>
            <a:xfrm rot="5400000">
              <a:off x="5387040" y="4373368"/>
              <a:ext cx="338124" cy="80291"/>
            </a:xfrm>
            <a:prstGeom prst="rect">
              <a:avLst/>
            </a:prstGeom>
            <a:pattFill prst="wdUpDiag">
              <a:fgClr>
                <a:srgbClr val="EE7713"/>
              </a:fgClr>
              <a:bgClr>
                <a:srgbClr val="FFFF00"/>
              </a:bgClr>
            </a:pattFill>
            <a:ln w="12700"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sp>
          <p:nvSpPr>
            <p:cNvPr id="16" name="Rettangolo 15"/>
            <p:cNvSpPr/>
            <p:nvPr/>
          </p:nvSpPr>
          <p:spPr>
            <a:xfrm>
              <a:off x="1794132" y="1857302"/>
              <a:ext cx="1158764" cy="55883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Gap measurement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1" name="Rettangolo 120"/>
            <p:cNvSpPr/>
            <p:nvPr/>
          </p:nvSpPr>
          <p:spPr>
            <a:xfrm>
              <a:off x="3339148" y="1857302"/>
              <a:ext cx="1158764" cy="55883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Point interpolation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2" name="Rettangolo 121"/>
            <p:cNvSpPr/>
            <p:nvPr/>
          </p:nvSpPr>
          <p:spPr>
            <a:xfrm>
              <a:off x="4908820" y="1857301"/>
              <a:ext cx="1158764" cy="558837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Shim CNC machining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5" name="Rettangolo 124"/>
            <p:cNvSpPr/>
            <p:nvPr/>
          </p:nvSpPr>
          <p:spPr>
            <a:xfrm>
              <a:off x="6199646" y="3045606"/>
              <a:ext cx="651140" cy="652166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lvl="0" algn="ctr"/>
              <a:r>
                <a:rPr lang="en-US" sz="2315" b="1" dirty="0">
                  <a:solidFill>
                    <a:srgbClr val="00B050"/>
                  </a:solidFill>
                  <a:latin typeface="Arial Narrow" panose="020B0606020202030204" pitchFamily="34" charset="0"/>
                  <a:sym typeface="Wingdings"/>
                </a:rPr>
                <a:t></a:t>
              </a:r>
            </a:p>
            <a:p>
              <a:pPr lvl="0"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&lt; 0.005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126" name="Rettangolo 125"/>
            <p:cNvSpPr/>
            <p:nvPr/>
          </p:nvSpPr>
          <p:spPr>
            <a:xfrm>
              <a:off x="4118143" y="3037128"/>
              <a:ext cx="651140" cy="652166"/>
            </a:xfrm>
            <a:prstGeom prst="rect">
              <a:avLst/>
            </a:prstGeom>
            <a:ln>
              <a:noFill/>
            </a:ln>
          </p:spPr>
          <p:txBody>
            <a:bodyPr wrap="none">
              <a:spAutoFit/>
            </a:bodyPr>
            <a:lstStyle/>
            <a:p>
              <a:pPr lvl="0" algn="ctr"/>
              <a:r>
                <a:rPr lang="en-US" sz="2315" b="1" dirty="0">
                  <a:solidFill>
                    <a:srgbClr val="FF0000"/>
                  </a:solidFill>
                  <a:latin typeface="Arial Narrow" panose="020B0606020202030204" pitchFamily="34" charset="0"/>
                  <a:sym typeface="Wingdings"/>
                </a:rPr>
                <a:t></a:t>
              </a:r>
            </a:p>
            <a:p>
              <a:pPr lvl="0"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&gt; 0.005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4" name="Decisione 63"/>
            <p:cNvSpPr/>
            <p:nvPr/>
          </p:nvSpPr>
          <p:spPr>
            <a:xfrm>
              <a:off x="4612966" y="3010917"/>
              <a:ext cx="1766910" cy="808813"/>
            </a:xfrm>
            <a:prstGeom prst="flowChartDecision">
              <a:avLst/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>
              <a:spAutoFit/>
            </a:bodyPr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Residual gap check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sp>
          <p:nvSpPr>
            <p:cNvPr id="65" name="Rettangolo arrotondato 64"/>
            <p:cNvSpPr/>
            <p:nvPr/>
          </p:nvSpPr>
          <p:spPr>
            <a:xfrm>
              <a:off x="7130029" y="3132959"/>
              <a:ext cx="1090721" cy="558837"/>
            </a:xfrm>
            <a:prstGeom prst="roundRect">
              <a:avLst>
                <a:gd name="adj" fmla="val 38726"/>
              </a:avLst>
            </a:prstGeom>
            <a:solidFill>
              <a:schemeClr val="accent5">
                <a:lumMod val="60000"/>
                <a:lumOff val="40000"/>
              </a:schemeClr>
            </a:solidFill>
            <a:ln w="19050">
              <a:solidFill>
                <a:srgbClr val="00206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323" b="1" dirty="0">
                  <a:solidFill>
                    <a:srgbClr val="002060"/>
                  </a:solidFill>
                  <a:latin typeface="Arial Narrow" panose="020B0606020202030204" pitchFamily="34" charset="0"/>
                </a:rPr>
                <a:t>Shim installation</a:t>
              </a:r>
              <a:endParaRPr lang="en-US" sz="1323" b="1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cxnSp>
          <p:nvCxnSpPr>
            <p:cNvPr id="67" name="Connettore 2 66"/>
            <p:cNvCxnSpPr>
              <a:stCxn id="16" idx="3"/>
              <a:endCxn id="121" idx="1"/>
            </p:cNvCxnSpPr>
            <p:nvPr/>
          </p:nvCxnSpPr>
          <p:spPr>
            <a:xfrm>
              <a:off x="2952896" y="2136721"/>
              <a:ext cx="386252" cy="0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Connettore 2 128"/>
            <p:cNvCxnSpPr>
              <a:stCxn id="121" idx="3"/>
              <a:endCxn id="122" idx="1"/>
            </p:cNvCxnSpPr>
            <p:nvPr/>
          </p:nvCxnSpPr>
          <p:spPr>
            <a:xfrm flipV="1">
              <a:off x="4497912" y="2136720"/>
              <a:ext cx="410907" cy="1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Connettore 2 130"/>
            <p:cNvCxnSpPr>
              <a:stCxn id="122" idx="2"/>
              <a:endCxn id="64" idx="0"/>
            </p:cNvCxnSpPr>
            <p:nvPr/>
          </p:nvCxnSpPr>
          <p:spPr>
            <a:xfrm>
              <a:off x="5488202" y="2416139"/>
              <a:ext cx="8219" cy="594765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Connettore 2 133"/>
            <p:cNvCxnSpPr>
              <a:stCxn id="64" idx="3"/>
              <a:endCxn id="65" idx="1"/>
            </p:cNvCxnSpPr>
            <p:nvPr/>
          </p:nvCxnSpPr>
          <p:spPr>
            <a:xfrm flipV="1">
              <a:off x="6379876" y="3412378"/>
              <a:ext cx="750153" cy="2946"/>
            </a:xfrm>
            <a:prstGeom prst="straightConnector1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Connettore 4 143"/>
            <p:cNvCxnSpPr>
              <a:stCxn id="64" idx="1"/>
              <a:endCxn id="16" idx="2"/>
            </p:cNvCxnSpPr>
            <p:nvPr/>
          </p:nvCxnSpPr>
          <p:spPr>
            <a:xfrm rot="10800000">
              <a:off x="2373515" y="2416140"/>
              <a:ext cx="2239451" cy="999185"/>
            </a:xfrm>
            <a:prstGeom prst="bentConnector2">
              <a:avLst/>
            </a:prstGeom>
            <a:ln>
              <a:solidFill>
                <a:srgbClr val="002060"/>
              </a:solidFill>
              <a:tailEnd type="arrow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67" name="Gruppo 166"/>
            <p:cNvGrpSpPr/>
            <p:nvPr/>
          </p:nvGrpSpPr>
          <p:grpSpPr>
            <a:xfrm rot="5400000">
              <a:off x="5211597" y="601559"/>
              <a:ext cx="742171" cy="797648"/>
              <a:chOff x="4483749" y="1737795"/>
              <a:chExt cx="1924057" cy="3027581"/>
            </a:xfrm>
          </p:grpSpPr>
          <p:sp>
            <p:nvSpPr>
              <p:cNvPr id="158" name="Rettangolo 157"/>
              <p:cNvSpPr/>
              <p:nvPr/>
            </p:nvSpPr>
            <p:spPr>
              <a:xfrm>
                <a:off x="5877454" y="2028177"/>
                <a:ext cx="530352" cy="2686089"/>
              </a:xfrm>
              <a:prstGeom prst="rect">
                <a:avLst/>
              </a:prstGeom>
              <a:pattFill prst="wdUpDiag">
                <a:fgClr>
                  <a:srgbClr val="EE7713"/>
                </a:fgClr>
                <a:bgClr>
                  <a:srgbClr val="FFFF00"/>
                </a:bgClr>
              </a:pattFill>
              <a:ln w="12700"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/>
              </a:p>
            </p:txBody>
          </p:sp>
          <p:grpSp>
            <p:nvGrpSpPr>
              <p:cNvPr id="159" name="Gruppo 158"/>
              <p:cNvGrpSpPr/>
              <p:nvPr/>
            </p:nvGrpSpPr>
            <p:grpSpPr>
              <a:xfrm flipV="1">
                <a:off x="4483749" y="1737795"/>
                <a:ext cx="1708907" cy="3027581"/>
                <a:chOff x="810767" y="5116879"/>
                <a:chExt cx="1412319" cy="1847864"/>
              </a:xfrm>
            </p:grpSpPr>
            <p:sp>
              <p:nvSpPr>
                <p:cNvPr id="160" name="Rettangolo 159"/>
                <p:cNvSpPr/>
                <p:nvPr/>
              </p:nvSpPr>
              <p:spPr>
                <a:xfrm>
                  <a:off x="1464184" y="5116879"/>
                  <a:ext cx="758902" cy="1013355"/>
                </a:xfrm>
                <a:custGeom>
                  <a:avLst/>
                  <a:gdLst>
                    <a:gd name="connsiteX0" fmla="*/ 0 w 417253"/>
                    <a:gd name="connsiteY0" fmla="*/ 0 h 529024"/>
                    <a:gd name="connsiteX1" fmla="*/ 417253 w 417253"/>
                    <a:gd name="connsiteY1" fmla="*/ 0 h 529024"/>
                    <a:gd name="connsiteX2" fmla="*/ 417253 w 417253"/>
                    <a:gd name="connsiteY2" fmla="*/ 529024 h 529024"/>
                    <a:gd name="connsiteX3" fmla="*/ 0 w 417253"/>
                    <a:gd name="connsiteY3" fmla="*/ 529024 h 529024"/>
                    <a:gd name="connsiteX4" fmla="*/ 0 w 417253"/>
                    <a:gd name="connsiteY4" fmla="*/ 0 h 529024"/>
                    <a:gd name="connsiteX0" fmla="*/ 0 w 417253"/>
                    <a:gd name="connsiteY0" fmla="*/ 0 h 529024"/>
                    <a:gd name="connsiteX1" fmla="*/ 417253 w 417253"/>
                    <a:gd name="connsiteY1" fmla="*/ 0 h 529024"/>
                    <a:gd name="connsiteX2" fmla="*/ 405520 w 417253"/>
                    <a:gd name="connsiteY2" fmla="*/ 150248 h 529024"/>
                    <a:gd name="connsiteX3" fmla="*/ 417253 w 417253"/>
                    <a:gd name="connsiteY3" fmla="*/ 529024 h 529024"/>
                    <a:gd name="connsiteX4" fmla="*/ 0 w 417253"/>
                    <a:gd name="connsiteY4" fmla="*/ 529024 h 529024"/>
                    <a:gd name="connsiteX5" fmla="*/ 0 w 417253"/>
                    <a:gd name="connsiteY5" fmla="*/ 0 h 529024"/>
                    <a:gd name="connsiteX0" fmla="*/ 0 w 428380"/>
                    <a:gd name="connsiteY0" fmla="*/ 0 h 529024"/>
                    <a:gd name="connsiteX1" fmla="*/ 417253 w 428380"/>
                    <a:gd name="connsiteY1" fmla="*/ 0 h 529024"/>
                    <a:gd name="connsiteX2" fmla="*/ 405520 w 428380"/>
                    <a:gd name="connsiteY2" fmla="*/ 150248 h 529024"/>
                    <a:gd name="connsiteX3" fmla="*/ 428380 w 428380"/>
                    <a:gd name="connsiteY3" fmla="*/ 310268 h 529024"/>
                    <a:gd name="connsiteX4" fmla="*/ 417253 w 428380"/>
                    <a:gd name="connsiteY4" fmla="*/ 529024 h 529024"/>
                    <a:gd name="connsiteX5" fmla="*/ 0 w 428380"/>
                    <a:gd name="connsiteY5" fmla="*/ 529024 h 529024"/>
                    <a:gd name="connsiteX6" fmla="*/ 0 w 428380"/>
                    <a:gd name="connsiteY6" fmla="*/ 0 h 5290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</a:cxnLst>
                  <a:rect l="l" t="t" r="r" b="b"/>
                  <a:pathLst>
                    <a:path w="428380" h="529024">
                      <a:moveTo>
                        <a:pt x="0" y="0"/>
                      </a:moveTo>
                      <a:lnTo>
                        <a:pt x="417253" y="0"/>
                      </a:lnTo>
                      <a:cubicBezTo>
                        <a:pt x="417151" y="50082"/>
                        <a:pt x="405622" y="100166"/>
                        <a:pt x="405520" y="150248"/>
                      </a:cubicBezTo>
                      <a:cubicBezTo>
                        <a:pt x="406789" y="203587"/>
                        <a:pt x="427111" y="256929"/>
                        <a:pt x="428380" y="310268"/>
                      </a:cubicBezTo>
                      <a:lnTo>
                        <a:pt x="417253" y="529024"/>
                      </a:lnTo>
                      <a:lnTo>
                        <a:pt x="0" y="529024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chemeClr val="bg1">
                    <a:alpha val="90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it-IT" sz="1488" dirty="0"/>
                </a:p>
              </p:txBody>
            </p:sp>
            <p:grpSp>
              <p:nvGrpSpPr>
                <p:cNvPr id="161" name="Gruppo 160"/>
                <p:cNvGrpSpPr/>
                <p:nvPr/>
              </p:nvGrpSpPr>
              <p:grpSpPr>
                <a:xfrm>
                  <a:off x="810767" y="5675864"/>
                  <a:ext cx="1391508" cy="688975"/>
                  <a:chOff x="865631" y="5438120"/>
                  <a:chExt cx="1391508" cy="688975"/>
                </a:xfrm>
              </p:grpSpPr>
              <p:sp>
                <p:nvSpPr>
                  <p:cNvPr id="163" name="Rettangolo arrotondato 162"/>
                  <p:cNvSpPr/>
                  <p:nvPr/>
                </p:nvSpPr>
                <p:spPr>
                  <a:xfrm>
                    <a:off x="1225994" y="5573009"/>
                    <a:ext cx="1031145" cy="412321"/>
                  </a:xfrm>
                  <a:prstGeom prst="roundRect">
                    <a:avLst>
                      <a:gd name="adj" fmla="val 36626"/>
                    </a:avLst>
                  </a:prstGeom>
                  <a:pattFill prst="wdDnDiag">
                    <a:fgClr>
                      <a:schemeClr val="bg1">
                        <a:lumMod val="50000"/>
                      </a:schemeClr>
                    </a:fgClr>
                    <a:bgClr>
                      <a:schemeClr val="bg1"/>
                    </a:bgClr>
                  </a:pattFill>
                  <a:ln w="15875">
                    <a:solidFill>
                      <a:schemeClr val="tx1"/>
                    </a:solidFill>
                  </a:ln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/>
                  <a:p>
                    <a:pPr algn="ctr"/>
                    <a:endParaRPr lang="it-IT" sz="1488" dirty="0"/>
                  </a:p>
                </p:txBody>
              </p:sp>
              <p:sp>
                <p:nvSpPr>
                  <p:cNvPr id="164" name="Rectangle 113"/>
                  <p:cNvSpPr>
                    <a:spLocks noChangeArrowheads="1"/>
                  </p:cNvSpPr>
                  <p:nvPr/>
                </p:nvSpPr>
                <p:spPr bwMode="auto">
                  <a:xfrm rot="5400000">
                    <a:off x="732281" y="5631795"/>
                    <a:ext cx="688975" cy="301625"/>
                  </a:xfrm>
                  <a:prstGeom prst="rect">
                    <a:avLst/>
                  </a:pr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488" dirty="0"/>
                  </a:p>
                </p:txBody>
              </p:sp>
              <p:sp>
                <p:nvSpPr>
                  <p:cNvPr id="165" name="AutoShape 114"/>
                  <p:cNvSpPr>
                    <a:spLocks noChangeArrowheads="1"/>
                  </p:cNvSpPr>
                  <p:nvPr/>
                </p:nvSpPr>
                <p:spPr bwMode="auto">
                  <a:xfrm rot="16200000">
                    <a:off x="981519" y="5682595"/>
                    <a:ext cx="688975" cy="200025"/>
                  </a:xfrm>
                  <a:custGeom>
                    <a:avLst/>
                    <a:gdLst>
                      <a:gd name="G0" fmla="+- 2746 0 0"/>
                      <a:gd name="G1" fmla="+- 21600 0 2746"/>
                      <a:gd name="G2" fmla="*/ 2746 1 2"/>
                      <a:gd name="G3" fmla="+- 21600 0 G2"/>
                      <a:gd name="G4" fmla="+/ 2746 21600 2"/>
                      <a:gd name="G5" fmla="+/ G1 0 2"/>
                      <a:gd name="G6" fmla="*/ 21600 21600 2746"/>
                      <a:gd name="G7" fmla="*/ G6 1 2"/>
                      <a:gd name="G8" fmla="+- 21600 0 G7"/>
                      <a:gd name="G9" fmla="*/ 21600 1 2"/>
                      <a:gd name="G10" fmla="+- 2746 0 G9"/>
                      <a:gd name="G11" fmla="?: G10 G8 0"/>
                      <a:gd name="G12" fmla="?: G10 G7 21600"/>
                      <a:gd name="T0" fmla="*/ 20227 w 21600"/>
                      <a:gd name="T1" fmla="*/ 10800 h 21600"/>
                      <a:gd name="T2" fmla="*/ 10800 w 21600"/>
                      <a:gd name="T3" fmla="*/ 21600 h 21600"/>
                      <a:gd name="T4" fmla="*/ 1373 w 21600"/>
                      <a:gd name="T5" fmla="*/ 10800 h 21600"/>
                      <a:gd name="T6" fmla="*/ 10800 w 21600"/>
                      <a:gd name="T7" fmla="*/ 0 h 21600"/>
                      <a:gd name="T8" fmla="*/ 3173 w 21600"/>
                      <a:gd name="T9" fmla="*/ 3173 h 21600"/>
                      <a:gd name="T10" fmla="*/ 18427 w 21600"/>
                      <a:gd name="T11" fmla="*/ 18427 h 2160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</a:cxnLst>
                    <a:rect l="T8" t="T9" r="T10" b="T11"/>
                    <a:pathLst>
                      <a:path w="21600" h="21600">
                        <a:moveTo>
                          <a:pt x="0" y="0"/>
                        </a:moveTo>
                        <a:lnTo>
                          <a:pt x="2746" y="21600"/>
                        </a:lnTo>
                        <a:lnTo>
                          <a:pt x="18854" y="21600"/>
                        </a:lnTo>
                        <a:lnTo>
                          <a:pt x="21600" y="0"/>
                        </a:lnTo>
                        <a:close/>
                      </a:path>
                    </a:pathLst>
                  </a:custGeom>
                  <a:gradFill rotWithShape="1">
                    <a:gsLst>
                      <a:gs pos="0">
                        <a:srgbClr val="CBCBCB"/>
                      </a:gs>
                      <a:gs pos="13000">
                        <a:srgbClr val="5F5F5F"/>
                      </a:gs>
                      <a:gs pos="21001">
                        <a:srgbClr val="5F5F5F"/>
                      </a:gs>
                      <a:gs pos="63000">
                        <a:srgbClr val="FFFFFF"/>
                      </a:gs>
                      <a:gs pos="67000">
                        <a:srgbClr val="B2B2B2"/>
                      </a:gs>
                      <a:gs pos="69000">
                        <a:srgbClr val="292929"/>
                      </a:gs>
                      <a:gs pos="82001">
                        <a:srgbClr val="777777"/>
                      </a:gs>
                      <a:gs pos="100000">
                        <a:srgbClr val="EAEAEA"/>
                      </a:gs>
                    </a:gsLst>
                    <a:lin ang="0" scaled="0"/>
                  </a:gradFill>
                  <a:ln w="19050" algn="ctr">
                    <a:solidFill>
                      <a:schemeClr val="tx1"/>
                    </a:solidFill>
                    <a:miter lim="800000"/>
                    <a:headEnd/>
                    <a:tailEnd/>
                  </a:ln>
                  <a:effectLst/>
                  <a:extLs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chemeClr val="bg2"/>
                          </a:outerShdw>
                        </a:effectLst>
                      </a14:hiddenEffects>
                    </a:ext>
                  </a:extLst>
                </p:spPr>
                <p:txBody>
                  <a:bodyPr wrap="none" anchor="ctr"/>
                  <a:lstStyle/>
                  <a:p>
                    <a:endParaRPr lang="it-IT" sz="1488" dirty="0"/>
                  </a:p>
                </p:txBody>
              </p:sp>
              <p:sp>
                <p:nvSpPr>
                  <p:cNvPr id="166" name="Line 115"/>
                  <p:cNvSpPr>
                    <a:spLocks noChangeShapeType="1"/>
                  </p:cNvSpPr>
                  <p:nvPr/>
                </p:nvSpPr>
                <p:spPr bwMode="auto">
                  <a:xfrm rot="10816890">
                    <a:off x="865631" y="5779433"/>
                    <a:ext cx="1387475" cy="0"/>
                  </a:xfrm>
                  <a:prstGeom prst="line">
                    <a:avLst/>
                  </a:prstGeom>
                  <a:noFill/>
                  <a:ln w="9525">
                    <a:solidFill>
                      <a:srgbClr val="000000"/>
                    </a:solidFill>
                    <a:prstDash val="lgDashDot"/>
                    <a:round/>
                    <a:headEnd/>
                    <a:tailEnd/>
                  </a:ln>
                  <a:effectLst/>
                  <a:extLst>
                    <a:ext uri="{909E8E84-426E-40DD-AFC4-6F175D3DCCD1}">
                      <a14:hiddenFill xmlns:a14="http://schemas.microsoft.com/office/drawing/2010/main">
                        <a:noFill/>
                      </a14:hiddenFill>
                    </a:ext>
                    <a:ext uri="{AF507438-7753-43E0-B8FC-AC1667EBCBE1}">
                      <a14:hiddenEffects xmlns:a14="http://schemas.microsoft.com/office/drawing/2010/main">
                        <a:effectLst>
                          <a:outerShdw dist="35921" dir="2700000" algn="ctr" rotWithShape="0">
                            <a:srgbClr val="808080"/>
                          </a:outerShdw>
                        </a:effectLst>
                      </a14:hiddenEffects>
                    </a:ext>
                  </a:extLst>
                </p:spPr>
                <p:txBody>
                  <a:bodyPr/>
                  <a:lstStyle/>
                  <a:p>
                    <a:endParaRPr lang="it-IT" sz="1488" dirty="0"/>
                  </a:p>
                </p:txBody>
              </p:sp>
            </p:grpSp>
            <p:sp>
              <p:nvSpPr>
                <p:cNvPr id="162" name="AutoShape 31"/>
                <p:cNvSpPr>
                  <a:spLocks noChangeArrowheads="1"/>
                </p:cNvSpPr>
                <p:nvPr/>
              </p:nvSpPr>
              <p:spPr bwMode="auto">
                <a:xfrm rot="16200000">
                  <a:off x="1146711" y="6209093"/>
                  <a:ext cx="766763" cy="744537"/>
                </a:xfrm>
                <a:prstGeom prst="leftArrow">
                  <a:avLst>
                    <a:gd name="adj1" fmla="val 59620"/>
                    <a:gd name="adj2" fmla="val 44541"/>
                  </a:avLst>
                </a:prstGeom>
                <a:gradFill rotWithShape="1">
                  <a:gsLst>
                    <a:gs pos="0">
                      <a:srgbClr val="92D050"/>
                    </a:gs>
                    <a:gs pos="100000">
                      <a:srgbClr val="33CC33">
                        <a:gamma/>
                        <a:shade val="46275"/>
                        <a:invGamma/>
                        <a:alpha val="0"/>
                      </a:srgbClr>
                    </a:gs>
                  </a:gsLst>
                  <a:lin ang="0" scaled="1"/>
                </a:gradFill>
                <a:ln>
                  <a:noFill/>
                </a:ln>
                <a:effectLst/>
              </p:spPr>
              <p:txBody>
                <a:bodyPr rot="10800000" vert="eaVert" wrap="none" anchor="ctr"/>
                <a:lstStyle/>
                <a:p>
                  <a:pPr algn="ctr" eaLnBrk="1" hangingPunct="1"/>
                  <a:endParaRPr lang="en-US" sz="1488" dirty="0">
                    <a:latin typeface="Arial Narrow" pitchFamily="34" charset="0"/>
                  </a:endParaRPr>
                </a:p>
              </p:txBody>
            </p:sp>
          </p:grpSp>
        </p:grpSp>
        <p:grpSp>
          <p:nvGrpSpPr>
            <p:cNvPr id="176" name="Gruppo 175"/>
            <p:cNvGrpSpPr/>
            <p:nvPr/>
          </p:nvGrpSpPr>
          <p:grpSpPr>
            <a:xfrm>
              <a:off x="2161001" y="404430"/>
              <a:ext cx="634586" cy="755763"/>
              <a:chOff x="1221054" y="923199"/>
              <a:chExt cx="3205916" cy="4199919"/>
            </a:xfrm>
          </p:grpSpPr>
          <p:sp>
            <p:nvSpPr>
              <p:cNvPr id="174" name="Freccia curva 2"/>
              <p:cNvSpPr/>
              <p:nvPr/>
            </p:nvSpPr>
            <p:spPr>
              <a:xfrm flipV="1">
                <a:off x="1722874" y="2733865"/>
                <a:ext cx="2704096" cy="2389253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</a:cxnLst>
                <a:rect l="l" t="t" r="r" b="b"/>
                <a:pathLst>
                  <a:path w="2704096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777445" y="0"/>
                      <a:pt x="1867932" y="0"/>
                    </a:cubicBezTo>
                    <a:cubicBezTo>
                      <a:pt x="1974295" y="3175"/>
                      <a:pt x="2104469" y="39689"/>
                      <a:pt x="2210832" y="42864"/>
                    </a:cubicBezTo>
                    <a:lnTo>
                      <a:pt x="2612656" y="12772"/>
                    </a:lnTo>
                    <a:cubicBezTo>
                      <a:pt x="2613906" y="55124"/>
                      <a:pt x="2606011" y="124908"/>
                      <a:pt x="2607261" y="167260"/>
                    </a:cubicBezTo>
                    <a:lnTo>
                      <a:pt x="2704096" y="26206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75" name="Rettangolo 6"/>
              <p:cNvSpPr/>
              <p:nvPr/>
            </p:nvSpPr>
            <p:spPr>
              <a:xfrm>
                <a:off x="1221054" y="923199"/>
                <a:ext cx="361929" cy="3895880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293751" h="3895880">
                    <a:moveTo>
                      <a:pt x="0" y="155"/>
                    </a:moveTo>
                    <a:cubicBezTo>
                      <a:pt x="42672" y="-2893"/>
                      <a:pt x="112776" y="39779"/>
                      <a:pt x="155448" y="36731"/>
                    </a:cubicBezTo>
                    <a:lnTo>
                      <a:pt x="265176" y="155"/>
                    </a:lnTo>
                    <a:cubicBezTo>
                      <a:pt x="284519" y="34413"/>
                      <a:pt x="272833" y="-24291"/>
                      <a:pt x="276269" y="242282"/>
                    </a:cubicBezTo>
                    <a:cubicBezTo>
                      <a:pt x="278912" y="437418"/>
                      <a:pt x="265156" y="954275"/>
                      <a:pt x="271506" y="1180494"/>
                    </a:cubicBezTo>
                    <a:cubicBezTo>
                      <a:pt x="277856" y="1406713"/>
                      <a:pt x="290556" y="1456719"/>
                      <a:pt x="285794" y="1599594"/>
                    </a:cubicBezTo>
                    <a:cubicBezTo>
                      <a:pt x="281032" y="1742469"/>
                      <a:pt x="255633" y="1921063"/>
                      <a:pt x="252458" y="2028219"/>
                    </a:cubicBezTo>
                    <a:cubicBezTo>
                      <a:pt x="250338" y="2401948"/>
                      <a:pt x="252457" y="2104420"/>
                      <a:pt x="257219" y="2252057"/>
                    </a:cubicBezTo>
                    <a:cubicBezTo>
                      <a:pt x="261981" y="2399694"/>
                      <a:pt x="281033" y="2755294"/>
                      <a:pt x="281033" y="2914044"/>
                    </a:cubicBezTo>
                    <a:cubicBezTo>
                      <a:pt x="286589" y="3122800"/>
                      <a:pt x="266744" y="3105338"/>
                      <a:pt x="266744" y="3195032"/>
                    </a:cubicBezTo>
                    <a:cubicBezTo>
                      <a:pt x="266744" y="3284726"/>
                      <a:pt x="268333" y="3369657"/>
                      <a:pt x="261983" y="3433157"/>
                    </a:cubicBezTo>
                    <a:cubicBezTo>
                      <a:pt x="255633" y="3496657"/>
                      <a:pt x="263832" y="3594162"/>
                      <a:pt x="266745" y="3661757"/>
                    </a:cubicBezTo>
                    <a:lnTo>
                      <a:pt x="293751" y="3895880"/>
                    </a:lnTo>
                    <a:lnTo>
                      <a:pt x="0" y="3886355"/>
                    </a:lnTo>
                    <a:lnTo>
                      <a:pt x="0" y="155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177" name="Rettangolo 176"/>
            <p:cNvSpPr/>
            <p:nvPr/>
          </p:nvSpPr>
          <p:spPr>
            <a:xfrm>
              <a:off x="3289270" y="362380"/>
              <a:ext cx="1180131" cy="1364861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/>
              <a:r>
                <a:rPr lang="en-US" sz="8269" dirty="0">
                  <a:solidFill>
                    <a:srgbClr val="002060"/>
                  </a:solidFill>
                  <a:latin typeface="Arial Narrow" panose="020B0606020202030204" pitchFamily="34" charset="0"/>
                  <a:sym typeface="Wingdings"/>
                </a:rPr>
                <a:t></a:t>
              </a:r>
              <a:endParaRPr lang="en-US" sz="8269" dirty="0">
                <a:solidFill>
                  <a:srgbClr val="002060"/>
                </a:solidFill>
                <a:latin typeface="Arial Narrow" panose="020B0606020202030204" pitchFamily="34" charset="0"/>
              </a:endParaRPr>
            </a:p>
          </p:txBody>
        </p:sp>
        <p:grpSp>
          <p:nvGrpSpPr>
            <p:cNvPr id="178" name="Gruppo 177"/>
            <p:cNvGrpSpPr/>
            <p:nvPr/>
          </p:nvGrpSpPr>
          <p:grpSpPr>
            <a:xfrm rot="1053938">
              <a:off x="5139184" y="4412144"/>
              <a:ext cx="417141" cy="992510"/>
              <a:chOff x="461977" y="4457251"/>
              <a:chExt cx="1081422" cy="2126483"/>
            </a:xfrm>
          </p:grpSpPr>
          <p:sp>
            <p:nvSpPr>
              <p:cNvPr id="179" name="Figura a mano libera 178"/>
              <p:cNvSpPr/>
              <p:nvPr/>
            </p:nvSpPr>
            <p:spPr>
              <a:xfrm>
                <a:off x="1108093" y="4457251"/>
                <a:ext cx="435306" cy="1314596"/>
              </a:xfrm>
              <a:custGeom>
                <a:avLst/>
                <a:gdLst>
                  <a:gd name="connsiteX0" fmla="*/ 1459 w 476080"/>
                  <a:gd name="connsiteY0" fmla="*/ 1729408 h 1731897"/>
                  <a:gd name="connsiteX1" fmla="*/ 51155 w 476080"/>
                  <a:gd name="connsiteY1" fmla="*/ 1659835 h 1731897"/>
                  <a:gd name="connsiteX2" fmla="*/ 438781 w 476080"/>
                  <a:gd name="connsiteY2" fmla="*/ 1093304 h 1731897"/>
                  <a:gd name="connsiteX3" fmla="*/ 438781 w 476080"/>
                  <a:gd name="connsiteY3" fmla="*/ 0 h 1731897"/>
                  <a:gd name="connsiteX0" fmla="*/ 1459 w 438799"/>
                  <a:gd name="connsiteY0" fmla="*/ 1910601 h 1913090"/>
                  <a:gd name="connsiteX1" fmla="*/ 51155 w 438799"/>
                  <a:gd name="connsiteY1" fmla="*/ 1841028 h 1913090"/>
                  <a:gd name="connsiteX2" fmla="*/ 438781 w 438799"/>
                  <a:gd name="connsiteY2" fmla="*/ 1274497 h 1913090"/>
                  <a:gd name="connsiteX3" fmla="*/ 34166 w 438799"/>
                  <a:gd name="connsiteY3" fmla="*/ 0 h 1913090"/>
                  <a:gd name="connsiteX0" fmla="*/ 8586 w 445821"/>
                  <a:gd name="connsiteY0" fmla="*/ 1910601 h 1934081"/>
                  <a:gd name="connsiteX1" fmla="*/ 58282 w 445821"/>
                  <a:gd name="connsiteY1" fmla="*/ 1841028 h 1934081"/>
                  <a:gd name="connsiteX2" fmla="*/ 445802 w 445821"/>
                  <a:gd name="connsiteY2" fmla="*/ 1092039 h 1934081"/>
                  <a:gd name="connsiteX3" fmla="*/ 41293 w 445821"/>
                  <a:gd name="connsiteY3" fmla="*/ 0 h 1934081"/>
                  <a:gd name="connsiteX0" fmla="*/ 7891 w 428518"/>
                  <a:gd name="connsiteY0" fmla="*/ 1910601 h 1924702"/>
                  <a:gd name="connsiteX1" fmla="*/ 57587 w 428518"/>
                  <a:gd name="connsiteY1" fmla="*/ 1841028 h 1924702"/>
                  <a:gd name="connsiteX2" fmla="*/ 428498 w 428518"/>
                  <a:gd name="connsiteY2" fmla="*/ 1271292 h 1924702"/>
                  <a:gd name="connsiteX3" fmla="*/ 40598 w 428518"/>
                  <a:gd name="connsiteY3" fmla="*/ 0 h 1924702"/>
                  <a:gd name="connsiteX0" fmla="*/ 7891 w 435307"/>
                  <a:gd name="connsiteY0" fmla="*/ 1910601 h 1924702"/>
                  <a:gd name="connsiteX1" fmla="*/ 57587 w 435307"/>
                  <a:gd name="connsiteY1" fmla="*/ 1841028 h 1924702"/>
                  <a:gd name="connsiteX2" fmla="*/ 428498 w 435307"/>
                  <a:gd name="connsiteY2" fmla="*/ 1271292 h 1924702"/>
                  <a:gd name="connsiteX3" fmla="*/ 40598 w 435307"/>
                  <a:gd name="connsiteY3" fmla="*/ 0 h 192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5307" h="1924702">
                    <a:moveTo>
                      <a:pt x="7891" y="1910601"/>
                    </a:moveTo>
                    <a:cubicBezTo>
                      <a:pt x="-3705" y="1928823"/>
                      <a:pt x="-12514" y="1947580"/>
                      <a:pt x="57587" y="1841028"/>
                    </a:cubicBezTo>
                    <a:cubicBezTo>
                      <a:pt x="127688" y="1734476"/>
                      <a:pt x="489049" y="1556021"/>
                      <a:pt x="428498" y="1271292"/>
                    </a:cubicBezTo>
                    <a:cubicBezTo>
                      <a:pt x="367947" y="986563"/>
                      <a:pt x="72900" y="408332"/>
                      <a:pt x="40598" y="0"/>
                    </a:cubicBezTo>
                  </a:path>
                </a:pathLst>
              </a:custGeom>
              <a:noFill/>
              <a:ln w="25400" cmpd="dbl">
                <a:solidFill>
                  <a:srgbClr val="002060"/>
                </a:solidFill>
                <a:headEnd w="lg" len="lg"/>
                <a:tailEnd type="oval" w="sm" len="sm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180" name="Rettangolo con singolo angolo ritagliato 179"/>
              <p:cNvSpPr/>
              <p:nvPr/>
            </p:nvSpPr>
            <p:spPr>
              <a:xfrm rot="18648123">
                <a:off x="148671" y="5606010"/>
                <a:ext cx="1291030" cy="664417"/>
              </a:xfrm>
              <a:prstGeom prst="snip1Rect">
                <a:avLst>
                  <a:gd name="adj" fmla="val 34322"/>
                </a:avLst>
              </a:prstGeom>
              <a:pattFill prst="pct25">
                <a:fgClr>
                  <a:schemeClr val="tx1">
                    <a:lumMod val="85000"/>
                    <a:lumOff val="1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  <a:effectLst>
                <a:outerShdw blurRad="50800" dist="38100" dir="2700000" sx="110000" sy="11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181" name="Rettangolo arrotondato 180"/>
              <p:cNvSpPr/>
              <p:nvPr/>
            </p:nvSpPr>
            <p:spPr>
              <a:xfrm rot="18636994">
                <a:off x="230952" y="5877992"/>
                <a:ext cx="716624" cy="21369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662" dirty="0">
                    <a:solidFill>
                      <a:srgbClr val="002060"/>
                    </a:solidFill>
                    <a:latin typeface="Tw Cen MT Condensed" panose="020B0606020104020203" pitchFamily="34" charset="0"/>
                  </a:rPr>
                  <a:t>0.0125</a:t>
                </a:r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182" name="Rettangolo arrotondato 181"/>
              <p:cNvSpPr/>
              <p:nvPr/>
            </p:nvSpPr>
            <p:spPr>
              <a:xfrm rot="18636994">
                <a:off x="503897" y="6272006"/>
                <a:ext cx="284137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183" name="Rettangolo arrotondato 182"/>
              <p:cNvSpPr/>
              <p:nvPr/>
            </p:nvSpPr>
            <p:spPr>
              <a:xfrm rot="18636994">
                <a:off x="765335" y="6017645"/>
                <a:ext cx="284136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</p:grpSp>
        <p:sp>
          <p:nvSpPr>
            <p:cNvPr id="185" name="Freccia curva 2"/>
            <p:cNvSpPr/>
            <p:nvPr/>
          </p:nvSpPr>
          <p:spPr>
            <a:xfrm flipV="1">
              <a:off x="5568756" y="4244452"/>
              <a:ext cx="535254" cy="429939"/>
            </a:xfrm>
            <a:custGeom>
              <a:avLst/>
              <a:gdLst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404499 h 2651760"/>
                <a:gd name="connsiteX6" fmla="*/ 4432678 w 4432678"/>
                <a:gd name="connsiteY6" fmla="*/ 808999 h 2651760"/>
                <a:gd name="connsiteX7" fmla="*/ 4432678 w 4432678"/>
                <a:gd name="connsiteY7" fmla="*/ 533720 h 2651760"/>
                <a:gd name="connsiteX8" fmla="*/ 575856 w 4432678"/>
                <a:gd name="connsiteY8" fmla="*/ 533720 h 2651760"/>
                <a:gd name="connsiteX9" fmla="*/ 258440 w 4432678"/>
                <a:gd name="connsiteY9" fmla="*/ 851136 h 2651760"/>
                <a:gd name="connsiteX10" fmla="*/ 258441 w 4432678"/>
                <a:gd name="connsiteY10" fmla="*/ 2651760 h 2651760"/>
                <a:gd name="connsiteX11" fmla="*/ 0 w 4432678"/>
                <a:gd name="connsiteY11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808999 h 2651760"/>
                <a:gd name="connsiteX6" fmla="*/ 4432678 w 4432678"/>
                <a:gd name="connsiteY6" fmla="*/ 533720 h 2651760"/>
                <a:gd name="connsiteX7" fmla="*/ 575856 w 4432678"/>
                <a:gd name="connsiteY7" fmla="*/ 533720 h 2651760"/>
                <a:gd name="connsiteX8" fmla="*/ 258440 w 4432678"/>
                <a:gd name="connsiteY8" fmla="*/ 851136 h 2651760"/>
                <a:gd name="connsiteX9" fmla="*/ 258441 w 4432678"/>
                <a:gd name="connsiteY9" fmla="*/ 2651760 h 2651760"/>
                <a:gd name="connsiteX10" fmla="*/ 0 w 4432678"/>
                <a:gd name="connsiteY10" fmla="*/ 2651760 h 2651760"/>
                <a:gd name="connsiteX0" fmla="*/ 0 w 4432678"/>
                <a:gd name="connsiteY0" fmla="*/ 2651760 h 2651760"/>
                <a:gd name="connsiteX1" fmla="*/ 0 w 4432678"/>
                <a:gd name="connsiteY1" fmla="*/ 851135 h 2651760"/>
                <a:gd name="connsiteX2" fmla="*/ 575856 w 4432678"/>
                <a:gd name="connsiteY2" fmla="*/ 275279 h 2651760"/>
                <a:gd name="connsiteX3" fmla="*/ 4432678 w 4432678"/>
                <a:gd name="connsiteY3" fmla="*/ 275279 h 2651760"/>
                <a:gd name="connsiteX4" fmla="*/ 4432678 w 4432678"/>
                <a:gd name="connsiteY4" fmla="*/ 0 h 2651760"/>
                <a:gd name="connsiteX5" fmla="*/ 4432678 w 4432678"/>
                <a:gd name="connsiteY5" fmla="*/ 533720 h 2651760"/>
                <a:gd name="connsiteX6" fmla="*/ 575856 w 4432678"/>
                <a:gd name="connsiteY6" fmla="*/ 533720 h 2651760"/>
                <a:gd name="connsiteX7" fmla="*/ 258440 w 4432678"/>
                <a:gd name="connsiteY7" fmla="*/ 851136 h 2651760"/>
                <a:gd name="connsiteX8" fmla="*/ 258441 w 4432678"/>
                <a:gd name="connsiteY8" fmla="*/ 2651760 h 2651760"/>
                <a:gd name="connsiteX9" fmla="*/ 0 w 4432678"/>
                <a:gd name="connsiteY9" fmla="*/ 2651760 h 2651760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4432678 w 4432678"/>
                <a:gd name="connsiteY3" fmla="*/ 0 h 2376481"/>
                <a:gd name="connsiteX4" fmla="*/ 4432678 w 4432678"/>
                <a:gd name="connsiteY4" fmla="*/ 258441 h 2376481"/>
                <a:gd name="connsiteX5" fmla="*/ 575856 w 4432678"/>
                <a:gd name="connsiteY5" fmla="*/ 258441 h 2376481"/>
                <a:gd name="connsiteX6" fmla="*/ 258440 w 4432678"/>
                <a:gd name="connsiteY6" fmla="*/ 575857 h 2376481"/>
                <a:gd name="connsiteX7" fmla="*/ 258441 w 4432678"/>
                <a:gd name="connsiteY7" fmla="*/ 2376481 h 2376481"/>
                <a:gd name="connsiteX8" fmla="*/ 0 w 4432678"/>
                <a:gd name="connsiteY8" fmla="*/ 2376481 h 2376481"/>
                <a:gd name="connsiteX0" fmla="*/ 0 w 4432703"/>
                <a:gd name="connsiteY0" fmla="*/ 2376481 h 2376481"/>
                <a:gd name="connsiteX1" fmla="*/ 0 w 4432703"/>
                <a:gd name="connsiteY1" fmla="*/ 575856 h 2376481"/>
                <a:gd name="connsiteX2" fmla="*/ 575856 w 4432703"/>
                <a:gd name="connsiteY2" fmla="*/ 0 h 2376481"/>
                <a:gd name="connsiteX3" fmla="*/ 4432678 w 4432703"/>
                <a:gd name="connsiteY3" fmla="*/ 0 h 2376481"/>
                <a:gd name="connsiteX4" fmla="*/ 4390707 w 4432703"/>
                <a:gd name="connsiteY4" fmla="*/ 154488 h 2376481"/>
                <a:gd name="connsiteX5" fmla="*/ 4432678 w 4432703"/>
                <a:gd name="connsiteY5" fmla="*/ 258441 h 2376481"/>
                <a:gd name="connsiteX6" fmla="*/ 575856 w 4432703"/>
                <a:gd name="connsiteY6" fmla="*/ 258441 h 2376481"/>
                <a:gd name="connsiteX7" fmla="*/ 258440 w 4432703"/>
                <a:gd name="connsiteY7" fmla="*/ 575857 h 2376481"/>
                <a:gd name="connsiteX8" fmla="*/ 258441 w 4432703"/>
                <a:gd name="connsiteY8" fmla="*/ 2376481 h 2376481"/>
                <a:gd name="connsiteX9" fmla="*/ 0 w 4432703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43907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4432678"/>
                <a:gd name="connsiteY0" fmla="*/ 2376481 h 2376481"/>
                <a:gd name="connsiteX1" fmla="*/ 0 w 4432678"/>
                <a:gd name="connsiteY1" fmla="*/ 575856 h 2376481"/>
                <a:gd name="connsiteX2" fmla="*/ 575856 w 4432678"/>
                <a:gd name="connsiteY2" fmla="*/ 0 h 2376481"/>
                <a:gd name="connsiteX3" fmla="*/ 2567302 w 4432678"/>
                <a:gd name="connsiteY3" fmla="*/ 0 h 2376481"/>
                <a:gd name="connsiteX4" fmla="*/ 2561907 w 4432678"/>
                <a:gd name="connsiteY4" fmla="*/ 154488 h 2376481"/>
                <a:gd name="connsiteX5" fmla="*/ 4432678 w 4432678"/>
                <a:gd name="connsiteY5" fmla="*/ 258441 h 2376481"/>
                <a:gd name="connsiteX6" fmla="*/ 575856 w 4432678"/>
                <a:gd name="connsiteY6" fmla="*/ 258441 h 2376481"/>
                <a:gd name="connsiteX7" fmla="*/ 258440 w 4432678"/>
                <a:gd name="connsiteY7" fmla="*/ 575857 h 2376481"/>
                <a:gd name="connsiteX8" fmla="*/ 258441 w 4432678"/>
                <a:gd name="connsiteY8" fmla="*/ 2376481 h 2376481"/>
                <a:gd name="connsiteX9" fmla="*/ 0 w 4432678"/>
                <a:gd name="connsiteY9" fmla="*/ 2376481 h 2376481"/>
                <a:gd name="connsiteX0" fmla="*/ 0 w 2658742"/>
                <a:gd name="connsiteY0" fmla="*/ 2376481 h 2376481"/>
                <a:gd name="connsiteX1" fmla="*/ 0 w 2658742"/>
                <a:gd name="connsiteY1" fmla="*/ 575856 h 2376481"/>
                <a:gd name="connsiteX2" fmla="*/ 575856 w 2658742"/>
                <a:gd name="connsiteY2" fmla="*/ 0 h 2376481"/>
                <a:gd name="connsiteX3" fmla="*/ 2567302 w 2658742"/>
                <a:gd name="connsiteY3" fmla="*/ 0 h 2376481"/>
                <a:gd name="connsiteX4" fmla="*/ 2561907 w 2658742"/>
                <a:gd name="connsiteY4" fmla="*/ 154488 h 2376481"/>
                <a:gd name="connsiteX5" fmla="*/ 2658742 w 2658742"/>
                <a:gd name="connsiteY5" fmla="*/ 249297 h 2376481"/>
                <a:gd name="connsiteX6" fmla="*/ 575856 w 2658742"/>
                <a:gd name="connsiteY6" fmla="*/ 258441 h 2376481"/>
                <a:gd name="connsiteX7" fmla="*/ 258440 w 2658742"/>
                <a:gd name="connsiteY7" fmla="*/ 575857 h 2376481"/>
                <a:gd name="connsiteX8" fmla="*/ 258441 w 2658742"/>
                <a:gd name="connsiteY8" fmla="*/ 2376481 h 2376481"/>
                <a:gd name="connsiteX9" fmla="*/ 0 w 2658742"/>
                <a:gd name="connsiteY9" fmla="*/ 2376481 h 2376481"/>
                <a:gd name="connsiteX0" fmla="*/ 6 w 2658748"/>
                <a:gd name="connsiteY0" fmla="*/ 2376481 h 2376481"/>
                <a:gd name="connsiteX1" fmla="*/ 27120 w 2658748"/>
                <a:gd name="connsiteY1" fmla="*/ 2082729 h 2376481"/>
                <a:gd name="connsiteX2" fmla="*/ 6 w 2658748"/>
                <a:gd name="connsiteY2" fmla="*/ 575856 h 2376481"/>
                <a:gd name="connsiteX3" fmla="*/ 575862 w 2658748"/>
                <a:gd name="connsiteY3" fmla="*/ 0 h 2376481"/>
                <a:gd name="connsiteX4" fmla="*/ 2567308 w 2658748"/>
                <a:gd name="connsiteY4" fmla="*/ 0 h 2376481"/>
                <a:gd name="connsiteX5" fmla="*/ 2561913 w 2658748"/>
                <a:gd name="connsiteY5" fmla="*/ 154488 h 2376481"/>
                <a:gd name="connsiteX6" fmla="*/ 2658748 w 2658748"/>
                <a:gd name="connsiteY6" fmla="*/ 249297 h 2376481"/>
                <a:gd name="connsiteX7" fmla="*/ 575862 w 2658748"/>
                <a:gd name="connsiteY7" fmla="*/ 258441 h 2376481"/>
                <a:gd name="connsiteX8" fmla="*/ 258446 w 2658748"/>
                <a:gd name="connsiteY8" fmla="*/ 575857 h 2376481"/>
                <a:gd name="connsiteX9" fmla="*/ 258447 w 2658748"/>
                <a:gd name="connsiteY9" fmla="*/ 2376481 h 2376481"/>
                <a:gd name="connsiteX10" fmla="*/ 6 w 2658748"/>
                <a:gd name="connsiteY10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10986 w 2669728"/>
                <a:gd name="connsiteY3" fmla="*/ 575856 h 2376481"/>
                <a:gd name="connsiteX4" fmla="*/ 586842 w 2669728"/>
                <a:gd name="connsiteY4" fmla="*/ 0 h 2376481"/>
                <a:gd name="connsiteX5" fmla="*/ 2578288 w 2669728"/>
                <a:gd name="connsiteY5" fmla="*/ 0 h 2376481"/>
                <a:gd name="connsiteX6" fmla="*/ 2572893 w 2669728"/>
                <a:gd name="connsiteY6" fmla="*/ 154488 h 2376481"/>
                <a:gd name="connsiteX7" fmla="*/ 2669728 w 2669728"/>
                <a:gd name="connsiteY7" fmla="*/ 249297 h 2376481"/>
                <a:gd name="connsiteX8" fmla="*/ 586842 w 2669728"/>
                <a:gd name="connsiteY8" fmla="*/ 258441 h 2376481"/>
                <a:gd name="connsiteX9" fmla="*/ 269426 w 2669728"/>
                <a:gd name="connsiteY9" fmla="*/ 575857 h 2376481"/>
                <a:gd name="connsiteX10" fmla="*/ 269427 w 2669728"/>
                <a:gd name="connsiteY10" fmla="*/ 2376481 h 2376481"/>
                <a:gd name="connsiteX11" fmla="*/ 10986 w 2669728"/>
                <a:gd name="connsiteY11" fmla="*/ 2376481 h 2376481"/>
                <a:gd name="connsiteX0" fmla="*/ 10986 w 2669728"/>
                <a:gd name="connsiteY0" fmla="*/ 2376481 h 2376481"/>
                <a:gd name="connsiteX1" fmla="*/ 38100 w 2669728"/>
                <a:gd name="connsiteY1" fmla="*/ 2082729 h 2376481"/>
                <a:gd name="connsiteX2" fmla="*/ 0 w 2669728"/>
                <a:gd name="connsiteY2" fmla="*/ 1887466 h 2376481"/>
                <a:gd name="connsiteX3" fmla="*/ 42863 w 2669728"/>
                <a:gd name="connsiteY3" fmla="*/ 1306441 h 2376481"/>
                <a:gd name="connsiteX4" fmla="*/ 10986 w 2669728"/>
                <a:gd name="connsiteY4" fmla="*/ 575856 h 2376481"/>
                <a:gd name="connsiteX5" fmla="*/ 586842 w 2669728"/>
                <a:gd name="connsiteY5" fmla="*/ 0 h 2376481"/>
                <a:gd name="connsiteX6" fmla="*/ 2578288 w 2669728"/>
                <a:gd name="connsiteY6" fmla="*/ 0 h 2376481"/>
                <a:gd name="connsiteX7" fmla="*/ 2572893 w 2669728"/>
                <a:gd name="connsiteY7" fmla="*/ 154488 h 2376481"/>
                <a:gd name="connsiteX8" fmla="*/ 2669728 w 2669728"/>
                <a:gd name="connsiteY8" fmla="*/ 249297 h 2376481"/>
                <a:gd name="connsiteX9" fmla="*/ 586842 w 2669728"/>
                <a:gd name="connsiteY9" fmla="*/ 258441 h 2376481"/>
                <a:gd name="connsiteX10" fmla="*/ 269426 w 2669728"/>
                <a:gd name="connsiteY10" fmla="*/ 575857 h 2376481"/>
                <a:gd name="connsiteX11" fmla="*/ 269427 w 2669728"/>
                <a:gd name="connsiteY11" fmla="*/ 2376481 h 2376481"/>
                <a:gd name="connsiteX12" fmla="*/ 10986 w 2669728"/>
                <a:gd name="connsiteY12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20511 w 2679253"/>
                <a:gd name="connsiteY0" fmla="*/ 2376481 h 2376481"/>
                <a:gd name="connsiteX1" fmla="*/ 47625 w 2679253"/>
                <a:gd name="connsiteY1" fmla="*/ 2082729 h 2376481"/>
                <a:gd name="connsiteX2" fmla="*/ 9525 w 2679253"/>
                <a:gd name="connsiteY2" fmla="*/ 1887466 h 2376481"/>
                <a:gd name="connsiteX3" fmla="*/ 52388 w 2679253"/>
                <a:gd name="connsiteY3" fmla="*/ 1306441 h 2376481"/>
                <a:gd name="connsiteX4" fmla="*/ 0 w 2679253"/>
                <a:gd name="connsiteY4" fmla="*/ 939729 h 2376481"/>
                <a:gd name="connsiteX5" fmla="*/ 20511 w 2679253"/>
                <a:gd name="connsiteY5" fmla="*/ 575856 h 2376481"/>
                <a:gd name="connsiteX6" fmla="*/ 596367 w 2679253"/>
                <a:gd name="connsiteY6" fmla="*/ 0 h 2376481"/>
                <a:gd name="connsiteX7" fmla="*/ 2587813 w 2679253"/>
                <a:gd name="connsiteY7" fmla="*/ 0 h 2376481"/>
                <a:gd name="connsiteX8" fmla="*/ 2582418 w 2679253"/>
                <a:gd name="connsiteY8" fmla="*/ 154488 h 2376481"/>
                <a:gd name="connsiteX9" fmla="*/ 2679253 w 2679253"/>
                <a:gd name="connsiteY9" fmla="*/ 249297 h 2376481"/>
                <a:gd name="connsiteX10" fmla="*/ 596367 w 2679253"/>
                <a:gd name="connsiteY10" fmla="*/ 258441 h 2376481"/>
                <a:gd name="connsiteX11" fmla="*/ 278951 w 2679253"/>
                <a:gd name="connsiteY11" fmla="*/ 575857 h 2376481"/>
                <a:gd name="connsiteX12" fmla="*/ 278952 w 2679253"/>
                <a:gd name="connsiteY12" fmla="*/ 2376481 h 2376481"/>
                <a:gd name="connsiteX13" fmla="*/ 20511 w 2679253"/>
                <a:gd name="connsiteY13" fmla="*/ 2376481 h 2376481"/>
                <a:gd name="connsiteX0" fmla="*/ 33888 w 2692630"/>
                <a:gd name="connsiteY0" fmla="*/ 2376481 h 2376481"/>
                <a:gd name="connsiteX1" fmla="*/ 61002 w 2692630"/>
                <a:gd name="connsiteY1" fmla="*/ 2082729 h 2376481"/>
                <a:gd name="connsiteX2" fmla="*/ 22902 w 2692630"/>
                <a:gd name="connsiteY2" fmla="*/ 1887466 h 2376481"/>
                <a:gd name="connsiteX3" fmla="*/ 65765 w 2692630"/>
                <a:gd name="connsiteY3" fmla="*/ 1306441 h 2376481"/>
                <a:gd name="connsiteX4" fmla="*/ 13377 w 2692630"/>
                <a:gd name="connsiteY4" fmla="*/ 939729 h 2376481"/>
                <a:gd name="connsiteX5" fmla="*/ 550 w 2692630"/>
                <a:gd name="connsiteY5" fmla="*/ 571094 h 2376481"/>
                <a:gd name="connsiteX6" fmla="*/ 609744 w 2692630"/>
                <a:gd name="connsiteY6" fmla="*/ 0 h 2376481"/>
                <a:gd name="connsiteX7" fmla="*/ 2601190 w 2692630"/>
                <a:gd name="connsiteY7" fmla="*/ 0 h 2376481"/>
                <a:gd name="connsiteX8" fmla="*/ 2595795 w 2692630"/>
                <a:gd name="connsiteY8" fmla="*/ 154488 h 2376481"/>
                <a:gd name="connsiteX9" fmla="*/ 2692630 w 2692630"/>
                <a:gd name="connsiteY9" fmla="*/ 249297 h 2376481"/>
                <a:gd name="connsiteX10" fmla="*/ 609744 w 2692630"/>
                <a:gd name="connsiteY10" fmla="*/ 258441 h 2376481"/>
                <a:gd name="connsiteX11" fmla="*/ 292328 w 2692630"/>
                <a:gd name="connsiteY11" fmla="*/ 575857 h 2376481"/>
                <a:gd name="connsiteX12" fmla="*/ 292329 w 2692630"/>
                <a:gd name="connsiteY12" fmla="*/ 2376481 h 2376481"/>
                <a:gd name="connsiteX13" fmla="*/ 33888 w 2692630"/>
                <a:gd name="connsiteY13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2612656 w 2704096"/>
                <a:gd name="connsiteY8" fmla="*/ 0 h 2376481"/>
                <a:gd name="connsiteX9" fmla="*/ 2607261 w 2704096"/>
                <a:gd name="connsiteY9" fmla="*/ 154488 h 2376481"/>
                <a:gd name="connsiteX10" fmla="*/ 2704096 w 2704096"/>
                <a:gd name="connsiteY10" fmla="*/ 249297 h 2376481"/>
                <a:gd name="connsiteX11" fmla="*/ 621210 w 2704096"/>
                <a:gd name="connsiteY11" fmla="*/ 258441 h 2376481"/>
                <a:gd name="connsiteX12" fmla="*/ 303794 w 2704096"/>
                <a:gd name="connsiteY12" fmla="*/ 575857 h 2376481"/>
                <a:gd name="connsiteX13" fmla="*/ 303795 w 2704096"/>
                <a:gd name="connsiteY13" fmla="*/ 2376481 h 2376481"/>
                <a:gd name="connsiteX14" fmla="*/ 45354 w 2704096"/>
                <a:gd name="connsiteY14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621210 w 2704096"/>
                <a:gd name="connsiteY7" fmla="*/ 0 h 2376481"/>
                <a:gd name="connsiteX8" fmla="*/ 1601232 w 2704096"/>
                <a:gd name="connsiteY8" fmla="*/ 1516 h 2376481"/>
                <a:gd name="connsiteX9" fmla="*/ 2612656 w 2704096"/>
                <a:gd name="connsiteY9" fmla="*/ 0 h 2376481"/>
                <a:gd name="connsiteX10" fmla="*/ 2607261 w 2704096"/>
                <a:gd name="connsiteY10" fmla="*/ 154488 h 2376481"/>
                <a:gd name="connsiteX11" fmla="*/ 2704096 w 2704096"/>
                <a:gd name="connsiteY11" fmla="*/ 249297 h 2376481"/>
                <a:gd name="connsiteX12" fmla="*/ 621210 w 2704096"/>
                <a:gd name="connsiteY12" fmla="*/ 258441 h 2376481"/>
                <a:gd name="connsiteX13" fmla="*/ 303794 w 2704096"/>
                <a:gd name="connsiteY13" fmla="*/ 575857 h 2376481"/>
                <a:gd name="connsiteX14" fmla="*/ 303795 w 2704096"/>
                <a:gd name="connsiteY14" fmla="*/ 2376481 h 2376481"/>
                <a:gd name="connsiteX15" fmla="*/ 45354 w 2704096"/>
                <a:gd name="connsiteY15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353457 w 2704096"/>
                <a:gd name="connsiteY7" fmla="*/ 111054 h 2376481"/>
                <a:gd name="connsiteX8" fmla="*/ 621210 w 2704096"/>
                <a:gd name="connsiteY8" fmla="*/ 0 h 2376481"/>
                <a:gd name="connsiteX9" fmla="*/ 1601232 w 2704096"/>
                <a:gd name="connsiteY9" fmla="*/ 1516 h 2376481"/>
                <a:gd name="connsiteX10" fmla="*/ 2612656 w 2704096"/>
                <a:gd name="connsiteY10" fmla="*/ 0 h 2376481"/>
                <a:gd name="connsiteX11" fmla="*/ 2607261 w 2704096"/>
                <a:gd name="connsiteY11" fmla="*/ 154488 h 2376481"/>
                <a:gd name="connsiteX12" fmla="*/ 2704096 w 2704096"/>
                <a:gd name="connsiteY12" fmla="*/ 249297 h 2376481"/>
                <a:gd name="connsiteX13" fmla="*/ 621210 w 2704096"/>
                <a:gd name="connsiteY13" fmla="*/ 258441 h 2376481"/>
                <a:gd name="connsiteX14" fmla="*/ 303794 w 2704096"/>
                <a:gd name="connsiteY14" fmla="*/ 575857 h 2376481"/>
                <a:gd name="connsiteX15" fmla="*/ 303795 w 2704096"/>
                <a:gd name="connsiteY15" fmla="*/ 2376481 h 2376481"/>
                <a:gd name="connsiteX16" fmla="*/ 45354 w 2704096"/>
                <a:gd name="connsiteY16" fmla="*/ 2376481 h 2376481"/>
                <a:gd name="connsiteX0" fmla="*/ 45354 w 2704096"/>
                <a:gd name="connsiteY0" fmla="*/ 2376481 h 2376481"/>
                <a:gd name="connsiteX1" fmla="*/ 72468 w 2704096"/>
                <a:gd name="connsiteY1" fmla="*/ 2082729 h 2376481"/>
                <a:gd name="connsiteX2" fmla="*/ 34368 w 2704096"/>
                <a:gd name="connsiteY2" fmla="*/ 1887466 h 2376481"/>
                <a:gd name="connsiteX3" fmla="*/ 77231 w 2704096"/>
                <a:gd name="connsiteY3" fmla="*/ 1306441 h 2376481"/>
                <a:gd name="connsiteX4" fmla="*/ 24843 w 2704096"/>
                <a:gd name="connsiteY4" fmla="*/ 939729 h 2376481"/>
                <a:gd name="connsiteX5" fmla="*/ 12016 w 2704096"/>
                <a:gd name="connsiteY5" fmla="*/ 571094 h 2376481"/>
                <a:gd name="connsiteX6" fmla="*/ 62944 w 2704096"/>
                <a:gd name="connsiteY6" fmla="*/ 434904 h 2376481"/>
                <a:gd name="connsiteX7" fmla="*/ 191532 w 2704096"/>
                <a:gd name="connsiteY7" fmla="*/ 239641 h 2376481"/>
                <a:gd name="connsiteX8" fmla="*/ 353457 w 2704096"/>
                <a:gd name="connsiteY8" fmla="*/ 111054 h 2376481"/>
                <a:gd name="connsiteX9" fmla="*/ 621210 w 2704096"/>
                <a:gd name="connsiteY9" fmla="*/ 0 h 2376481"/>
                <a:gd name="connsiteX10" fmla="*/ 1601232 w 2704096"/>
                <a:gd name="connsiteY10" fmla="*/ 1516 h 2376481"/>
                <a:gd name="connsiteX11" fmla="*/ 2612656 w 2704096"/>
                <a:gd name="connsiteY11" fmla="*/ 0 h 2376481"/>
                <a:gd name="connsiteX12" fmla="*/ 2607261 w 2704096"/>
                <a:gd name="connsiteY12" fmla="*/ 154488 h 2376481"/>
                <a:gd name="connsiteX13" fmla="*/ 2704096 w 2704096"/>
                <a:gd name="connsiteY13" fmla="*/ 249297 h 2376481"/>
                <a:gd name="connsiteX14" fmla="*/ 621210 w 2704096"/>
                <a:gd name="connsiteY14" fmla="*/ 258441 h 2376481"/>
                <a:gd name="connsiteX15" fmla="*/ 303794 w 2704096"/>
                <a:gd name="connsiteY15" fmla="*/ 575857 h 2376481"/>
                <a:gd name="connsiteX16" fmla="*/ 303795 w 2704096"/>
                <a:gd name="connsiteY16" fmla="*/ 2376481 h 2376481"/>
                <a:gd name="connsiteX17" fmla="*/ 45354 w 2704096"/>
                <a:gd name="connsiteY17" fmla="*/ 2376481 h 2376481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612656 w 2704096"/>
                <a:gd name="connsiteY12" fmla="*/ 27059 h 2403540"/>
                <a:gd name="connsiteX13" fmla="*/ 2607261 w 2704096"/>
                <a:gd name="connsiteY13" fmla="*/ 181547 h 2403540"/>
                <a:gd name="connsiteX14" fmla="*/ 2704096 w 2704096"/>
                <a:gd name="connsiteY14" fmla="*/ 276356 h 2403540"/>
                <a:gd name="connsiteX15" fmla="*/ 621210 w 2704096"/>
                <a:gd name="connsiteY15" fmla="*/ 285500 h 2403540"/>
                <a:gd name="connsiteX16" fmla="*/ 303794 w 2704096"/>
                <a:gd name="connsiteY16" fmla="*/ 602916 h 2403540"/>
                <a:gd name="connsiteX17" fmla="*/ 303795 w 2704096"/>
                <a:gd name="connsiteY17" fmla="*/ 2403540 h 2403540"/>
                <a:gd name="connsiteX18" fmla="*/ 45354 w 2704096"/>
                <a:gd name="connsiteY18" fmla="*/ 2403540 h 2403540"/>
                <a:gd name="connsiteX0" fmla="*/ 45354 w 2704096"/>
                <a:gd name="connsiteY0" fmla="*/ 2403540 h 2403540"/>
                <a:gd name="connsiteX1" fmla="*/ 72468 w 2704096"/>
                <a:gd name="connsiteY1" fmla="*/ 2109788 h 2403540"/>
                <a:gd name="connsiteX2" fmla="*/ 34368 w 2704096"/>
                <a:gd name="connsiteY2" fmla="*/ 1914525 h 2403540"/>
                <a:gd name="connsiteX3" fmla="*/ 77231 w 2704096"/>
                <a:gd name="connsiteY3" fmla="*/ 1333500 h 2403540"/>
                <a:gd name="connsiteX4" fmla="*/ 24843 w 2704096"/>
                <a:gd name="connsiteY4" fmla="*/ 966788 h 2403540"/>
                <a:gd name="connsiteX5" fmla="*/ 12016 w 2704096"/>
                <a:gd name="connsiteY5" fmla="*/ 598153 h 2403540"/>
                <a:gd name="connsiteX6" fmla="*/ 62944 w 2704096"/>
                <a:gd name="connsiteY6" fmla="*/ 461963 h 2403540"/>
                <a:gd name="connsiteX7" fmla="*/ 191532 w 2704096"/>
                <a:gd name="connsiteY7" fmla="*/ 266700 h 2403540"/>
                <a:gd name="connsiteX8" fmla="*/ 353457 w 2704096"/>
                <a:gd name="connsiteY8" fmla="*/ 138113 h 2403540"/>
                <a:gd name="connsiteX9" fmla="*/ 621210 w 2704096"/>
                <a:gd name="connsiteY9" fmla="*/ 27059 h 2403540"/>
                <a:gd name="connsiteX10" fmla="*/ 1601232 w 2704096"/>
                <a:gd name="connsiteY10" fmla="*/ 28575 h 2403540"/>
                <a:gd name="connsiteX11" fmla="*/ 1882219 w 2704096"/>
                <a:gd name="connsiteY11" fmla="*/ 0 h 2403540"/>
                <a:gd name="connsiteX12" fmla="*/ 2210832 w 2704096"/>
                <a:gd name="connsiteY12" fmla="*/ 57151 h 2403540"/>
                <a:gd name="connsiteX13" fmla="*/ 2612656 w 2704096"/>
                <a:gd name="connsiteY13" fmla="*/ 27059 h 2403540"/>
                <a:gd name="connsiteX14" fmla="*/ 2607261 w 2704096"/>
                <a:gd name="connsiteY14" fmla="*/ 181547 h 2403540"/>
                <a:gd name="connsiteX15" fmla="*/ 2704096 w 2704096"/>
                <a:gd name="connsiteY15" fmla="*/ 276356 h 2403540"/>
                <a:gd name="connsiteX16" fmla="*/ 621210 w 2704096"/>
                <a:gd name="connsiteY16" fmla="*/ 285500 h 2403540"/>
                <a:gd name="connsiteX17" fmla="*/ 303794 w 2704096"/>
                <a:gd name="connsiteY17" fmla="*/ 602916 h 2403540"/>
                <a:gd name="connsiteX18" fmla="*/ 303795 w 2704096"/>
                <a:gd name="connsiteY18" fmla="*/ 2403540 h 2403540"/>
                <a:gd name="connsiteX19" fmla="*/ 45354 w 2704096"/>
                <a:gd name="connsiteY19" fmla="*/ 2403540 h 2403540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601232 w 2704096"/>
                <a:gd name="connsiteY10" fmla="*/ 14288 h 2389253"/>
                <a:gd name="connsiteX11" fmla="*/ 1867932 w 2704096"/>
                <a:gd name="connsiteY11" fmla="*/ 0 h 2389253"/>
                <a:gd name="connsiteX12" fmla="*/ 2210832 w 2704096"/>
                <a:gd name="connsiteY12" fmla="*/ 42864 h 2389253"/>
                <a:gd name="connsiteX13" fmla="*/ 2612656 w 2704096"/>
                <a:gd name="connsiteY13" fmla="*/ 12772 h 2389253"/>
                <a:gd name="connsiteX14" fmla="*/ 2607261 w 2704096"/>
                <a:gd name="connsiteY14" fmla="*/ 167260 h 2389253"/>
                <a:gd name="connsiteX15" fmla="*/ 2704096 w 2704096"/>
                <a:gd name="connsiteY15" fmla="*/ 262069 h 2389253"/>
                <a:gd name="connsiteX16" fmla="*/ 621210 w 2704096"/>
                <a:gd name="connsiteY16" fmla="*/ 271213 h 2389253"/>
                <a:gd name="connsiteX17" fmla="*/ 303794 w 2704096"/>
                <a:gd name="connsiteY17" fmla="*/ 588629 h 2389253"/>
                <a:gd name="connsiteX18" fmla="*/ 303795 w 2704096"/>
                <a:gd name="connsiteY18" fmla="*/ 2389253 h 2389253"/>
                <a:gd name="connsiteX19" fmla="*/ 45354 w 2704096"/>
                <a:gd name="connsiteY19" fmla="*/ 2389253 h 2389253"/>
                <a:gd name="connsiteX0" fmla="*/ 45354 w 2704096"/>
                <a:gd name="connsiteY0" fmla="*/ 2389253 h 2389253"/>
                <a:gd name="connsiteX1" fmla="*/ 72468 w 2704096"/>
                <a:gd name="connsiteY1" fmla="*/ 2095501 h 2389253"/>
                <a:gd name="connsiteX2" fmla="*/ 34368 w 2704096"/>
                <a:gd name="connsiteY2" fmla="*/ 1900238 h 2389253"/>
                <a:gd name="connsiteX3" fmla="*/ 77231 w 2704096"/>
                <a:gd name="connsiteY3" fmla="*/ 1319213 h 2389253"/>
                <a:gd name="connsiteX4" fmla="*/ 24843 w 2704096"/>
                <a:gd name="connsiteY4" fmla="*/ 952501 h 2389253"/>
                <a:gd name="connsiteX5" fmla="*/ 12016 w 2704096"/>
                <a:gd name="connsiteY5" fmla="*/ 583866 h 2389253"/>
                <a:gd name="connsiteX6" fmla="*/ 62944 w 2704096"/>
                <a:gd name="connsiteY6" fmla="*/ 447676 h 2389253"/>
                <a:gd name="connsiteX7" fmla="*/ 191532 w 2704096"/>
                <a:gd name="connsiteY7" fmla="*/ 252413 h 2389253"/>
                <a:gd name="connsiteX8" fmla="*/ 353457 w 2704096"/>
                <a:gd name="connsiteY8" fmla="*/ 123826 h 2389253"/>
                <a:gd name="connsiteX9" fmla="*/ 621210 w 2704096"/>
                <a:gd name="connsiteY9" fmla="*/ 12772 h 2389253"/>
                <a:gd name="connsiteX10" fmla="*/ 1339294 w 2704096"/>
                <a:gd name="connsiteY10" fmla="*/ 33338 h 2389253"/>
                <a:gd name="connsiteX11" fmla="*/ 1601232 w 2704096"/>
                <a:gd name="connsiteY11" fmla="*/ 14288 h 2389253"/>
                <a:gd name="connsiteX12" fmla="*/ 1867932 w 2704096"/>
                <a:gd name="connsiteY12" fmla="*/ 0 h 2389253"/>
                <a:gd name="connsiteX13" fmla="*/ 2210832 w 2704096"/>
                <a:gd name="connsiteY13" fmla="*/ 42864 h 2389253"/>
                <a:gd name="connsiteX14" fmla="*/ 2612656 w 2704096"/>
                <a:gd name="connsiteY14" fmla="*/ 12772 h 2389253"/>
                <a:gd name="connsiteX15" fmla="*/ 2607261 w 2704096"/>
                <a:gd name="connsiteY15" fmla="*/ 167260 h 2389253"/>
                <a:gd name="connsiteX16" fmla="*/ 2704096 w 2704096"/>
                <a:gd name="connsiteY16" fmla="*/ 262069 h 2389253"/>
                <a:gd name="connsiteX17" fmla="*/ 621210 w 2704096"/>
                <a:gd name="connsiteY17" fmla="*/ 271213 h 2389253"/>
                <a:gd name="connsiteX18" fmla="*/ 303794 w 2704096"/>
                <a:gd name="connsiteY18" fmla="*/ 588629 h 2389253"/>
                <a:gd name="connsiteX19" fmla="*/ 303795 w 2704096"/>
                <a:gd name="connsiteY19" fmla="*/ 2389253 h 2389253"/>
                <a:gd name="connsiteX20" fmla="*/ 45354 w 2704096"/>
                <a:gd name="connsiteY20" fmla="*/ 2389253 h 2389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704096" h="2389253">
                  <a:moveTo>
                    <a:pt x="45354" y="2389253"/>
                  </a:moveTo>
                  <a:cubicBezTo>
                    <a:pt x="44867" y="2292923"/>
                    <a:pt x="72955" y="2191831"/>
                    <a:pt x="72468" y="2095501"/>
                  </a:cubicBezTo>
                  <a:cubicBezTo>
                    <a:pt x="72468" y="2058988"/>
                    <a:pt x="34368" y="1936751"/>
                    <a:pt x="34368" y="1900238"/>
                  </a:cubicBezTo>
                  <a:cubicBezTo>
                    <a:pt x="37543" y="1711326"/>
                    <a:pt x="74056" y="1508125"/>
                    <a:pt x="77231" y="1319213"/>
                  </a:cubicBezTo>
                  <a:cubicBezTo>
                    <a:pt x="74056" y="1201738"/>
                    <a:pt x="28018" y="1069976"/>
                    <a:pt x="24843" y="952501"/>
                  </a:cubicBezTo>
                  <a:cubicBezTo>
                    <a:pt x="65017" y="807397"/>
                    <a:pt x="5179" y="705157"/>
                    <a:pt x="12016" y="583866"/>
                  </a:cubicBezTo>
                  <a:cubicBezTo>
                    <a:pt x="13604" y="499729"/>
                    <a:pt x="-38588" y="542858"/>
                    <a:pt x="62944" y="447676"/>
                  </a:cubicBezTo>
                  <a:cubicBezTo>
                    <a:pt x="96832" y="391640"/>
                    <a:pt x="143113" y="306388"/>
                    <a:pt x="191532" y="252413"/>
                  </a:cubicBezTo>
                  <a:cubicBezTo>
                    <a:pt x="239951" y="198438"/>
                    <a:pt x="285813" y="162972"/>
                    <a:pt x="353457" y="123826"/>
                  </a:cubicBezTo>
                  <a:cubicBezTo>
                    <a:pt x="421101" y="84680"/>
                    <a:pt x="455316" y="30235"/>
                    <a:pt x="621210" y="12772"/>
                  </a:cubicBezTo>
                  <a:cubicBezTo>
                    <a:pt x="863746" y="14865"/>
                    <a:pt x="1096758" y="31245"/>
                    <a:pt x="1339294" y="33338"/>
                  </a:cubicBezTo>
                  <a:lnTo>
                    <a:pt x="1601232" y="14288"/>
                  </a:lnTo>
                  <a:cubicBezTo>
                    <a:pt x="1691719" y="14288"/>
                    <a:pt x="1777445" y="0"/>
                    <a:pt x="1867932" y="0"/>
                  </a:cubicBezTo>
                  <a:cubicBezTo>
                    <a:pt x="1974295" y="3175"/>
                    <a:pt x="2104469" y="39689"/>
                    <a:pt x="2210832" y="42864"/>
                  </a:cubicBezTo>
                  <a:lnTo>
                    <a:pt x="2612656" y="12772"/>
                  </a:lnTo>
                  <a:cubicBezTo>
                    <a:pt x="2613906" y="55124"/>
                    <a:pt x="2606011" y="124908"/>
                    <a:pt x="2607261" y="167260"/>
                  </a:cubicBezTo>
                  <a:lnTo>
                    <a:pt x="2704096" y="262069"/>
                  </a:lnTo>
                  <a:lnTo>
                    <a:pt x="621210" y="271213"/>
                  </a:lnTo>
                  <a:cubicBezTo>
                    <a:pt x="445906" y="271213"/>
                    <a:pt x="303794" y="413325"/>
                    <a:pt x="303794" y="588629"/>
                  </a:cubicBezTo>
                  <a:cubicBezTo>
                    <a:pt x="303794" y="1188837"/>
                    <a:pt x="303795" y="1789045"/>
                    <a:pt x="303795" y="2389253"/>
                  </a:cubicBezTo>
                  <a:lnTo>
                    <a:pt x="45354" y="2389253"/>
                  </a:lnTo>
                  <a:close/>
                </a:path>
              </a:pathLst>
            </a:custGeom>
            <a:pattFill prst="dkDnDiag">
              <a:fgClr>
                <a:schemeClr val="accent4">
                  <a:lumMod val="75000"/>
                </a:schemeClr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sp>
          <p:nvSpPr>
            <p:cNvPr id="186" name="Rettangolo 6"/>
            <p:cNvSpPr/>
            <p:nvPr/>
          </p:nvSpPr>
          <p:spPr>
            <a:xfrm>
              <a:off x="5469425" y="3918628"/>
              <a:ext cx="71641" cy="701052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93751" h="3895880">
                  <a:moveTo>
                    <a:pt x="0" y="155"/>
                  </a:moveTo>
                  <a:cubicBezTo>
                    <a:pt x="42672" y="-2893"/>
                    <a:pt x="112776" y="39779"/>
                    <a:pt x="155448" y="36731"/>
                  </a:cubicBezTo>
                  <a:lnTo>
                    <a:pt x="265176" y="155"/>
                  </a:lnTo>
                  <a:cubicBezTo>
                    <a:pt x="284519" y="34413"/>
                    <a:pt x="272833" y="-24291"/>
                    <a:pt x="276269" y="242282"/>
                  </a:cubicBezTo>
                  <a:cubicBezTo>
                    <a:pt x="278912" y="437418"/>
                    <a:pt x="265156" y="954275"/>
                    <a:pt x="271506" y="1180494"/>
                  </a:cubicBezTo>
                  <a:cubicBezTo>
                    <a:pt x="277856" y="1406713"/>
                    <a:pt x="290556" y="1456719"/>
                    <a:pt x="285794" y="1599594"/>
                  </a:cubicBezTo>
                  <a:cubicBezTo>
                    <a:pt x="281032" y="1742469"/>
                    <a:pt x="255633" y="1921063"/>
                    <a:pt x="252458" y="2028219"/>
                  </a:cubicBezTo>
                  <a:cubicBezTo>
                    <a:pt x="250338" y="2401948"/>
                    <a:pt x="252457" y="2104420"/>
                    <a:pt x="257219" y="2252057"/>
                  </a:cubicBezTo>
                  <a:cubicBezTo>
                    <a:pt x="261981" y="2399694"/>
                    <a:pt x="281033" y="2755294"/>
                    <a:pt x="281033" y="2914044"/>
                  </a:cubicBezTo>
                  <a:cubicBezTo>
                    <a:pt x="286589" y="3122800"/>
                    <a:pt x="266744" y="3105338"/>
                    <a:pt x="266744" y="3195032"/>
                  </a:cubicBezTo>
                  <a:cubicBezTo>
                    <a:pt x="266744" y="3284726"/>
                    <a:pt x="268333" y="3369657"/>
                    <a:pt x="261983" y="3433157"/>
                  </a:cubicBezTo>
                  <a:cubicBezTo>
                    <a:pt x="255633" y="3496657"/>
                    <a:pt x="263832" y="3594162"/>
                    <a:pt x="266745" y="3661757"/>
                  </a:cubicBezTo>
                  <a:lnTo>
                    <a:pt x="293751" y="3895880"/>
                  </a:lnTo>
                  <a:lnTo>
                    <a:pt x="0" y="3886355"/>
                  </a:lnTo>
                  <a:lnTo>
                    <a:pt x="0" y="155"/>
                  </a:lnTo>
                  <a:close/>
                </a:path>
              </a:pathLst>
            </a:custGeom>
            <a:pattFill prst="dkUpDiag">
              <a:fgClr>
                <a:schemeClr val="accent3">
                  <a:lumMod val="75000"/>
                </a:schemeClr>
              </a:fgClr>
              <a:bgClr>
                <a:schemeClr val="bg1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>
                <a:solidFill>
                  <a:schemeClr val="tx1"/>
                </a:solidFill>
              </a:endParaRPr>
            </a:p>
          </p:txBody>
        </p:sp>
        <p:grpSp>
          <p:nvGrpSpPr>
            <p:cNvPr id="188" name="Gruppo 187"/>
            <p:cNvGrpSpPr/>
            <p:nvPr/>
          </p:nvGrpSpPr>
          <p:grpSpPr>
            <a:xfrm>
              <a:off x="7408206" y="3881653"/>
              <a:ext cx="589706" cy="725597"/>
              <a:chOff x="5674120" y="1790653"/>
              <a:chExt cx="2462139" cy="3332465"/>
            </a:xfrm>
          </p:grpSpPr>
          <p:sp>
            <p:nvSpPr>
              <p:cNvPr id="189" name="Freccia curva 2"/>
              <p:cNvSpPr/>
              <p:nvPr/>
            </p:nvSpPr>
            <p:spPr>
              <a:xfrm flipV="1">
                <a:off x="6084815" y="2733865"/>
                <a:ext cx="2051444" cy="2389253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51444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866756" y="0"/>
                      <a:pt x="1957243" y="0"/>
                    </a:cubicBezTo>
                    <a:lnTo>
                      <a:pt x="1881071" y="145914"/>
                    </a:lnTo>
                    <a:lnTo>
                      <a:pt x="2051444" y="26893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Rettangolo 6"/>
              <p:cNvSpPr/>
              <p:nvPr/>
            </p:nvSpPr>
            <p:spPr>
              <a:xfrm>
                <a:off x="5674120" y="1790653"/>
                <a:ext cx="300621" cy="3028426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0621" h="3028426">
                    <a:moveTo>
                      <a:pt x="0" y="60154"/>
                    </a:moveTo>
                    <a:cubicBezTo>
                      <a:pt x="42672" y="57106"/>
                      <a:pt x="85296" y="106648"/>
                      <a:pt x="127968" y="103600"/>
                    </a:cubicBezTo>
                    <a:lnTo>
                      <a:pt x="283139" y="0"/>
                    </a:lnTo>
                    <a:cubicBezTo>
                      <a:pt x="285782" y="195136"/>
                      <a:pt x="272026" y="86821"/>
                      <a:pt x="278376" y="313040"/>
                    </a:cubicBezTo>
                    <a:cubicBezTo>
                      <a:pt x="284726" y="539259"/>
                      <a:pt x="297426" y="589265"/>
                      <a:pt x="292664" y="732140"/>
                    </a:cubicBezTo>
                    <a:cubicBezTo>
                      <a:pt x="287902" y="875015"/>
                      <a:pt x="262503" y="1053609"/>
                      <a:pt x="259328" y="1160765"/>
                    </a:cubicBezTo>
                    <a:cubicBezTo>
                      <a:pt x="257208" y="1534494"/>
                      <a:pt x="259327" y="1236966"/>
                      <a:pt x="264089" y="1384603"/>
                    </a:cubicBezTo>
                    <a:cubicBezTo>
                      <a:pt x="268851" y="1532240"/>
                      <a:pt x="287903" y="1887840"/>
                      <a:pt x="287903" y="2046590"/>
                    </a:cubicBezTo>
                    <a:cubicBezTo>
                      <a:pt x="293459" y="2255346"/>
                      <a:pt x="273614" y="2237884"/>
                      <a:pt x="273614" y="2327578"/>
                    </a:cubicBezTo>
                    <a:cubicBezTo>
                      <a:pt x="273614" y="2417272"/>
                      <a:pt x="275203" y="2502203"/>
                      <a:pt x="268853" y="2565703"/>
                    </a:cubicBezTo>
                    <a:cubicBezTo>
                      <a:pt x="262503" y="2629203"/>
                      <a:pt x="270702" y="2726708"/>
                      <a:pt x="273615" y="2794303"/>
                    </a:cubicBezTo>
                    <a:lnTo>
                      <a:pt x="300621" y="3028426"/>
                    </a:lnTo>
                    <a:lnTo>
                      <a:pt x="6870" y="3018901"/>
                    </a:lnTo>
                    <a:lnTo>
                      <a:pt x="0" y="60154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2" name="Gruppo 191"/>
            <p:cNvGrpSpPr/>
            <p:nvPr/>
          </p:nvGrpSpPr>
          <p:grpSpPr>
            <a:xfrm rot="16200000">
              <a:off x="7396629" y="4141686"/>
              <a:ext cx="126613" cy="279884"/>
              <a:chOff x="5308435" y="4212641"/>
              <a:chExt cx="436890" cy="1168570"/>
            </a:xfrm>
          </p:grpSpPr>
          <p:sp>
            <p:nvSpPr>
              <p:cNvPr id="193" name="Rectangle 325"/>
              <p:cNvSpPr>
                <a:spLocks noChangeArrowheads="1"/>
              </p:cNvSpPr>
              <p:nvPr/>
            </p:nvSpPr>
            <p:spPr bwMode="auto">
              <a:xfrm rot="5400000">
                <a:off x="4961582" y="4652820"/>
                <a:ext cx="1129280" cy="248921"/>
              </a:xfrm>
              <a:prstGeom prst="rect">
                <a:avLst/>
              </a:prstGeom>
              <a:gradFill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4" name="Ritaglia angolo stesso lato rettangolo 193"/>
              <p:cNvSpPr/>
              <p:nvPr/>
            </p:nvSpPr>
            <p:spPr>
              <a:xfrm rot="10800000">
                <a:off x="5308435" y="5302631"/>
                <a:ext cx="436890" cy="78580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0" scaled="1"/>
                <a:tileRect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95" name="Group 327"/>
            <p:cNvGrpSpPr>
              <a:grpSpLocks/>
            </p:cNvGrpSpPr>
            <p:nvPr/>
          </p:nvGrpSpPr>
          <p:grpSpPr bwMode="auto">
            <a:xfrm flipV="1">
              <a:off x="7336405" y="4217888"/>
              <a:ext cx="70225" cy="124604"/>
              <a:chOff x="957" y="1985"/>
              <a:chExt cx="256" cy="318"/>
            </a:xfrm>
          </p:grpSpPr>
          <p:sp>
            <p:nvSpPr>
              <p:cNvPr id="196" name="AutoShape 328"/>
              <p:cNvSpPr>
                <a:spLocks noChangeArrowheads="1"/>
              </p:cNvSpPr>
              <p:nvPr/>
            </p:nvSpPr>
            <p:spPr bwMode="auto">
              <a:xfrm rot="5400000" flipH="1">
                <a:off x="974" y="2117"/>
                <a:ext cx="314" cy="53"/>
              </a:xfrm>
              <a:custGeom>
                <a:avLst/>
                <a:gdLst>
                  <a:gd name="T0" fmla="*/ 4 w 21600"/>
                  <a:gd name="T1" fmla="*/ 0 h 21600"/>
                  <a:gd name="T2" fmla="*/ 2 w 21600"/>
                  <a:gd name="T3" fmla="*/ 0 h 21600"/>
                  <a:gd name="T4" fmla="*/ 0 w 21600"/>
                  <a:gd name="T5" fmla="*/ 0 h 21600"/>
                  <a:gd name="T6" fmla="*/ 2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20 w 21600"/>
                  <a:gd name="T13" fmla="*/ 2853 h 21600"/>
                  <a:gd name="T14" fmla="*/ 18780 w 21600"/>
                  <a:gd name="T15" fmla="*/ 1874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2076" y="21600"/>
                    </a:lnTo>
                    <a:lnTo>
                      <a:pt x="19524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7" name="Rectangle 329"/>
              <p:cNvSpPr>
                <a:spLocks noChangeArrowheads="1"/>
              </p:cNvSpPr>
              <p:nvPr/>
            </p:nvSpPr>
            <p:spPr bwMode="auto">
              <a:xfrm flipH="1">
                <a:off x="957" y="2017"/>
                <a:ext cx="153" cy="256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8" name="Rectangle 330"/>
              <p:cNvSpPr>
                <a:spLocks noChangeArrowheads="1"/>
              </p:cNvSpPr>
              <p:nvPr/>
            </p:nvSpPr>
            <p:spPr bwMode="auto">
              <a:xfrm flipH="1">
                <a:off x="1158" y="1985"/>
                <a:ext cx="55" cy="318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</p:grpSp>
        <p:cxnSp>
          <p:nvCxnSpPr>
            <p:cNvPr id="199" name="Connettore 1 198"/>
            <p:cNvCxnSpPr>
              <a:stCxn id="193" idx="1"/>
              <a:endCxn id="193" idx="3"/>
            </p:cNvCxnSpPr>
            <p:nvPr/>
          </p:nvCxnSpPr>
          <p:spPr>
            <a:xfrm>
              <a:off x="7319993" y="4281818"/>
              <a:ext cx="270473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lg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09030" y="754444"/>
              <a:ext cx="552688" cy="32843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292" name="Gruppo 291"/>
            <p:cNvGrpSpPr/>
            <p:nvPr/>
          </p:nvGrpSpPr>
          <p:grpSpPr>
            <a:xfrm rot="1053938">
              <a:off x="1849201" y="883979"/>
              <a:ext cx="417141" cy="992510"/>
              <a:chOff x="461977" y="4457251"/>
              <a:chExt cx="1081422" cy="2126483"/>
            </a:xfrm>
          </p:grpSpPr>
          <p:sp>
            <p:nvSpPr>
              <p:cNvPr id="293" name="Figura a mano libera 292"/>
              <p:cNvSpPr/>
              <p:nvPr/>
            </p:nvSpPr>
            <p:spPr>
              <a:xfrm>
                <a:off x="1108093" y="4457251"/>
                <a:ext cx="435306" cy="1314596"/>
              </a:xfrm>
              <a:custGeom>
                <a:avLst/>
                <a:gdLst>
                  <a:gd name="connsiteX0" fmla="*/ 1459 w 476080"/>
                  <a:gd name="connsiteY0" fmla="*/ 1729408 h 1731897"/>
                  <a:gd name="connsiteX1" fmla="*/ 51155 w 476080"/>
                  <a:gd name="connsiteY1" fmla="*/ 1659835 h 1731897"/>
                  <a:gd name="connsiteX2" fmla="*/ 438781 w 476080"/>
                  <a:gd name="connsiteY2" fmla="*/ 1093304 h 1731897"/>
                  <a:gd name="connsiteX3" fmla="*/ 438781 w 476080"/>
                  <a:gd name="connsiteY3" fmla="*/ 0 h 1731897"/>
                  <a:gd name="connsiteX0" fmla="*/ 1459 w 438799"/>
                  <a:gd name="connsiteY0" fmla="*/ 1910601 h 1913090"/>
                  <a:gd name="connsiteX1" fmla="*/ 51155 w 438799"/>
                  <a:gd name="connsiteY1" fmla="*/ 1841028 h 1913090"/>
                  <a:gd name="connsiteX2" fmla="*/ 438781 w 438799"/>
                  <a:gd name="connsiteY2" fmla="*/ 1274497 h 1913090"/>
                  <a:gd name="connsiteX3" fmla="*/ 34166 w 438799"/>
                  <a:gd name="connsiteY3" fmla="*/ 0 h 1913090"/>
                  <a:gd name="connsiteX0" fmla="*/ 8586 w 445821"/>
                  <a:gd name="connsiteY0" fmla="*/ 1910601 h 1934081"/>
                  <a:gd name="connsiteX1" fmla="*/ 58282 w 445821"/>
                  <a:gd name="connsiteY1" fmla="*/ 1841028 h 1934081"/>
                  <a:gd name="connsiteX2" fmla="*/ 445802 w 445821"/>
                  <a:gd name="connsiteY2" fmla="*/ 1092039 h 1934081"/>
                  <a:gd name="connsiteX3" fmla="*/ 41293 w 445821"/>
                  <a:gd name="connsiteY3" fmla="*/ 0 h 1934081"/>
                  <a:gd name="connsiteX0" fmla="*/ 7891 w 428518"/>
                  <a:gd name="connsiteY0" fmla="*/ 1910601 h 1924702"/>
                  <a:gd name="connsiteX1" fmla="*/ 57587 w 428518"/>
                  <a:gd name="connsiteY1" fmla="*/ 1841028 h 1924702"/>
                  <a:gd name="connsiteX2" fmla="*/ 428498 w 428518"/>
                  <a:gd name="connsiteY2" fmla="*/ 1271292 h 1924702"/>
                  <a:gd name="connsiteX3" fmla="*/ 40598 w 428518"/>
                  <a:gd name="connsiteY3" fmla="*/ 0 h 1924702"/>
                  <a:gd name="connsiteX0" fmla="*/ 7891 w 435307"/>
                  <a:gd name="connsiteY0" fmla="*/ 1910601 h 1924702"/>
                  <a:gd name="connsiteX1" fmla="*/ 57587 w 435307"/>
                  <a:gd name="connsiteY1" fmla="*/ 1841028 h 1924702"/>
                  <a:gd name="connsiteX2" fmla="*/ 428498 w 435307"/>
                  <a:gd name="connsiteY2" fmla="*/ 1271292 h 1924702"/>
                  <a:gd name="connsiteX3" fmla="*/ 40598 w 435307"/>
                  <a:gd name="connsiteY3" fmla="*/ 0 h 192470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435307" h="1924702">
                    <a:moveTo>
                      <a:pt x="7891" y="1910601"/>
                    </a:moveTo>
                    <a:cubicBezTo>
                      <a:pt x="-3705" y="1928823"/>
                      <a:pt x="-12514" y="1947580"/>
                      <a:pt x="57587" y="1841028"/>
                    </a:cubicBezTo>
                    <a:cubicBezTo>
                      <a:pt x="127688" y="1734476"/>
                      <a:pt x="489049" y="1556021"/>
                      <a:pt x="428498" y="1271292"/>
                    </a:cubicBezTo>
                    <a:cubicBezTo>
                      <a:pt x="367947" y="986563"/>
                      <a:pt x="72900" y="408332"/>
                      <a:pt x="40598" y="0"/>
                    </a:cubicBezTo>
                  </a:path>
                </a:pathLst>
              </a:custGeom>
              <a:noFill/>
              <a:ln w="25400" cmpd="dbl">
                <a:solidFill>
                  <a:srgbClr val="002060"/>
                </a:solidFill>
                <a:headEnd w="lg" len="lg"/>
                <a:tailEnd type="oval" w="sm" len="sm"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294" name="Rettangolo con singolo angolo ritagliato 293"/>
              <p:cNvSpPr/>
              <p:nvPr/>
            </p:nvSpPr>
            <p:spPr>
              <a:xfrm rot="18648123">
                <a:off x="148671" y="5606010"/>
                <a:ext cx="1291030" cy="664417"/>
              </a:xfrm>
              <a:prstGeom prst="snip1Rect">
                <a:avLst>
                  <a:gd name="adj" fmla="val 34322"/>
                </a:avLst>
              </a:prstGeom>
              <a:pattFill prst="pct25">
                <a:fgClr>
                  <a:schemeClr val="tx1">
                    <a:lumMod val="85000"/>
                    <a:lumOff val="1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  <a:effectLst>
                <a:outerShdw blurRad="50800" dist="38100" dir="2700000" sx="110000" sy="11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827" dirty="0"/>
              </a:p>
            </p:txBody>
          </p:sp>
          <p:sp>
            <p:nvSpPr>
              <p:cNvPr id="295" name="Rettangolo arrotondato 294"/>
              <p:cNvSpPr/>
              <p:nvPr/>
            </p:nvSpPr>
            <p:spPr>
              <a:xfrm rot="18636994">
                <a:off x="230952" y="5877992"/>
                <a:ext cx="716624" cy="213691"/>
              </a:xfrm>
              <a:prstGeom prst="roundRect">
                <a:avLst/>
              </a:prstGeom>
              <a:ln>
                <a:solidFill>
                  <a:schemeClr val="tx1"/>
                </a:solidFill>
              </a:ln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it-IT" sz="662" dirty="0">
                    <a:solidFill>
                      <a:srgbClr val="002060"/>
                    </a:solidFill>
                    <a:latin typeface="Tw Cen MT Condensed" panose="020B0606020104020203" pitchFamily="34" charset="0"/>
                  </a:rPr>
                  <a:t>0.0125</a:t>
                </a:r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296" name="Rettangolo arrotondato 295"/>
              <p:cNvSpPr/>
              <p:nvPr/>
            </p:nvSpPr>
            <p:spPr>
              <a:xfrm rot="18636994">
                <a:off x="503897" y="6272006"/>
                <a:ext cx="284137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  <p:sp>
            <p:nvSpPr>
              <p:cNvPr id="297" name="Rettangolo arrotondato 296"/>
              <p:cNvSpPr/>
              <p:nvPr/>
            </p:nvSpPr>
            <p:spPr>
              <a:xfrm rot="18636994">
                <a:off x="765335" y="6017645"/>
                <a:ext cx="284136" cy="77769"/>
              </a:xfrm>
              <a:prstGeom prst="roundRect">
                <a:avLst/>
              </a:prstGeom>
              <a:gradFill>
                <a:gsLst>
                  <a:gs pos="0">
                    <a:srgbClr val="DDEBCF"/>
                  </a:gs>
                  <a:gs pos="50000">
                    <a:srgbClr val="9CB86E"/>
                  </a:gs>
                  <a:gs pos="100000">
                    <a:srgbClr val="156B13"/>
                  </a:gs>
                </a:gsLst>
                <a:lin ang="16200000" scaled="0"/>
              </a:gra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662" dirty="0">
                  <a:solidFill>
                    <a:srgbClr val="002060"/>
                  </a:solidFill>
                  <a:latin typeface="Tw Cen MT Condensed" panose="020B0606020104020203" pitchFamily="34" charset="0"/>
                </a:endParaRPr>
              </a:p>
            </p:txBody>
          </p:sp>
        </p:grpSp>
      </p:grpSp>
      <p:sp>
        <p:nvSpPr>
          <p:cNvPr id="63" name="Titolo 4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Ottimizzazione processo esistente</a:t>
            </a:r>
            <a:br>
              <a:rPr lang="it-IT" dirty="0" smtClean="0"/>
            </a:br>
            <a:r>
              <a:rPr lang="it-IT" sz="2700" dirty="0" err="1" smtClean="0"/>
              <a:t>Shim</a:t>
            </a:r>
            <a:r>
              <a:rPr lang="it-IT" sz="2700" dirty="0" smtClean="0"/>
              <a:t> in composito fresato</a:t>
            </a:r>
            <a:endParaRPr lang="en-GB" dirty="0"/>
          </a:p>
        </p:txBody>
      </p:sp>
      <p:sp>
        <p:nvSpPr>
          <p:cNvPr id="2" name="Croce 1"/>
          <p:cNvSpPr/>
          <p:nvPr/>
        </p:nvSpPr>
        <p:spPr>
          <a:xfrm rot="2836993">
            <a:off x="3391665" y="1055033"/>
            <a:ext cx="1533114" cy="1533114"/>
          </a:xfrm>
          <a:prstGeom prst="plus">
            <a:avLst>
              <a:gd name="adj" fmla="val 43639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6" name="Croce 65"/>
          <p:cNvSpPr/>
          <p:nvPr/>
        </p:nvSpPr>
        <p:spPr>
          <a:xfrm rot="2836993">
            <a:off x="4798505" y="897455"/>
            <a:ext cx="1533114" cy="1533114"/>
          </a:xfrm>
          <a:prstGeom prst="plus">
            <a:avLst>
              <a:gd name="adj" fmla="val 43639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8" name="Croce 67"/>
          <p:cNvSpPr/>
          <p:nvPr/>
        </p:nvSpPr>
        <p:spPr>
          <a:xfrm rot="2836993">
            <a:off x="4969127" y="2401253"/>
            <a:ext cx="1533114" cy="1533114"/>
          </a:xfrm>
          <a:prstGeom prst="plus">
            <a:avLst>
              <a:gd name="adj" fmla="val 43639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3" name="Gruppo 2"/>
          <p:cNvGrpSpPr/>
          <p:nvPr/>
        </p:nvGrpSpPr>
        <p:grpSpPr>
          <a:xfrm>
            <a:off x="114910" y="1416752"/>
            <a:ext cx="2977897" cy="851812"/>
            <a:chOff x="39717" y="1437759"/>
            <a:chExt cx="3721254" cy="1064445"/>
          </a:xfrm>
        </p:grpSpPr>
        <p:pic>
          <p:nvPicPr>
            <p:cNvPr id="69" name="Immagine 68"/>
            <p:cNvPicPr>
              <a:picLocks noChangeAspect="1"/>
            </p:cNvPicPr>
            <p:nvPr/>
          </p:nvPicPr>
          <p:blipFill rotWithShape="1">
            <a:blip r:embed="rId3"/>
            <a:srcRect r="32713"/>
            <a:stretch/>
          </p:blipFill>
          <p:spPr>
            <a:xfrm>
              <a:off x="39717" y="1437759"/>
              <a:ext cx="684229" cy="1064445"/>
            </a:xfrm>
            <a:prstGeom prst="rect">
              <a:avLst/>
            </a:prstGeom>
          </p:spPr>
        </p:pic>
        <p:grpSp>
          <p:nvGrpSpPr>
            <p:cNvPr id="71" name="Gruppo 70"/>
            <p:cNvGrpSpPr/>
            <p:nvPr/>
          </p:nvGrpSpPr>
          <p:grpSpPr>
            <a:xfrm>
              <a:off x="1643610" y="1562059"/>
              <a:ext cx="2117361" cy="900124"/>
              <a:chOff x="179512" y="-551834"/>
              <a:chExt cx="9384407" cy="5748435"/>
            </a:xfrm>
          </p:grpSpPr>
          <p:pic>
            <p:nvPicPr>
              <p:cNvPr id="72" name="Immagine 71"/>
              <p:cNvPicPr>
                <a:picLocks noChangeAspect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9735" b="89381" l="543" r="99023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20640552" flipV="1">
                <a:off x="179512" y="-551834"/>
                <a:ext cx="8772525" cy="2560346"/>
              </a:xfrm>
              <a:prstGeom prst="rect">
                <a:avLst/>
              </a:prstGeom>
            </p:spPr>
          </p:pic>
          <p:pic>
            <p:nvPicPr>
              <p:cNvPr id="73" name="Immagine 72"/>
              <p:cNvPicPr>
                <a:picLocks noChangeAspect="1"/>
              </p:cNvPicPr>
              <p:nvPr/>
            </p:nvPicPr>
            <p:blipFill>
              <a:blip r:embed="rId6">
                <a:extLst>
                  <a:ext uri="{BEBA8EAE-BF5A-486C-A8C5-ECC9F3942E4B}">
                    <a14:imgProps xmlns:a14="http://schemas.microsoft.com/office/drawing/2010/main">
                      <a14:imgLayer r:embed="rId7">
                        <a14:imgEffect>
                          <a14:backgroundRemoval t="1873" b="100000" l="0" r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20640552" flipV="1">
                <a:off x="467544" y="984408"/>
                <a:ext cx="9096375" cy="2543176"/>
              </a:xfrm>
              <a:prstGeom prst="rect">
                <a:avLst/>
              </a:prstGeom>
            </p:spPr>
          </p:pic>
          <p:pic>
            <p:nvPicPr>
              <p:cNvPr id="74" name="Immagine 73"/>
              <p:cNvPicPr>
                <a:picLocks noChangeAspect="1"/>
              </p:cNvPicPr>
              <p:nvPr/>
            </p:nvPicPr>
            <p:blipFill>
              <a:blip r:embed="rId4">
                <a:extLst>
                  <a:ext uri="{BEBA8EAE-BF5A-486C-A8C5-ECC9F3942E4B}">
                    <a14:imgProps xmlns:a14="http://schemas.microsoft.com/office/drawing/2010/main">
                      <a14:imgLayer r:embed="rId5">
                        <a14:imgEffect>
                          <a14:backgroundRemoval t="9735" b="89381" l="543" r="99023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20640552" flipV="1">
                <a:off x="629468" y="2739117"/>
                <a:ext cx="8772525" cy="2457484"/>
              </a:xfrm>
              <a:prstGeom prst="rect">
                <a:avLst/>
              </a:prstGeom>
            </p:spPr>
          </p:pic>
        </p:grpSp>
        <p:cxnSp>
          <p:nvCxnSpPr>
            <p:cNvPr id="75" name="Connettore diritto 74"/>
            <p:cNvCxnSpPr/>
            <p:nvPr/>
          </p:nvCxnSpPr>
          <p:spPr>
            <a:xfrm>
              <a:off x="428210" y="1730733"/>
              <a:ext cx="3057019" cy="69243"/>
            </a:xfrm>
            <a:prstGeom prst="line">
              <a:avLst/>
            </a:prstGeom>
            <a:ln>
              <a:solidFill>
                <a:srgbClr val="FF0000"/>
              </a:solidFill>
              <a:headEnd type="non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ttore diritto 75"/>
            <p:cNvCxnSpPr/>
            <p:nvPr/>
          </p:nvCxnSpPr>
          <p:spPr>
            <a:xfrm>
              <a:off x="428209" y="1757541"/>
              <a:ext cx="2161948" cy="512071"/>
            </a:xfrm>
            <a:prstGeom prst="line">
              <a:avLst/>
            </a:prstGeom>
            <a:ln>
              <a:solidFill>
                <a:srgbClr val="FF0000"/>
              </a:solidFill>
              <a:headEnd type="non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77" name="Immagine 76"/>
            <p:cNvPicPr>
              <a:picLocks noChangeAspect="1"/>
            </p:cNvPicPr>
            <p:nvPr/>
          </p:nvPicPr>
          <p:blipFill rotWithShape="1">
            <a:blip r:embed="rId8">
              <a:extLst>
                <a:ext uri="{BEBA8EAE-BF5A-486C-A8C5-ECC9F3942E4B}">
                  <a14:imgProps xmlns:a14="http://schemas.microsoft.com/office/drawing/2010/main">
                    <a14:imgLayer r:embed="rId9">
                      <a14:imgEffect>
                        <a14:backgroundRemoval t="0" b="100000" l="61954" r="100000"/>
                      </a14:imgEffect>
                    </a14:imgLayer>
                  </a14:imgProps>
                </a:ext>
              </a:extLst>
            </a:blip>
            <a:srcRect l="64711"/>
            <a:stretch/>
          </p:blipFill>
          <p:spPr>
            <a:xfrm rot="18524022">
              <a:off x="1448698" y="1374821"/>
              <a:ext cx="354967" cy="1076071"/>
            </a:xfrm>
            <a:prstGeom prst="rect">
              <a:avLst/>
            </a:prstGeom>
          </p:spPr>
        </p:pic>
      </p:grpSp>
      <p:pic>
        <p:nvPicPr>
          <p:cNvPr id="79" name="Immagine 7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65302" y="2617183"/>
            <a:ext cx="2153907" cy="1133635"/>
          </a:xfrm>
          <a:prstGeom prst="rect">
            <a:avLst/>
          </a:prstGeom>
        </p:spPr>
      </p:pic>
      <p:sp>
        <p:nvSpPr>
          <p:cNvPr id="5" name="Freccia in giù 4"/>
          <p:cNvSpPr/>
          <p:nvPr/>
        </p:nvSpPr>
        <p:spPr>
          <a:xfrm>
            <a:off x="2313197" y="2265353"/>
            <a:ext cx="327637" cy="2761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0" name="Croce 79"/>
          <p:cNvSpPr/>
          <p:nvPr/>
        </p:nvSpPr>
        <p:spPr>
          <a:xfrm rot="2836993">
            <a:off x="6404672" y="2601907"/>
            <a:ext cx="1533114" cy="1533114"/>
          </a:xfrm>
          <a:prstGeom prst="plus">
            <a:avLst>
              <a:gd name="adj" fmla="val 43639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1" name="Croce 80"/>
          <p:cNvSpPr/>
          <p:nvPr/>
        </p:nvSpPr>
        <p:spPr>
          <a:xfrm rot="2836993">
            <a:off x="6377391" y="3541340"/>
            <a:ext cx="1533114" cy="1533114"/>
          </a:xfrm>
          <a:prstGeom prst="plus">
            <a:avLst>
              <a:gd name="adj" fmla="val 43639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ttangolo 81"/>
          <p:cNvSpPr/>
          <p:nvPr/>
        </p:nvSpPr>
        <p:spPr>
          <a:xfrm>
            <a:off x="193029" y="2464026"/>
            <a:ext cx="1183708" cy="45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23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Parts Measurement</a:t>
            </a:r>
            <a:endParaRPr lang="en-US" sz="1323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83" name="Rettangolo 82"/>
          <p:cNvSpPr/>
          <p:nvPr/>
        </p:nvSpPr>
        <p:spPr>
          <a:xfrm>
            <a:off x="1943951" y="3672980"/>
            <a:ext cx="1183708" cy="45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23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Virtual Shim Simulator</a:t>
            </a:r>
            <a:endParaRPr lang="en-US" sz="1323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6" name="Freccia a destra 5"/>
          <p:cNvSpPr/>
          <p:nvPr/>
        </p:nvSpPr>
        <p:spPr>
          <a:xfrm rot="20262864">
            <a:off x="3309676" y="2993890"/>
            <a:ext cx="3258185" cy="324085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32274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" name="Titolo 1"/>
          <p:cNvSpPr txBox="1">
            <a:spLocks/>
          </p:cNvSpPr>
          <p:nvPr/>
        </p:nvSpPr>
        <p:spPr>
          <a:xfrm>
            <a:off x="1169525" y="3852644"/>
            <a:ext cx="3850150" cy="779252"/>
          </a:xfrm>
          <a:prstGeom prst="rect">
            <a:avLst/>
          </a:prstGeom>
          <a:solidFill>
            <a:srgbClr val="CCFF33"/>
          </a:solidFill>
        </p:spPr>
        <p:txBody>
          <a:bodyPr wrap="square">
            <a:spAutoFit/>
          </a:bodyPr>
          <a:lstStyle>
            <a:defPPr>
              <a:defRPr lang="it-IT"/>
            </a:defPPr>
            <a:lvl1pPr eaLnBrk="0" hangingPunct="0">
              <a:defRPr sz="1800" b="1" i="0">
                <a:latin typeface="Arial Narrow" panose="020B0606020202030204" pitchFamily="34" charset="0"/>
                <a:ea typeface="ＭＳ Ｐゴシック" charset="0"/>
                <a:cs typeface="Arial"/>
              </a:defRPr>
            </a:lvl1pPr>
            <a:lvl2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2pPr>
            <a:lvl3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3pPr>
            <a:lvl4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4pPr>
            <a:lvl5pPr algn="ctr" eaLnBrk="0" hangingPunct="0"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5pPr>
            <a:lvl6pPr marL="4572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fontAlgn="base">
              <a:spcBef>
                <a:spcPct val="0"/>
              </a:spcBef>
              <a:spcAft>
                <a:spcPct val="0"/>
              </a:spcAft>
              <a:defRPr sz="4400"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88" dirty="0" smtClean="0"/>
              <a:t>Il </a:t>
            </a:r>
            <a:r>
              <a:rPr lang="en-US" sz="1488" dirty="0" err="1" smtClean="0"/>
              <a:t>processo</a:t>
            </a:r>
            <a:r>
              <a:rPr lang="en-US" sz="1488" dirty="0" smtClean="0"/>
              <a:t> è </a:t>
            </a:r>
            <a:r>
              <a:rPr lang="en-US" sz="1488" dirty="0" err="1" smtClean="0"/>
              <a:t>totalmente</a:t>
            </a:r>
            <a:r>
              <a:rPr lang="en-US" sz="1488" dirty="0" smtClean="0"/>
              <a:t> </a:t>
            </a:r>
            <a:r>
              <a:rPr lang="en-US" sz="1488" dirty="0" err="1" smtClean="0"/>
              <a:t>automatizzato</a:t>
            </a:r>
            <a:r>
              <a:rPr lang="en-US" sz="1488" dirty="0" smtClean="0"/>
              <a:t>, non </a:t>
            </a:r>
            <a:r>
              <a:rPr lang="en-US" sz="1488" dirty="0" err="1" smtClean="0"/>
              <a:t>richiede</a:t>
            </a:r>
            <a:r>
              <a:rPr lang="en-US" sz="1488" dirty="0" smtClean="0"/>
              <a:t> </a:t>
            </a:r>
            <a:r>
              <a:rPr lang="en-US" sz="1488" dirty="0" err="1" smtClean="0"/>
              <a:t>iterazioni</a:t>
            </a:r>
            <a:r>
              <a:rPr lang="en-US" sz="1488" dirty="0" smtClean="0"/>
              <a:t> e </a:t>
            </a:r>
            <a:r>
              <a:rPr lang="en-US" sz="1488" dirty="0" err="1" smtClean="0"/>
              <a:t>utilizza</a:t>
            </a:r>
            <a:r>
              <a:rPr lang="en-US" sz="1488" dirty="0" smtClean="0"/>
              <a:t> Tecnologie e </a:t>
            </a:r>
            <a:r>
              <a:rPr lang="en-US" sz="1488" dirty="0" err="1" smtClean="0"/>
              <a:t>materiali</a:t>
            </a:r>
            <a:r>
              <a:rPr lang="en-US" sz="1488" dirty="0" smtClean="0"/>
              <a:t> </a:t>
            </a:r>
            <a:r>
              <a:rPr lang="en-US" sz="1488" dirty="0" err="1" smtClean="0"/>
              <a:t>innovativi</a:t>
            </a:r>
            <a:endParaRPr lang="en-US" sz="1488" dirty="0"/>
          </a:p>
        </p:txBody>
      </p:sp>
      <p:sp>
        <p:nvSpPr>
          <p:cNvPr id="122" name="Rettangolo 121"/>
          <p:cNvSpPr/>
          <p:nvPr/>
        </p:nvSpPr>
        <p:spPr>
          <a:xfrm>
            <a:off x="5993754" y="3143741"/>
            <a:ext cx="1056051" cy="45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23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3D Print Shim</a:t>
            </a:r>
            <a:endParaRPr lang="en-US" sz="1323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65" name="Rettangolo arrotondato 64"/>
          <p:cNvSpPr/>
          <p:nvPr/>
        </p:nvSpPr>
        <p:spPr>
          <a:xfrm>
            <a:off x="8338030" y="3143742"/>
            <a:ext cx="994040" cy="456197"/>
          </a:xfrm>
          <a:prstGeom prst="roundRect">
            <a:avLst>
              <a:gd name="adj" fmla="val 38726"/>
            </a:avLst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323" b="1" dirty="0">
                <a:solidFill>
                  <a:srgbClr val="002060"/>
                </a:solidFill>
                <a:latin typeface="Arial Narrow" panose="020B0606020202030204" pitchFamily="34" charset="0"/>
              </a:rPr>
              <a:t>Shim installation</a:t>
            </a:r>
            <a:endParaRPr lang="en-US" sz="1323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29" name="Connettore 2 128"/>
          <p:cNvCxnSpPr>
            <a:stCxn id="83" idx="3"/>
            <a:endCxn id="122" idx="1"/>
          </p:cNvCxnSpPr>
          <p:nvPr/>
        </p:nvCxnSpPr>
        <p:spPr>
          <a:xfrm flipV="1">
            <a:off x="4213979" y="3371840"/>
            <a:ext cx="1779775" cy="17971"/>
          </a:xfrm>
          <a:prstGeom prst="straightConnector1">
            <a:avLst/>
          </a:prstGeom>
          <a:ln>
            <a:solidFill>
              <a:srgbClr val="00206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1" name="Gruppo 10"/>
          <p:cNvGrpSpPr/>
          <p:nvPr/>
        </p:nvGrpSpPr>
        <p:grpSpPr>
          <a:xfrm>
            <a:off x="8402957" y="1566965"/>
            <a:ext cx="1122043" cy="1075732"/>
            <a:chOff x="8402957" y="2050367"/>
            <a:chExt cx="617829" cy="592329"/>
          </a:xfrm>
        </p:grpSpPr>
        <p:sp>
          <p:nvSpPr>
            <p:cNvPr id="187" name="Rettangolo 6"/>
            <p:cNvSpPr/>
            <p:nvPr/>
          </p:nvSpPr>
          <p:spPr>
            <a:xfrm>
              <a:off x="8516162" y="2218018"/>
              <a:ext cx="89804" cy="362979"/>
            </a:xfrm>
            <a:custGeom>
              <a:avLst/>
              <a:gdLst>
                <a:gd name="connsiteX0" fmla="*/ 0 w 265176"/>
                <a:gd name="connsiteY0" fmla="*/ 0 h 3886200"/>
                <a:gd name="connsiteX1" fmla="*/ 265176 w 265176"/>
                <a:gd name="connsiteY1" fmla="*/ 0 h 3886200"/>
                <a:gd name="connsiteX2" fmla="*/ 265176 w 265176"/>
                <a:gd name="connsiteY2" fmla="*/ 3886200 h 3886200"/>
                <a:gd name="connsiteX3" fmla="*/ 0 w 265176"/>
                <a:gd name="connsiteY3" fmla="*/ 3886200 h 3886200"/>
                <a:gd name="connsiteX4" fmla="*/ 0 w 265176"/>
                <a:gd name="connsiteY4" fmla="*/ 0 h 3886200"/>
                <a:gd name="connsiteX0" fmla="*/ 0 w 265176"/>
                <a:gd name="connsiteY0" fmla="*/ 155 h 3886355"/>
                <a:gd name="connsiteX1" fmla="*/ 155448 w 265176"/>
                <a:gd name="connsiteY1" fmla="*/ 36731 h 3886355"/>
                <a:gd name="connsiteX2" fmla="*/ 265176 w 265176"/>
                <a:gd name="connsiteY2" fmla="*/ 155 h 3886355"/>
                <a:gd name="connsiteX3" fmla="*/ 265176 w 265176"/>
                <a:gd name="connsiteY3" fmla="*/ 3886355 h 3886355"/>
                <a:gd name="connsiteX4" fmla="*/ 0 w 265176"/>
                <a:gd name="connsiteY4" fmla="*/ 3886355 h 3886355"/>
                <a:gd name="connsiteX5" fmla="*/ 0 w 265176"/>
                <a:gd name="connsiteY5" fmla="*/ 155 h 3886355"/>
                <a:gd name="connsiteX0" fmla="*/ 0 w 265186"/>
                <a:gd name="connsiteY0" fmla="*/ 155 h 3886355"/>
                <a:gd name="connsiteX1" fmla="*/ 155448 w 265186"/>
                <a:gd name="connsiteY1" fmla="*/ 36731 h 3886355"/>
                <a:gd name="connsiteX2" fmla="*/ 265176 w 265186"/>
                <a:gd name="connsiteY2" fmla="*/ 155 h 3886355"/>
                <a:gd name="connsiteX3" fmla="*/ 247695 w 265186"/>
                <a:gd name="connsiteY3" fmla="*/ 3661757 h 3886355"/>
                <a:gd name="connsiteX4" fmla="*/ 265176 w 265186"/>
                <a:gd name="connsiteY4" fmla="*/ 3886355 h 3886355"/>
                <a:gd name="connsiteX5" fmla="*/ 0 w 265186"/>
                <a:gd name="connsiteY5" fmla="*/ 3886355 h 3886355"/>
                <a:gd name="connsiteX6" fmla="*/ 0 w 265186"/>
                <a:gd name="connsiteY6" fmla="*/ 155 h 3886355"/>
                <a:gd name="connsiteX0" fmla="*/ 0 w 281981"/>
                <a:gd name="connsiteY0" fmla="*/ 155 h 3886355"/>
                <a:gd name="connsiteX1" fmla="*/ 155448 w 281981"/>
                <a:gd name="connsiteY1" fmla="*/ 36731 h 3886355"/>
                <a:gd name="connsiteX2" fmla="*/ 265176 w 281981"/>
                <a:gd name="connsiteY2" fmla="*/ 155 h 3886355"/>
                <a:gd name="connsiteX3" fmla="*/ 281033 w 281981"/>
                <a:gd name="connsiteY3" fmla="*/ 3452207 h 3886355"/>
                <a:gd name="connsiteX4" fmla="*/ 247695 w 281981"/>
                <a:gd name="connsiteY4" fmla="*/ 3661757 h 3886355"/>
                <a:gd name="connsiteX5" fmla="*/ 265176 w 281981"/>
                <a:gd name="connsiteY5" fmla="*/ 3886355 h 3886355"/>
                <a:gd name="connsiteX6" fmla="*/ 0 w 281981"/>
                <a:gd name="connsiteY6" fmla="*/ 3886355 h 3886355"/>
                <a:gd name="connsiteX7" fmla="*/ 0 w 281981"/>
                <a:gd name="connsiteY7" fmla="*/ 155 h 3886355"/>
                <a:gd name="connsiteX0" fmla="*/ 0 w 281533"/>
                <a:gd name="connsiteY0" fmla="*/ 155 h 3886355"/>
                <a:gd name="connsiteX1" fmla="*/ 155448 w 281533"/>
                <a:gd name="connsiteY1" fmla="*/ 36731 h 3886355"/>
                <a:gd name="connsiteX2" fmla="*/ 265176 w 281533"/>
                <a:gd name="connsiteY2" fmla="*/ 155 h 3886355"/>
                <a:gd name="connsiteX3" fmla="*/ 252458 w 281533"/>
                <a:gd name="connsiteY3" fmla="*/ 2028219 h 3886355"/>
                <a:gd name="connsiteX4" fmla="*/ 281033 w 281533"/>
                <a:gd name="connsiteY4" fmla="*/ 3452207 h 3886355"/>
                <a:gd name="connsiteX5" fmla="*/ 247695 w 281533"/>
                <a:gd name="connsiteY5" fmla="*/ 3661757 h 3886355"/>
                <a:gd name="connsiteX6" fmla="*/ 265176 w 281533"/>
                <a:gd name="connsiteY6" fmla="*/ 3886355 h 3886355"/>
                <a:gd name="connsiteX7" fmla="*/ 0 w 281533"/>
                <a:gd name="connsiteY7" fmla="*/ 3886355 h 3886355"/>
                <a:gd name="connsiteX8" fmla="*/ 0 w 281533"/>
                <a:gd name="connsiteY8" fmla="*/ 155 h 3886355"/>
                <a:gd name="connsiteX0" fmla="*/ 0 w 284314"/>
                <a:gd name="connsiteY0" fmla="*/ 155 h 3886355"/>
                <a:gd name="connsiteX1" fmla="*/ 155448 w 284314"/>
                <a:gd name="connsiteY1" fmla="*/ 36731 h 3886355"/>
                <a:gd name="connsiteX2" fmla="*/ 265176 w 284314"/>
                <a:gd name="connsiteY2" fmla="*/ 155 h 3886355"/>
                <a:gd name="connsiteX3" fmla="*/ 252458 w 284314"/>
                <a:gd name="connsiteY3" fmla="*/ 2028219 h 3886355"/>
                <a:gd name="connsiteX4" fmla="*/ 281033 w 284314"/>
                <a:gd name="connsiteY4" fmla="*/ 2914044 h 3886355"/>
                <a:gd name="connsiteX5" fmla="*/ 281033 w 284314"/>
                <a:gd name="connsiteY5" fmla="*/ 3452207 h 3886355"/>
                <a:gd name="connsiteX6" fmla="*/ 247695 w 284314"/>
                <a:gd name="connsiteY6" fmla="*/ 3661757 h 3886355"/>
                <a:gd name="connsiteX7" fmla="*/ 265176 w 284314"/>
                <a:gd name="connsiteY7" fmla="*/ 3886355 h 3886355"/>
                <a:gd name="connsiteX8" fmla="*/ 0 w 284314"/>
                <a:gd name="connsiteY8" fmla="*/ 3886355 h 3886355"/>
                <a:gd name="connsiteX9" fmla="*/ 0 w 284314"/>
                <a:gd name="connsiteY9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4769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81033 w 281804"/>
                <a:gd name="connsiteY4" fmla="*/ 2914044 h 3886355"/>
                <a:gd name="connsiteX5" fmla="*/ 252457 w 281804"/>
                <a:gd name="connsiteY5" fmla="*/ 3195032 h 3886355"/>
                <a:gd name="connsiteX6" fmla="*/ 281033 w 281804"/>
                <a:gd name="connsiteY6" fmla="*/ 3452207 h 3886355"/>
                <a:gd name="connsiteX7" fmla="*/ 266745 w 281804"/>
                <a:gd name="connsiteY7" fmla="*/ 3661757 h 3886355"/>
                <a:gd name="connsiteX8" fmla="*/ 265176 w 281804"/>
                <a:gd name="connsiteY8" fmla="*/ 3886355 h 3886355"/>
                <a:gd name="connsiteX9" fmla="*/ 0 w 281804"/>
                <a:gd name="connsiteY9" fmla="*/ 3886355 h 3886355"/>
                <a:gd name="connsiteX10" fmla="*/ 0 w 281804"/>
                <a:gd name="connsiteY10" fmla="*/ 155 h 3886355"/>
                <a:gd name="connsiteX0" fmla="*/ 0 w 281804"/>
                <a:gd name="connsiteY0" fmla="*/ 155 h 3886355"/>
                <a:gd name="connsiteX1" fmla="*/ 155448 w 281804"/>
                <a:gd name="connsiteY1" fmla="*/ 36731 h 3886355"/>
                <a:gd name="connsiteX2" fmla="*/ 265176 w 281804"/>
                <a:gd name="connsiteY2" fmla="*/ 155 h 3886355"/>
                <a:gd name="connsiteX3" fmla="*/ 252458 w 281804"/>
                <a:gd name="connsiteY3" fmla="*/ 2028219 h 3886355"/>
                <a:gd name="connsiteX4" fmla="*/ 233407 w 281804"/>
                <a:gd name="connsiteY4" fmla="*/ 2242532 h 3886355"/>
                <a:gd name="connsiteX5" fmla="*/ 281033 w 281804"/>
                <a:gd name="connsiteY5" fmla="*/ 2914044 h 3886355"/>
                <a:gd name="connsiteX6" fmla="*/ 252457 w 281804"/>
                <a:gd name="connsiteY6" fmla="*/ 3195032 h 3886355"/>
                <a:gd name="connsiteX7" fmla="*/ 281033 w 281804"/>
                <a:gd name="connsiteY7" fmla="*/ 3452207 h 3886355"/>
                <a:gd name="connsiteX8" fmla="*/ 266745 w 281804"/>
                <a:gd name="connsiteY8" fmla="*/ 3661757 h 3886355"/>
                <a:gd name="connsiteX9" fmla="*/ 265176 w 281804"/>
                <a:gd name="connsiteY9" fmla="*/ 3886355 h 3886355"/>
                <a:gd name="connsiteX10" fmla="*/ 0 w 281804"/>
                <a:gd name="connsiteY10" fmla="*/ 3886355 h 3886355"/>
                <a:gd name="connsiteX11" fmla="*/ 0 w 281804"/>
                <a:gd name="connsiteY11" fmla="*/ 155 h 3886355"/>
                <a:gd name="connsiteX0" fmla="*/ 0 w 286180"/>
                <a:gd name="connsiteY0" fmla="*/ 155 h 3886355"/>
                <a:gd name="connsiteX1" fmla="*/ 155448 w 286180"/>
                <a:gd name="connsiteY1" fmla="*/ 36731 h 3886355"/>
                <a:gd name="connsiteX2" fmla="*/ 265176 w 286180"/>
                <a:gd name="connsiteY2" fmla="*/ 155 h 3886355"/>
                <a:gd name="connsiteX3" fmla="*/ 285794 w 286180"/>
                <a:gd name="connsiteY3" fmla="*/ 1599594 h 3886355"/>
                <a:gd name="connsiteX4" fmla="*/ 252458 w 286180"/>
                <a:gd name="connsiteY4" fmla="*/ 2028219 h 3886355"/>
                <a:gd name="connsiteX5" fmla="*/ 233407 w 286180"/>
                <a:gd name="connsiteY5" fmla="*/ 2242532 h 3886355"/>
                <a:gd name="connsiteX6" fmla="*/ 281033 w 286180"/>
                <a:gd name="connsiteY6" fmla="*/ 2914044 h 3886355"/>
                <a:gd name="connsiteX7" fmla="*/ 252457 w 286180"/>
                <a:gd name="connsiteY7" fmla="*/ 3195032 h 3886355"/>
                <a:gd name="connsiteX8" fmla="*/ 281033 w 286180"/>
                <a:gd name="connsiteY8" fmla="*/ 3452207 h 3886355"/>
                <a:gd name="connsiteX9" fmla="*/ 266745 w 286180"/>
                <a:gd name="connsiteY9" fmla="*/ 3661757 h 3886355"/>
                <a:gd name="connsiteX10" fmla="*/ 265176 w 286180"/>
                <a:gd name="connsiteY10" fmla="*/ 3886355 h 3886355"/>
                <a:gd name="connsiteX11" fmla="*/ 0 w 286180"/>
                <a:gd name="connsiteY11" fmla="*/ 3886355 h 3886355"/>
                <a:gd name="connsiteX12" fmla="*/ 0 w 286180"/>
                <a:gd name="connsiteY12" fmla="*/ 155 h 3886355"/>
                <a:gd name="connsiteX0" fmla="*/ 0 w 285982"/>
                <a:gd name="connsiteY0" fmla="*/ 155 h 3886355"/>
                <a:gd name="connsiteX1" fmla="*/ 155448 w 285982"/>
                <a:gd name="connsiteY1" fmla="*/ 36731 h 3886355"/>
                <a:gd name="connsiteX2" fmla="*/ 265176 w 285982"/>
                <a:gd name="connsiteY2" fmla="*/ 155 h 3886355"/>
                <a:gd name="connsiteX3" fmla="*/ 247694 w 285982"/>
                <a:gd name="connsiteY3" fmla="*/ 242282 h 3886355"/>
                <a:gd name="connsiteX4" fmla="*/ 285794 w 285982"/>
                <a:gd name="connsiteY4" fmla="*/ 1599594 h 3886355"/>
                <a:gd name="connsiteX5" fmla="*/ 252458 w 285982"/>
                <a:gd name="connsiteY5" fmla="*/ 2028219 h 3886355"/>
                <a:gd name="connsiteX6" fmla="*/ 233407 w 285982"/>
                <a:gd name="connsiteY6" fmla="*/ 2242532 h 3886355"/>
                <a:gd name="connsiteX7" fmla="*/ 281033 w 285982"/>
                <a:gd name="connsiteY7" fmla="*/ 2914044 h 3886355"/>
                <a:gd name="connsiteX8" fmla="*/ 252457 w 285982"/>
                <a:gd name="connsiteY8" fmla="*/ 3195032 h 3886355"/>
                <a:gd name="connsiteX9" fmla="*/ 281033 w 285982"/>
                <a:gd name="connsiteY9" fmla="*/ 3452207 h 3886355"/>
                <a:gd name="connsiteX10" fmla="*/ 266745 w 285982"/>
                <a:gd name="connsiteY10" fmla="*/ 3661757 h 3886355"/>
                <a:gd name="connsiteX11" fmla="*/ 265176 w 285982"/>
                <a:gd name="connsiteY11" fmla="*/ 3886355 h 3886355"/>
                <a:gd name="connsiteX12" fmla="*/ 0 w 285982"/>
                <a:gd name="connsiteY12" fmla="*/ 3886355 h 3886355"/>
                <a:gd name="connsiteX13" fmla="*/ 0 w 285982"/>
                <a:gd name="connsiteY13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47694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354"/>
                <a:gd name="connsiteY0" fmla="*/ 155 h 3886355"/>
                <a:gd name="connsiteX1" fmla="*/ 155448 w 286354"/>
                <a:gd name="connsiteY1" fmla="*/ 36731 h 3886355"/>
                <a:gd name="connsiteX2" fmla="*/ 265176 w 286354"/>
                <a:gd name="connsiteY2" fmla="*/ 155 h 3886355"/>
                <a:gd name="connsiteX3" fmla="*/ 276269 w 286354"/>
                <a:gd name="connsiteY3" fmla="*/ 242282 h 3886355"/>
                <a:gd name="connsiteX4" fmla="*/ 257219 w 286354"/>
                <a:gd name="connsiteY4" fmla="*/ 1180494 h 3886355"/>
                <a:gd name="connsiteX5" fmla="*/ 285794 w 286354"/>
                <a:gd name="connsiteY5" fmla="*/ 1599594 h 3886355"/>
                <a:gd name="connsiteX6" fmla="*/ 252458 w 286354"/>
                <a:gd name="connsiteY6" fmla="*/ 2028219 h 3886355"/>
                <a:gd name="connsiteX7" fmla="*/ 233407 w 286354"/>
                <a:gd name="connsiteY7" fmla="*/ 2242532 h 3886355"/>
                <a:gd name="connsiteX8" fmla="*/ 281033 w 286354"/>
                <a:gd name="connsiteY8" fmla="*/ 2914044 h 3886355"/>
                <a:gd name="connsiteX9" fmla="*/ 252457 w 286354"/>
                <a:gd name="connsiteY9" fmla="*/ 3195032 h 3886355"/>
                <a:gd name="connsiteX10" fmla="*/ 281033 w 286354"/>
                <a:gd name="connsiteY10" fmla="*/ 3452207 h 3886355"/>
                <a:gd name="connsiteX11" fmla="*/ 266745 w 286354"/>
                <a:gd name="connsiteY11" fmla="*/ 3661757 h 3886355"/>
                <a:gd name="connsiteX12" fmla="*/ 265176 w 286354"/>
                <a:gd name="connsiteY12" fmla="*/ 3886355 h 3886355"/>
                <a:gd name="connsiteX13" fmla="*/ 0 w 286354"/>
                <a:gd name="connsiteY13" fmla="*/ 3886355 h 3886355"/>
                <a:gd name="connsiteX14" fmla="*/ 0 w 286354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33407 w 286838"/>
                <a:gd name="connsiteY7" fmla="*/ 2242532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81033 w 286838"/>
                <a:gd name="connsiteY10" fmla="*/ 345220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52457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86838"/>
                <a:gd name="connsiteY0" fmla="*/ 155 h 3886355"/>
                <a:gd name="connsiteX1" fmla="*/ 155448 w 286838"/>
                <a:gd name="connsiteY1" fmla="*/ 36731 h 3886355"/>
                <a:gd name="connsiteX2" fmla="*/ 265176 w 286838"/>
                <a:gd name="connsiteY2" fmla="*/ 155 h 3886355"/>
                <a:gd name="connsiteX3" fmla="*/ 276269 w 286838"/>
                <a:gd name="connsiteY3" fmla="*/ 242282 h 3886355"/>
                <a:gd name="connsiteX4" fmla="*/ 271506 w 286838"/>
                <a:gd name="connsiteY4" fmla="*/ 1180494 h 3886355"/>
                <a:gd name="connsiteX5" fmla="*/ 285794 w 286838"/>
                <a:gd name="connsiteY5" fmla="*/ 1599594 h 3886355"/>
                <a:gd name="connsiteX6" fmla="*/ 252458 w 286838"/>
                <a:gd name="connsiteY6" fmla="*/ 2028219 h 3886355"/>
                <a:gd name="connsiteX7" fmla="*/ 257219 w 286838"/>
                <a:gd name="connsiteY7" fmla="*/ 2252057 h 3886355"/>
                <a:gd name="connsiteX8" fmla="*/ 281033 w 286838"/>
                <a:gd name="connsiteY8" fmla="*/ 2914044 h 3886355"/>
                <a:gd name="connsiteX9" fmla="*/ 266744 w 286838"/>
                <a:gd name="connsiteY9" fmla="*/ 3195032 h 3886355"/>
                <a:gd name="connsiteX10" fmla="*/ 261983 w 286838"/>
                <a:gd name="connsiteY10" fmla="*/ 3433157 h 3886355"/>
                <a:gd name="connsiteX11" fmla="*/ 266745 w 286838"/>
                <a:gd name="connsiteY11" fmla="*/ 3661757 h 3886355"/>
                <a:gd name="connsiteX12" fmla="*/ 265176 w 286838"/>
                <a:gd name="connsiteY12" fmla="*/ 3886355 h 3886355"/>
                <a:gd name="connsiteX13" fmla="*/ 0 w 286838"/>
                <a:gd name="connsiteY13" fmla="*/ 3886355 h 3886355"/>
                <a:gd name="connsiteX14" fmla="*/ 0 w 286838"/>
                <a:gd name="connsiteY14" fmla="*/ 155 h 3886355"/>
                <a:gd name="connsiteX0" fmla="*/ 0 w 293751"/>
                <a:gd name="connsiteY0" fmla="*/ 155 h 3895880"/>
                <a:gd name="connsiteX1" fmla="*/ 155448 w 293751"/>
                <a:gd name="connsiteY1" fmla="*/ 36731 h 3895880"/>
                <a:gd name="connsiteX2" fmla="*/ 265176 w 293751"/>
                <a:gd name="connsiteY2" fmla="*/ 155 h 3895880"/>
                <a:gd name="connsiteX3" fmla="*/ 276269 w 293751"/>
                <a:gd name="connsiteY3" fmla="*/ 242282 h 3895880"/>
                <a:gd name="connsiteX4" fmla="*/ 271506 w 293751"/>
                <a:gd name="connsiteY4" fmla="*/ 1180494 h 3895880"/>
                <a:gd name="connsiteX5" fmla="*/ 285794 w 293751"/>
                <a:gd name="connsiteY5" fmla="*/ 1599594 h 3895880"/>
                <a:gd name="connsiteX6" fmla="*/ 252458 w 293751"/>
                <a:gd name="connsiteY6" fmla="*/ 2028219 h 3895880"/>
                <a:gd name="connsiteX7" fmla="*/ 257219 w 293751"/>
                <a:gd name="connsiteY7" fmla="*/ 2252057 h 3895880"/>
                <a:gd name="connsiteX8" fmla="*/ 281033 w 293751"/>
                <a:gd name="connsiteY8" fmla="*/ 2914044 h 3895880"/>
                <a:gd name="connsiteX9" fmla="*/ 266744 w 293751"/>
                <a:gd name="connsiteY9" fmla="*/ 3195032 h 3895880"/>
                <a:gd name="connsiteX10" fmla="*/ 261983 w 293751"/>
                <a:gd name="connsiteY10" fmla="*/ 3433157 h 3895880"/>
                <a:gd name="connsiteX11" fmla="*/ 266745 w 293751"/>
                <a:gd name="connsiteY11" fmla="*/ 3661757 h 3895880"/>
                <a:gd name="connsiteX12" fmla="*/ 293751 w 293751"/>
                <a:gd name="connsiteY12" fmla="*/ 3895880 h 3895880"/>
                <a:gd name="connsiteX13" fmla="*/ 0 w 293751"/>
                <a:gd name="connsiteY13" fmla="*/ 3886355 h 3895880"/>
                <a:gd name="connsiteX14" fmla="*/ 0 w 293751"/>
                <a:gd name="connsiteY14" fmla="*/ 155 h 3895880"/>
                <a:gd name="connsiteX0" fmla="*/ 0 w 300621"/>
                <a:gd name="connsiteY0" fmla="*/ 927453 h 3895725"/>
                <a:gd name="connsiteX1" fmla="*/ 162318 w 300621"/>
                <a:gd name="connsiteY1" fmla="*/ 36576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927453 h 3895725"/>
                <a:gd name="connsiteX1" fmla="*/ 127968 w 300621"/>
                <a:gd name="connsiteY1" fmla="*/ 970899 h 3895725"/>
                <a:gd name="connsiteX2" fmla="*/ 272046 w 300621"/>
                <a:gd name="connsiteY2" fmla="*/ 0 h 3895725"/>
                <a:gd name="connsiteX3" fmla="*/ 283139 w 300621"/>
                <a:gd name="connsiteY3" fmla="*/ 242127 h 3895725"/>
                <a:gd name="connsiteX4" fmla="*/ 278376 w 300621"/>
                <a:gd name="connsiteY4" fmla="*/ 1180339 h 3895725"/>
                <a:gd name="connsiteX5" fmla="*/ 292664 w 300621"/>
                <a:gd name="connsiteY5" fmla="*/ 1599439 h 3895725"/>
                <a:gd name="connsiteX6" fmla="*/ 259328 w 300621"/>
                <a:gd name="connsiteY6" fmla="*/ 2028064 h 3895725"/>
                <a:gd name="connsiteX7" fmla="*/ 264089 w 300621"/>
                <a:gd name="connsiteY7" fmla="*/ 2251902 h 3895725"/>
                <a:gd name="connsiteX8" fmla="*/ 287903 w 300621"/>
                <a:gd name="connsiteY8" fmla="*/ 2913889 h 3895725"/>
                <a:gd name="connsiteX9" fmla="*/ 273614 w 300621"/>
                <a:gd name="connsiteY9" fmla="*/ 3194877 h 3895725"/>
                <a:gd name="connsiteX10" fmla="*/ 268853 w 300621"/>
                <a:gd name="connsiteY10" fmla="*/ 3433002 h 3895725"/>
                <a:gd name="connsiteX11" fmla="*/ 273615 w 300621"/>
                <a:gd name="connsiteY11" fmla="*/ 3661602 h 3895725"/>
                <a:gd name="connsiteX12" fmla="*/ 300621 w 300621"/>
                <a:gd name="connsiteY12" fmla="*/ 3895725 h 3895725"/>
                <a:gd name="connsiteX13" fmla="*/ 6870 w 300621"/>
                <a:gd name="connsiteY13" fmla="*/ 3886200 h 3895725"/>
                <a:gd name="connsiteX14" fmla="*/ 0 w 300621"/>
                <a:gd name="connsiteY14" fmla="*/ 927453 h 3895725"/>
                <a:gd name="connsiteX0" fmla="*/ 0 w 300621"/>
                <a:gd name="connsiteY0" fmla="*/ 685326 h 3653598"/>
                <a:gd name="connsiteX1" fmla="*/ 127968 w 300621"/>
                <a:gd name="connsiteY1" fmla="*/ 728772 h 3653598"/>
                <a:gd name="connsiteX2" fmla="*/ 283139 w 300621"/>
                <a:gd name="connsiteY2" fmla="*/ 0 h 3653598"/>
                <a:gd name="connsiteX3" fmla="*/ 278376 w 300621"/>
                <a:gd name="connsiteY3" fmla="*/ 938212 h 3653598"/>
                <a:gd name="connsiteX4" fmla="*/ 292664 w 300621"/>
                <a:gd name="connsiteY4" fmla="*/ 1357312 h 3653598"/>
                <a:gd name="connsiteX5" fmla="*/ 259328 w 300621"/>
                <a:gd name="connsiteY5" fmla="*/ 1785937 h 3653598"/>
                <a:gd name="connsiteX6" fmla="*/ 264089 w 300621"/>
                <a:gd name="connsiteY6" fmla="*/ 2009775 h 3653598"/>
                <a:gd name="connsiteX7" fmla="*/ 287903 w 300621"/>
                <a:gd name="connsiteY7" fmla="*/ 2671762 h 3653598"/>
                <a:gd name="connsiteX8" fmla="*/ 273614 w 300621"/>
                <a:gd name="connsiteY8" fmla="*/ 2952750 h 3653598"/>
                <a:gd name="connsiteX9" fmla="*/ 268853 w 300621"/>
                <a:gd name="connsiteY9" fmla="*/ 3190875 h 3653598"/>
                <a:gd name="connsiteX10" fmla="*/ 273615 w 300621"/>
                <a:gd name="connsiteY10" fmla="*/ 3419475 h 3653598"/>
                <a:gd name="connsiteX11" fmla="*/ 300621 w 300621"/>
                <a:gd name="connsiteY11" fmla="*/ 3653598 h 3653598"/>
                <a:gd name="connsiteX12" fmla="*/ 6870 w 300621"/>
                <a:gd name="connsiteY12" fmla="*/ 3644073 h 3653598"/>
                <a:gd name="connsiteX13" fmla="*/ 0 w 300621"/>
                <a:gd name="connsiteY13" fmla="*/ 685326 h 3653598"/>
                <a:gd name="connsiteX0" fmla="*/ 0 w 300621"/>
                <a:gd name="connsiteY0" fmla="*/ 60154 h 3028426"/>
                <a:gd name="connsiteX1" fmla="*/ 127968 w 300621"/>
                <a:gd name="connsiteY1" fmla="*/ 103600 h 3028426"/>
                <a:gd name="connsiteX2" fmla="*/ 283139 w 300621"/>
                <a:gd name="connsiteY2" fmla="*/ 0 h 3028426"/>
                <a:gd name="connsiteX3" fmla="*/ 278376 w 300621"/>
                <a:gd name="connsiteY3" fmla="*/ 313040 h 3028426"/>
                <a:gd name="connsiteX4" fmla="*/ 292664 w 300621"/>
                <a:gd name="connsiteY4" fmla="*/ 732140 h 3028426"/>
                <a:gd name="connsiteX5" fmla="*/ 259328 w 300621"/>
                <a:gd name="connsiteY5" fmla="*/ 1160765 h 3028426"/>
                <a:gd name="connsiteX6" fmla="*/ 264089 w 300621"/>
                <a:gd name="connsiteY6" fmla="*/ 1384603 h 3028426"/>
                <a:gd name="connsiteX7" fmla="*/ 287903 w 300621"/>
                <a:gd name="connsiteY7" fmla="*/ 2046590 h 3028426"/>
                <a:gd name="connsiteX8" fmla="*/ 273614 w 300621"/>
                <a:gd name="connsiteY8" fmla="*/ 2327578 h 3028426"/>
                <a:gd name="connsiteX9" fmla="*/ 268853 w 300621"/>
                <a:gd name="connsiteY9" fmla="*/ 2565703 h 3028426"/>
                <a:gd name="connsiteX10" fmla="*/ 273615 w 300621"/>
                <a:gd name="connsiteY10" fmla="*/ 2794303 h 3028426"/>
                <a:gd name="connsiteX11" fmla="*/ 300621 w 300621"/>
                <a:gd name="connsiteY11" fmla="*/ 3028426 h 3028426"/>
                <a:gd name="connsiteX12" fmla="*/ 6870 w 300621"/>
                <a:gd name="connsiteY12" fmla="*/ 3018901 h 3028426"/>
                <a:gd name="connsiteX13" fmla="*/ 0 w 30062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92664 w 403981"/>
                <a:gd name="connsiteY4" fmla="*/ 732140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8376 w 403981"/>
                <a:gd name="connsiteY3" fmla="*/ 313040 h 3028426"/>
                <a:gd name="connsiteX4" fmla="*/ 272809 w 403981"/>
                <a:gd name="connsiteY4" fmla="*/ 986291 h 3028426"/>
                <a:gd name="connsiteX5" fmla="*/ 259328 w 403981"/>
                <a:gd name="connsiteY5" fmla="*/ 1160765 h 3028426"/>
                <a:gd name="connsiteX6" fmla="*/ 264089 w 403981"/>
                <a:gd name="connsiteY6" fmla="*/ 1384603 h 3028426"/>
                <a:gd name="connsiteX7" fmla="*/ 287903 w 403981"/>
                <a:gd name="connsiteY7" fmla="*/ 2046590 h 3028426"/>
                <a:gd name="connsiteX8" fmla="*/ 273614 w 403981"/>
                <a:gd name="connsiteY8" fmla="*/ 2327578 h 3028426"/>
                <a:gd name="connsiteX9" fmla="*/ 268853 w 403981"/>
                <a:gd name="connsiteY9" fmla="*/ 2565703 h 3028426"/>
                <a:gd name="connsiteX10" fmla="*/ 273615 w 403981"/>
                <a:gd name="connsiteY10" fmla="*/ 2794303 h 3028426"/>
                <a:gd name="connsiteX11" fmla="*/ 300621 w 403981"/>
                <a:gd name="connsiteY11" fmla="*/ 3028426 h 3028426"/>
                <a:gd name="connsiteX12" fmla="*/ 403981 w 403981"/>
                <a:gd name="connsiteY12" fmla="*/ 3018901 h 3028426"/>
                <a:gd name="connsiteX13" fmla="*/ 0 w 403981"/>
                <a:gd name="connsiteY13" fmla="*/ 60154 h 3028426"/>
                <a:gd name="connsiteX0" fmla="*/ 0 w 403981"/>
                <a:gd name="connsiteY0" fmla="*/ 60154 h 3028426"/>
                <a:gd name="connsiteX1" fmla="*/ 127968 w 403981"/>
                <a:gd name="connsiteY1" fmla="*/ 103600 h 3028426"/>
                <a:gd name="connsiteX2" fmla="*/ 283139 w 403981"/>
                <a:gd name="connsiteY2" fmla="*/ 0 h 3028426"/>
                <a:gd name="connsiteX3" fmla="*/ 272809 w 403981"/>
                <a:gd name="connsiteY3" fmla="*/ 986291 h 3028426"/>
                <a:gd name="connsiteX4" fmla="*/ 259328 w 403981"/>
                <a:gd name="connsiteY4" fmla="*/ 1160765 h 3028426"/>
                <a:gd name="connsiteX5" fmla="*/ 264089 w 403981"/>
                <a:gd name="connsiteY5" fmla="*/ 1384603 h 3028426"/>
                <a:gd name="connsiteX6" fmla="*/ 287903 w 403981"/>
                <a:gd name="connsiteY6" fmla="*/ 2046590 h 3028426"/>
                <a:gd name="connsiteX7" fmla="*/ 273614 w 403981"/>
                <a:gd name="connsiteY7" fmla="*/ 2327578 h 3028426"/>
                <a:gd name="connsiteX8" fmla="*/ 268853 w 403981"/>
                <a:gd name="connsiteY8" fmla="*/ 2565703 h 3028426"/>
                <a:gd name="connsiteX9" fmla="*/ 273615 w 403981"/>
                <a:gd name="connsiteY9" fmla="*/ 2794303 h 3028426"/>
                <a:gd name="connsiteX10" fmla="*/ 300621 w 403981"/>
                <a:gd name="connsiteY10" fmla="*/ 3028426 h 3028426"/>
                <a:gd name="connsiteX11" fmla="*/ 403981 w 403981"/>
                <a:gd name="connsiteY11" fmla="*/ 3018901 h 3028426"/>
                <a:gd name="connsiteX12" fmla="*/ 0 w 403981"/>
                <a:gd name="connsiteY12" fmla="*/ 60154 h 3028426"/>
                <a:gd name="connsiteX0" fmla="*/ 276013 w 276013"/>
                <a:gd name="connsiteY0" fmla="*/ 3018901 h 3028426"/>
                <a:gd name="connsiteX1" fmla="*/ 0 w 276013"/>
                <a:gd name="connsiteY1" fmla="*/ 103600 h 3028426"/>
                <a:gd name="connsiteX2" fmla="*/ 155171 w 276013"/>
                <a:gd name="connsiteY2" fmla="*/ 0 h 3028426"/>
                <a:gd name="connsiteX3" fmla="*/ 144841 w 276013"/>
                <a:gd name="connsiteY3" fmla="*/ 986291 h 3028426"/>
                <a:gd name="connsiteX4" fmla="*/ 131360 w 276013"/>
                <a:gd name="connsiteY4" fmla="*/ 1160765 h 3028426"/>
                <a:gd name="connsiteX5" fmla="*/ 136121 w 276013"/>
                <a:gd name="connsiteY5" fmla="*/ 1384603 h 3028426"/>
                <a:gd name="connsiteX6" fmla="*/ 159935 w 276013"/>
                <a:gd name="connsiteY6" fmla="*/ 2046590 h 3028426"/>
                <a:gd name="connsiteX7" fmla="*/ 145646 w 276013"/>
                <a:gd name="connsiteY7" fmla="*/ 2327578 h 3028426"/>
                <a:gd name="connsiteX8" fmla="*/ 140885 w 276013"/>
                <a:gd name="connsiteY8" fmla="*/ 2565703 h 3028426"/>
                <a:gd name="connsiteX9" fmla="*/ 145647 w 276013"/>
                <a:gd name="connsiteY9" fmla="*/ 2794303 h 3028426"/>
                <a:gd name="connsiteX10" fmla="*/ 172653 w 276013"/>
                <a:gd name="connsiteY10" fmla="*/ 3028426 h 3028426"/>
                <a:gd name="connsiteX11" fmla="*/ 276013 w 276013"/>
                <a:gd name="connsiteY11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4970 w 280983"/>
                <a:gd name="connsiteY2" fmla="*/ 103600 h 3028426"/>
                <a:gd name="connsiteX3" fmla="*/ 160141 w 280983"/>
                <a:gd name="connsiteY3" fmla="*/ 0 h 3028426"/>
                <a:gd name="connsiteX4" fmla="*/ 149811 w 280983"/>
                <a:gd name="connsiteY4" fmla="*/ 986291 h 3028426"/>
                <a:gd name="connsiteX5" fmla="*/ 136330 w 280983"/>
                <a:gd name="connsiteY5" fmla="*/ 1160765 h 3028426"/>
                <a:gd name="connsiteX6" fmla="*/ 141091 w 280983"/>
                <a:gd name="connsiteY6" fmla="*/ 1384603 h 3028426"/>
                <a:gd name="connsiteX7" fmla="*/ 164905 w 280983"/>
                <a:gd name="connsiteY7" fmla="*/ 2046590 h 3028426"/>
                <a:gd name="connsiteX8" fmla="*/ 150616 w 280983"/>
                <a:gd name="connsiteY8" fmla="*/ 2327578 h 3028426"/>
                <a:gd name="connsiteX9" fmla="*/ 145855 w 280983"/>
                <a:gd name="connsiteY9" fmla="*/ 2565703 h 3028426"/>
                <a:gd name="connsiteX10" fmla="*/ 150617 w 280983"/>
                <a:gd name="connsiteY10" fmla="*/ 2794303 h 3028426"/>
                <a:gd name="connsiteX11" fmla="*/ 177623 w 280983"/>
                <a:gd name="connsiteY11" fmla="*/ 3028426 h 3028426"/>
                <a:gd name="connsiteX12" fmla="*/ 280983 w 280983"/>
                <a:gd name="connsiteY12" fmla="*/ 3018901 h 3028426"/>
                <a:gd name="connsiteX0" fmla="*/ 280983 w 280983"/>
                <a:gd name="connsiteY0" fmla="*/ 3018901 h 3028426"/>
                <a:gd name="connsiteX1" fmla="*/ 0 w 280983"/>
                <a:gd name="connsiteY1" fmla="*/ 119162 h 3028426"/>
                <a:gd name="connsiteX2" fmla="*/ 160141 w 280983"/>
                <a:gd name="connsiteY2" fmla="*/ 0 h 3028426"/>
                <a:gd name="connsiteX3" fmla="*/ 149811 w 280983"/>
                <a:gd name="connsiteY3" fmla="*/ 986291 h 3028426"/>
                <a:gd name="connsiteX4" fmla="*/ 136330 w 280983"/>
                <a:gd name="connsiteY4" fmla="*/ 1160765 h 3028426"/>
                <a:gd name="connsiteX5" fmla="*/ 141091 w 280983"/>
                <a:gd name="connsiteY5" fmla="*/ 1384603 h 3028426"/>
                <a:gd name="connsiteX6" fmla="*/ 164905 w 280983"/>
                <a:gd name="connsiteY6" fmla="*/ 2046590 h 3028426"/>
                <a:gd name="connsiteX7" fmla="*/ 150616 w 280983"/>
                <a:gd name="connsiteY7" fmla="*/ 2327578 h 3028426"/>
                <a:gd name="connsiteX8" fmla="*/ 145855 w 280983"/>
                <a:gd name="connsiteY8" fmla="*/ 2565703 h 3028426"/>
                <a:gd name="connsiteX9" fmla="*/ 150617 w 280983"/>
                <a:gd name="connsiteY9" fmla="*/ 2794303 h 3028426"/>
                <a:gd name="connsiteX10" fmla="*/ 177623 w 280983"/>
                <a:gd name="connsiteY10" fmla="*/ 3028426 h 3028426"/>
                <a:gd name="connsiteX11" fmla="*/ 280983 w 280983"/>
                <a:gd name="connsiteY11" fmla="*/ 3018901 h 3028426"/>
                <a:gd name="connsiteX0" fmla="*/ 145476 w 145476"/>
                <a:gd name="connsiteY0" fmla="*/ 3018901 h 3028426"/>
                <a:gd name="connsiteX1" fmla="*/ 24634 w 145476"/>
                <a:gd name="connsiteY1" fmla="*/ 0 h 3028426"/>
                <a:gd name="connsiteX2" fmla="*/ 14304 w 145476"/>
                <a:gd name="connsiteY2" fmla="*/ 986291 h 3028426"/>
                <a:gd name="connsiteX3" fmla="*/ 823 w 145476"/>
                <a:gd name="connsiteY3" fmla="*/ 1160765 h 3028426"/>
                <a:gd name="connsiteX4" fmla="*/ 5584 w 145476"/>
                <a:gd name="connsiteY4" fmla="*/ 1384603 h 3028426"/>
                <a:gd name="connsiteX5" fmla="*/ 29398 w 145476"/>
                <a:gd name="connsiteY5" fmla="*/ 2046590 h 3028426"/>
                <a:gd name="connsiteX6" fmla="*/ 15109 w 145476"/>
                <a:gd name="connsiteY6" fmla="*/ 2327578 h 3028426"/>
                <a:gd name="connsiteX7" fmla="*/ 10348 w 145476"/>
                <a:gd name="connsiteY7" fmla="*/ 2565703 h 3028426"/>
                <a:gd name="connsiteX8" fmla="*/ 15110 w 145476"/>
                <a:gd name="connsiteY8" fmla="*/ 2794303 h 3028426"/>
                <a:gd name="connsiteX9" fmla="*/ 42116 w 145476"/>
                <a:gd name="connsiteY9" fmla="*/ 3028426 h 3028426"/>
                <a:gd name="connsiteX10" fmla="*/ 145476 w 145476"/>
                <a:gd name="connsiteY10" fmla="*/ 3018901 h 3028426"/>
                <a:gd name="connsiteX0" fmla="*/ 145476 w 145476"/>
                <a:gd name="connsiteY0" fmla="*/ 2032610 h 2042135"/>
                <a:gd name="connsiteX1" fmla="*/ 14304 w 145476"/>
                <a:gd name="connsiteY1" fmla="*/ 0 h 2042135"/>
                <a:gd name="connsiteX2" fmla="*/ 823 w 145476"/>
                <a:gd name="connsiteY2" fmla="*/ 174474 h 2042135"/>
                <a:gd name="connsiteX3" fmla="*/ 5584 w 145476"/>
                <a:gd name="connsiteY3" fmla="*/ 398312 h 2042135"/>
                <a:gd name="connsiteX4" fmla="*/ 29398 w 145476"/>
                <a:gd name="connsiteY4" fmla="*/ 1060299 h 2042135"/>
                <a:gd name="connsiteX5" fmla="*/ 15109 w 145476"/>
                <a:gd name="connsiteY5" fmla="*/ 1341287 h 2042135"/>
                <a:gd name="connsiteX6" fmla="*/ 10348 w 145476"/>
                <a:gd name="connsiteY6" fmla="*/ 1579412 h 2042135"/>
                <a:gd name="connsiteX7" fmla="*/ 15110 w 145476"/>
                <a:gd name="connsiteY7" fmla="*/ 1808012 h 2042135"/>
                <a:gd name="connsiteX8" fmla="*/ 42116 w 145476"/>
                <a:gd name="connsiteY8" fmla="*/ 2042135 h 2042135"/>
                <a:gd name="connsiteX9" fmla="*/ 145476 w 145476"/>
                <a:gd name="connsiteY9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45476 w 145476"/>
                <a:gd name="connsiteY0" fmla="*/ 2032610 h 2042135"/>
                <a:gd name="connsiteX1" fmla="*/ 130558 w 145476"/>
                <a:gd name="connsiteY1" fmla="*/ 2544 h 2042135"/>
                <a:gd name="connsiteX2" fmla="*/ 14304 w 145476"/>
                <a:gd name="connsiteY2" fmla="*/ 0 h 2042135"/>
                <a:gd name="connsiteX3" fmla="*/ 823 w 145476"/>
                <a:gd name="connsiteY3" fmla="*/ 174474 h 2042135"/>
                <a:gd name="connsiteX4" fmla="*/ 5584 w 145476"/>
                <a:gd name="connsiteY4" fmla="*/ 398312 h 2042135"/>
                <a:gd name="connsiteX5" fmla="*/ 29398 w 145476"/>
                <a:gd name="connsiteY5" fmla="*/ 1060299 h 2042135"/>
                <a:gd name="connsiteX6" fmla="*/ 15109 w 145476"/>
                <a:gd name="connsiteY6" fmla="*/ 1341287 h 2042135"/>
                <a:gd name="connsiteX7" fmla="*/ 10348 w 145476"/>
                <a:gd name="connsiteY7" fmla="*/ 1579412 h 2042135"/>
                <a:gd name="connsiteX8" fmla="*/ 15110 w 145476"/>
                <a:gd name="connsiteY8" fmla="*/ 1808012 h 2042135"/>
                <a:gd name="connsiteX9" fmla="*/ 42116 w 145476"/>
                <a:gd name="connsiteY9" fmla="*/ 2042135 h 2042135"/>
                <a:gd name="connsiteX10" fmla="*/ 145476 w 145476"/>
                <a:gd name="connsiteY10" fmla="*/ 2032610 h 2042135"/>
                <a:gd name="connsiteX0" fmla="*/ 137534 w 137534"/>
                <a:gd name="connsiteY0" fmla="*/ 2040552 h 2042135"/>
                <a:gd name="connsiteX1" fmla="*/ 130558 w 137534"/>
                <a:gd name="connsiteY1" fmla="*/ 2544 h 2042135"/>
                <a:gd name="connsiteX2" fmla="*/ 14304 w 137534"/>
                <a:gd name="connsiteY2" fmla="*/ 0 h 2042135"/>
                <a:gd name="connsiteX3" fmla="*/ 823 w 137534"/>
                <a:gd name="connsiteY3" fmla="*/ 174474 h 2042135"/>
                <a:gd name="connsiteX4" fmla="*/ 5584 w 137534"/>
                <a:gd name="connsiteY4" fmla="*/ 398312 h 2042135"/>
                <a:gd name="connsiteX5" fmla="*/ 29398 w 137534"/>
                <a:gd name="connsiteY5" fmla="*/ 1060299 h 2042135"/>
                <a:gd name="connsiteX6" fmla="*/ 15109 w 137534"/>
                <a:gd name="connsiteY6" fmla="*/ 1341287 h 2042135"/>
                <a:gd name="connsiteX7" fmla="*/ 10348 w 137534"/>
                <a:gd name="connsiteY7" fmla="*/ 1579412 h 2042135"/>
                <a:gd name="connsiteX8" fmla="*/ 15110 w 137534"/>
                <a:gd name="connsiteY8" fmla="*/ 1808012 h 2042135"/>
                <a:gd name="connsiteX9" fmla="*/ 42116 w 137534"/>
                <a:gd name="connsiteY9" fmla="*/ 2042135 h 2042135"/>
                <a:gd name="connsiteX10" fmla="*/ 137534 w 137534"/>
                <a:gd name="connsiteY10" fmla="*/ 2040552 h 2042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37534" h="2042135">
                  <a:moveTo>
                    <a:pt x="137534" y="2040552"/>
                  </a:moveTo>
                  <a:cubicBezTo>
                    <a:pt x="135209" y="1361216"/>
                    <a:pt x="132883" y="681880"/>
                    <a:pt x="130558" y="2544"/>
                  </a:cubicBezTo>
                  <a:lnTo>
                    <a:pt x="14304" y="0"/>
                  </a:lnTo>
                  <a:cubicBezTo>
                    <a:pt x="9542" y="142875"/>
                    <a:pt x="3998" y="67318"/>
                    <a:pt x="823" y="174474"/>
                  </a:cubicBezTo>
                  <a:cubicBezTo>
                    <a:pt x="-1297" y="548203"/>
                    <a:pt x="822" y="250675"/>
                    <a:pt x="5584" y="398312"/>
                  </a:cubicBezTo>
                  <a:cubicBezTo>
                    <a:pt x="10346" y="545949"/>
                    <a:pt x="29398" y="901549"/>
                    <a:pt x="29398" y="1060299"/>
                  </a:cubicBezTo>
                  <a:cubicBezTo>
                    <a:pt x="34954" y="1269055"/>
                    <a:pt x="15109" y="1251593"/>
                    <a:pt x="15109" y="1341287"/>
                  </a:cubicBezTo>
                  <a:cubicBezTo>
                    <a:pt x="15109" y="1430981"/>
                    <a:pt x="16698" y="1515912"/>
                    <a:pt x="10348" y="1579412"/>
                  </a:cubicBezTo>
                  <a:cubicBezTo>
                    <a:pt x="3998" y="1642912"/>
                    <a:pt x="12197" y="1740417"/>
                    <a:pt x="15110" y="1808012"/>
                  </a:cubicBezTo>
                  <a:lnTo>
                    <a:pt x="42116" y="2042135"/>
                  </a:lnTo>
                  <a:lnTo>
                    <a:pt x="137534" y="2040552"/>
                  </a:lnTo>
                  <a:close/>
                </a:path>
              </a:pathLst>
            </a:custGeom>
            <a:pattFill prst="wdDnDiag">
              <a:fgClr>
                <a:srgbClr val="FFFF00"/>
              </a:fgClr>
              <a:bgClr>
                <a:srgbClr val="EE7713"/>
              </a:bgClr>
            </a:pattFill>
            <a:ln w="127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88" dirty="0"/>
            </a:p>
          </p:txBody>
        </p:sp>
        <p:grpSp>
          <p:nvGrpSpPr>
            <p:cNvPr id="188" name="Gruppo 187"/>
            <p:cNvGrpSpPr/>
            <p:nvPr/>
          </p:nvGrpSpPr>
          <p:grpSpPr>
            <a:xfrm>
              <a:off x="8483351" y="2050367"/>
              <a:ext cx="537435" cy="592329"/>
              <a:chOff x="5674120" y="1790653"/>
              <a:chExt cx="2462139" cy="3332465"/>
            </a:xfrm>
          </p:grpSpPr>
          <p:sp>
            <p:nvSpPr>
              <p:cNvPr id="189" name="Freccia curva 2"/>
              <p:cNvSpPr/>
              <p:nvPr/>
            </p:nvSpPr>
            <p:spPr>
              <a:xfrm flipV="1">
                <a:off x="6084815" y="2733865"/>
                <a:ext cx="2051444" cy="2389253"/>
              </a:xfrm>
              <a:custGeom>
                <a:avLst/>
                <a:gdLst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404499 h 2651760"/>
                  <a:gd name="connsiteX6" fmla="*/ 4432678 w 4432678"/>
                  <a:gd name="connsiteY6" fmla="*/ 808999 h 2651760"/>
                  <a:gd name="connsiteX7" fmla="*/ 4432678 w 4432678"/>
                  <a:gd name="connsiteY7" fmla="*/ 533720 h 2651760"/>
                  <a:gd name="connsiteX8" fmla="*/ 575856 w 4432678"/>
                  <a:gd name="connsiteY8" fmla="*/ 533720 h 2651760"/>
                  <a:gd name="connsiteX9" fmla="*/ 258440 w 4432678"/>
                  <a:gd name="connsiteY9" fmla="*/ 851136 h 2651760"/>
                  <a:gd name="connsiteX10" fmla="*/ 258441 w 4432678"/>
                  <a:gd name="connsiteY10" fmla="*/ 2651760 h 2651760"/>
                  <a:gd name="connsiteX11" fmla="*/ 0 w 4432678"/>
                  <a:gd name="connsiteY11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808999 h 2651760"/>
                  <a:gd name="connsiteX6" fmla="*/ 4432678 w 4432678"/>
                  <a:gd name="connsiteY6" fmla="*/ 533720 h 2651760"/>
                  <a:gd name="connsiteX7" fmla="*/ 575856 w 4432678"/>
                  <a:gd name="connsiteY7" fmla="*/ 533720 h 2651760"/>
                  <a:gd name="connsiteX8" fmla="*/ 258440 w 4432678"/>
                  <a:gd name="connsiteY8" fmla="*/ 851136 h 2651760"/>
                  <a:gd name="connsiteX9" fmla="*/ 258441 w 4432678"/>
                  <a:gd name="connsiteY9" fmla="*/ 2651760 h 2651760"/>
                  <a:gd name="connsiteX10" fmla="*/ 0 w 4432678"/>
                  <a:gd name="connsiteY10" fmla="*/ 2651760 h 2651760"/>
                  <a:gd name="connsiteX0" fmla="*/ 0 w 4432678"/>
                  <a:gd name="connsiteY0" fmla="*/ 2651760 h 2651760"/>
                  <a:gd name="connsiteX1" fmla="*/ 0 w 4432678"/>
                  <a:gd name="connsiteY1" fmla="*/ 851135 h 2651760"/>
                  <a:gd name="connsiteX2" fmla="*/ 575856 w 4432678"/>
                  <a:gd name="connsiteY2" fmla="*/ 275279 h 2651760"/>
                  <a:gd name="connsiteX3" fmla="*/ 4432678 w 4432678"/>
                  <a:gd name="connsiteY3" fmla="*/ 275279 h 2651760"/>
                  <a:gd name="connsiteX4" fmla="*/ 4432678 w 4432678"/>
                  <a:gd name="connsiteY4" fmla="*/ 0 h 2651760"/>
                  <a:gd name="connsiteX5" fmla="*/ 4432678 w 4432678"/>
                  <a:gd name="connsiteY5" fmla="*/ 533720 h 2651760"/>
                  <a:gd name="connsiteX6" fmla="*/ 575856 w 4432678"/>
                  <a:gd name="connsiteY6" fmla="*/ 533720 h 2651760"/>
                  <a:gd name="connsiteX7" fmla="*/ 258440 w 4432678"/>
                  <a:gd name="connsiteY7" fmla="*/ 851136 h 2651760"/>
                  <a:gd name="connsiteX8" fmla="*/ 258441 w 4432678"/>
                  <a:gd name="connsiteY8" fmla="*/ 2651760 h 2651760"/>
                  <a:gd name="connsiteX9" fmla="*/ 0 w 4432678"/>
                  <a:gd name="connsiteY9" fmla="*/ 2651760 h 2651760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4432678 w 4432678"/>
                  <a:gd name="connsiteY3" fmla="*/ 0 h 2376481"/>
                  <a:gd name="connsiteX4" fmla="*/ 4432678 w 4432678"/>
                  <a:gd name="connsiteY4" fmla="*/ 258441 h 2376481"/>
                  <a:gd name="connsiteX5" fmla="*/ 575856 w 4432678"/>
                  <a:gd name="connsiteY5" fmla="*/ 258441 h 2376481"/>
                  <a:gd name="connsiteX6" fmla="*/ 258440 w 4432678"/>
                  <a:gd name="connsiteY6" fmla="*/ 575857 h 2376481"/>
                  <a:gd name="connsiteX7" fmla="*/ 258441 w 4432678"/>
                  <a:gd name="connsiteY7" fmla="*/ 2376481 h 2376481"/>
                  <a:gd name="connsiteX8" fmla="*/ 0 w 4432678"/>
                  <a:gd name="connsiteY8" fmla="*/ 2376481 h 2376481"/>
                  <a:gd name="connsiteX0" fmla="*/ 0 w 4432703"/>
                  <a:gd name="connsiteY0" fmla="*/ 2376481 h 2376481"/>
                  <a:gd name="connsiteX1" fmla="*/ 0 w 4432703"/>
                  <a:gd name="connsiteY1" fmla="*/ 575856 h 2376481"/>
                  <a:gd name="connsiteX2" fmla="*/ 575856 w 4432703"/>
                  <a:gd name="connsiteY2" fmla="*/ 0 h 2376481"/>
                  <a:gd name="connsiteX3" fmla="*/ 4432678 w 4432703"/>
                  <a:gd name="connsiteY3" fmla="*/ 0 h 2376481"/>
                  <a:gd name="connsiteX4" fmla="*/ 4390707 w 4432703"/>
                  <a:gd name="connsiteY4" fmla="*/ 154488 h 2376481"/>
                  <a:gd name="connsiteX5" fmla="*/ 4432678 w 4432703"/>
                  <a:gd name="connsiteY5" fmla="*/ 258441 h 2376481"/>
                  <a:gd name="connsiteX6" fmla="*/ 575856 w 4432703"/>
                  <a:gd name="connsiteY6" fmla="*/ 258441 h 2376481"/>
                  <a:gd name="connsiteX7" fmla="*/ 258440 w 4432703"/>
                  <a:gd name="connsiteY7" fmla="*/ 575857 h 2376481"/>
                  <a:gd name="connsiteX8" fmla="*/ 258441 w 4432703"/>
                  <a:gd name="connsiteY8" fmla="*/ 2376481 h 2376481"/>
                  <a:gd name="connsiteX9" fmla="*/ 0 w 4432703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43907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4432678"/>
                  <a:gd name="connsiteY0" fmla="*/ 2376481 h 2376481"/>
                  <a:gd name="connsiteX1" fmla="*/ 0 w 4432678"/>
                  <a:gd name="connsiteY1" fmla="*/ 575856 h 2376481"/>
                  <a:gd name="connsiteX2" fmla="*/ 575856 w 4432678"/>
                  <a:gd name="connsiteY2" fmla="*/ 0 h 2376481"/>
                  <a:gd name="connsiteX3" fmla="*/ 2567302 w 4432678"/>
                  <a:gd name="connsiteY3" fmla="*/ 0 h 2376481"/>
                  <a:gd name="connsiteX4" fmla="*/ 2561907 w 4432678"/>
                  <a:gd name="connsiteY4" fmla="*/ 154488 h 2376481"/>
                  <a:gd name="connsiteX5" fmla="*/ 4432678 w 4432678"/>
                  <a:gd name="connsiteY5" fmla="*/ 258441 h 2376481"/>
                  <a:gd name="connsiteX6" fmla="*/ 575856 w 4432678"/>
                  <a:gd name="connsiteY6" fmla="*/ 258441 h 2376481"/>
                  <a:gd name="connsiteX7" fmla="*/ 258440 w 4432678"/>
                  <a:gd name="connsiteY7" fmla="*/ 575857 h 2376481"/>
                  <a:gd name="connsiteX8" fmla="*/ 258441 w 4432678"/>
                  <a:gd name="connsiteY8" fmla="*/ 2376481 h 2376481"/>
                  <a:gd name="connsiteX9" fmla="*/ 0 w 4432678"/>
                  <a:gd name="connsiteY9" fmla="*/ 2376481 h 2376481"/>
                  <a:gd name="connsiteX0" fmla="*/ 0 w 2658742"/>
                  <a:gd name="connsiteY0" fmla="*/ 2376481 h 2376481"/>
                  <a:gd name="connsiteX1" fmla="*/ 0 w 2658742"/>
                  <a:gd name="connsiteY1" fmla="*/ 575856 h 2376481"/>
                  <a:gd name="connsiteX2" fmla="*/ 575856 w 2658742"/>
                  <a:gd name="connsiteY2" fmla="*/ 0 h 2376481"/>
                  <a:gd name="connsiteX3" fmla="*/ 2567302 w 2658742"/>
                  <a:gd name="connsiteY3" fmla="*/ 0 h 2376481"/>
                  <a:gd name="connsiteX4" fmla="*/ 2561907 w 2658742"/>
                  <a:gd name="connsiteY4" fmla="*/ 154488 h 2376481"/>
                  <a:gd name="connsiteX5" fmla="*/ 2658742 w 2658742"/>
                  <a:gd name="connsiteY5" fmla="*/ 249297 h 2376481"/>
                  <a:gd name="connsiteX6" fmla="*/ 575856 w 2658742"/>
                  <a:gd name="connsiteY6" fmla="*/ 258441 h 2376481"/>
                  <a:gd name="connsiteX7" fmla="*/ 258440 w 2658742"/>
                  <a:gd name="connsiteY7" fmla="*/ 575857 h 2376481"/>
                  <a:gd name="connsiteX8" fmla="*/ 258441 w 2658742"/>
                  <a:gd name="connsiteY8" fmla="*/ 2376481 h 2376481"/>
                  <a:gd name="connsiteX9" fmla="*/ 0 w 2658742"/>
                  <a:gd name="connsiteY9" fmla="*/ 2376481 h 2376481"/>
                  <a:gd name="connsiteX0" fmla="*/ 6 w 2658748"/>
                  <a:gd name="connsiteY0" fmla="*/ 2376481 h 2376481"/>
                  <a:gd name="connsiteX1" fmla="*/ 27120 w 2658748"/>
                  <a:gd name="connsiteY1" fmla="*/ 2082729 h 2376481"/>
                  <a:gd name="connsiteX2" fmla="*/ 6 w 2658748"/>
                  <a:gd name="connsiteY2" fmla="*/ 575856 h 2376481"/>
                  <a:gd name="connsiteX3" fmla="*/ 575862 w 2658748"/>
                  <a:gd name="connsiteY3" fmla="*/ 0 h 2376481"/>
                  <a:gd name="connsiteX4" fmla="*/ 2567308 w 2658748"/>
                  <a:gd name="connsiteY4" fmla="*/ 0 h 2376481"/>
                  <a:gd name="connsiteX5" fmla="*/ 2561913 w 2658748"/>
                  <a:gd name="connsiteY5" fmla="*/ 154488 h 2376481"/>
                  <a:gd name="connsiteX6" fmla="*/ 2658748 w 2658748"/>
                  <a:gd name="connsiteY6" fmla="*/ 249297 h 2376481"/>
                  <a:gd name="connsiteX7" fmla="*/ 575862 w 2658748"/>
                  <a:gd name="connsiteY7" fmla="*/ 258441 h 2376481"/>
                  <a:gd name="connsiteX8" fmla="*/ 258446 w 2658748"/>
                  <a:gd name="connsiteY8" fmla="*/ 575857 h 2376481"/>
                  <a:gd name="connsiteX9" fmla="*/ 258447 w 2658748"/>
                  <a:gd name="connsiteY9" fmla="*/ 2376481 h 2376481"/>
                  <a:gd name="connsiteX10" fmla="*/ 6 w 2658748"/>
                  <a:gd name="connsiteY10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10986 w 2669728"/>
                  <a:gd name="connsiteY3" fmla="*/ 575856 h 2376481"/>
                  <a:gd name="connsiteX4" fmla="*/ 586842 w 2669728"/>
                  <a:gd name="connsiteY4" fmla="*/ 0 h 2376481"/>
                  <a:gd name="connsiteX5" fmla="*/ 2578288 w 2669728"/>
                  <a:gd name="connsiteY5" fmla="*/ 0 h 2376481"/>
                  <a:gd name="connsiteX6" fmla="*/ 2572893 w 2669728"/>
                  <a:gd name="connsiteY6" fmla="*/ 154488 h 2376481"/>
                  <a:gd name="connsiteX7" fmla="*/ 2669728 w 2669728"/>
                  <a:gd name="connsiteY7" fmla="*/ 249297 h 2376481"/>
                  <a:gd name="connsiteX8" fmla="*/ 586842 w 2669728"/>
                  <a:gd name="connsiteY8" fmla="*/ 258441 h 2376481"/>
                  <a:gd name="connsiteX9" fmla="*/ 269426 w 2669728"/>
                  <a:gd name="connsiteY9" fmla="*/ 575857 h 2376481"/>
                  <a:gd name="connsiteX10" fmla="*/ 269427 w 2669728"/>
                  <a:gd name="connsiteY10" fmla="*/ 2376481 h 2376481"/>
                  <a:gd name="connsiteX11" fmla="*/ 10986 w 2669728"/>
                  <a:gd name="connsiteY11" fmla="*/ 2376481 h 2376481"/>
                  <a:gd name="connsiteX0" fmla="*/ 10986 w 2669728"/>
                  <a:gd name="connsiteY0" fmla="*/ 2376481 h 2376481"/>
                  <a:gd name="connsiteX1" fmla="*/ 38100 w 2669728"/>
                  <a:gd name="connsiteY1" fmla="*/ 2082729 h 2376481"/>
                  <a:gd name="connsiteX2" fmla="*/ 0 w 2669728"/>
                  <a:gd name="connsiteY2" fmla="*/ 1887466 h 2376481"/>
                  <a:gd name="connsiteX3" fmla="*/ 42863 w 2669728"/>
                  <a:gd name="connsiteY3" fmla="*/ 1306441 h 2376481"/>
                  <a:gd name="connsiteX4" fmla="*/ 10986 w 2669728"/>
                  <a:gd name="connsiteY4" fmla="*/ 575856 h 2376481"/>
                  <a:gd name="connsiteX5" fmla="*/ 586842 w 2669728"/>
                  <a:gd name="connsiteY5" fmla="*/ 0 h 2376481"/>
                  <a:gd name="connsiteX6" fmla="*/ 2578288 w 2669728"/>
                  <a:gd name="connsiteY6" fmla="*/ 0 h 2376481"/>
                  <a:gd name="connsiteX7" fmla="*/ 2572893 w 2669728"/>
                  <a:gd name="connsiteY7" fmla="*/ 154488 h 2376481"/>
                  <a:gd name="connsiteX8" fmla="*/ 2669728 w 2669728"/>
                  <a:gd name="connsiteY8" fmla="*/ 249297 h 2376481"/>
                  <a:gd name="connsiteX9" fmla="*/ 586842 w 2669728"/>
                  <a:gd name="connsiteY9" fmla="*/ 258441 h 2376481"/>
                  <a:gd name="connsiteX10" fmla="*/ 269426 w 2669728"/>
                  <a:gd name="connsiteY10" fmla="*/ 575857 h 2376481"/>
                  <a:gd name="connsiteX11" fmla="*/ 269427 w 2669728"/>
                  <a:gd name="connsiteY11" fmla="*/ 2376481 h 2376481"/>
                  <a:gd name="connsiteX12" fmla="*/ 10986 w 2669728"/>
                  <a:gd name="connsiteY12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20511 w 2679253"/>
                  <a:gd name="connsiteY0" fmla="*/ 2376481 h 2376481"/>
                  <a:gd name="connsiteX1" fmla="*/ 47625 w 2679253"/>
                  <a:gd name="connsiteY1" fmla="*/ 2082729 h 2376481"/>
                  <a:gd name="connsiteX2" fmla="*/ 9525 w 2679253"/>
                  <a:gd name="connsiteY2" fmla="*/ 1887466 h 2376481"/>
                  <a:gd name="connsiteX3" fmla="*/ 52388 w 2679253"/>
                  <a:gd name="connsiteY3" fmla="*/ 1306441 h 2376481"/>
                  <a:gd name="connsiteX4" fmla="*/ 0 w 2679253"/>
                  <a:gd name="connsiteY4" fmla="*/ 939729 h 2376481"/>
                  <a:gd name="connsiteX5" fmla="*/ 20511 w 2679253"/>
                  <a:gd name="connsiteY5" fmla="*/ 575856 h 2376481"/>
                  <a:gd name="connsiteX6" fmla="*/ 596367 w 2679253"/>
                  <a:gd name="connsiteY6" fmla="*/ 0 h 2376481"/>
                  <a:gd name="connsiteX7" fmla="*/ 2587813 w 2679253"/>
                  <a:gd name="connsiteY7" fmla="*/ 0 h 2376481"/>
                  <a:gd name="connsiteX8" fmla="*/ 2582418 w 2679253"/>
                  <a:gd name="connsiteY8" fmla="*/ 154488 h 2376481"/>
                  <a:gd name="connsiteX9" fmla="*/ 2679253 w 2679253"/>
                  <a:gd name="connsiteY9" fmla="*/ 249297 h 2376481"/>
                  <a:gd name="connsiteX10" fmla="*/ 596367 w 2679253"/>
                  <a:gd name="connsiteY10" fmla="*/ 258441 h 2376481"/>
                  <a:gd name="connsiteX11" fmla="*/ 278951 w 2679253"/>
                  <a:gd name="connsiteY11" fmla="*/ 575857 h 2376481"/>
                  <a:gd name="connsiteX12" fmla="*/ 278952 w 2679253"/>
                  <a:gd name="connsiteY12" fmla="*/ 2376481 h 2376481"/>
                  <a:gd name="connsiteX13" fmla="*/ 20511 w 2679253"/>
                  <a:gd name="connsiteY13" fmla="*/ 2376481 h 2376481"/>
                  <a:gd name="connsiteX0" fmla="*/ 33888 w 2692630"/>
                  <a:gd name="connsiteY0" fmla="*/ 2376481 h 2376481"/>
                  <a:gd name="connsiteX1" fmla="*/ 61002 w 2692630"/>
                  <a:gd name="connsiteY1" fmla="*/ 2082729 h 2376481"/>
                  <a:gd name="connsiteX2" fmla="*/ 22902 w 2692630"/>
                  <a:gd name="connsiteY2" fmla="*/ 1887466 h 2376481"/>
                  <a:gd name="connsiteX3" fmla="*/ 65765 w 2692630"/>
                  <a:gd name="connsiteY3" fmla="*/ 1306441 h 2376481"/>
                  <a:gd name="connsiteX4" fmla="*/ 13377 w 2692630"/>
                  <a:gd name="connsiteY4" fmla="*/ 939729 h 2376481"/>
                  <a:gd name="connsiteX5" fmla="*/ 550 w 2692630"/>
                  <a:gd name="connsiteY5" fmla="*/ 571094 h 2376481"/>
                  <a:gd name="connsiteX6" fmla="*/ 609744 w 2692630"/>
                  <a:gd name="connsiteY6" fmla="*/ 0 h 2376481"/>
                  <a:gd name="connsiteX7" fmla="*/ 2601190 w 2692630"/>
                  <a:gd name="connsiteY7" fmla="*/ 0 h 2376481"/>
                  <a:gd name="connsiteX8" fmla="*/ 2595795 w 2692630"/>
                  <a:gd name="connsiteY8" fmla="*/ 154488 h 2376481"/>
                  <a:gd name="connsiteX9" fmla="*/ 2692630 w 2692630"/>
                  <a:gd name="connsiteY9" fmla="*/ 249297 h 2376481"/>
                  <a:gd name="connsiteX10" fmla="*/ 609744 w 2692630"/>
                  <a:gd name="connsiteY10" fmla="*/ 258441 h 2376481"/>
                  <a:gd name="connsiteX11" fmla="*/ 292328 w 2692630"/>
                  <a:gd name="connsiteY11" fmla="*/ 575857 h 2376481"/>
                  <a:gd name="connsiteX12" fmla="*/ 292329 w 2692630"/>
                  <a:gd name="connsiteY12" fmla="*/ 2376481 h 2376481"/>
                  <a:gd name="connsiteX13" fmla="*/ 33888 w 2692630"/>
                  <a:gd name="connsiteY13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2612656 w 2704096"/>
                  <a:gd name="connsiteY8" fmla="*/ 0 h 2376481"/>
                  <a:gd name="connsiteX9" fmla="*/ 2607261 w 2704096"/>
                  <a:gd name="connsiteY9" fmla="*/ 154488 h 2376481"/>
                  <a:gd name="connsiteX10" fmla="*/ 2704096 w 2704096"/>
                  <a:gd name="connsiteY10" fmla="*/ 249297 h 2376481"/>
                  <a:gd name="connsiteX11" fmla="*/ 621210 w 2704096"/>
                  <a:gd name="connsiteY11" fmla="*/ 258441 h 2376481"/>
                  <a:gd name="connsiteX12" fmla="*/ 303794 w 2704096"/>
                  <a:gd name="connsiteY12" fmla="*/ 575857 h 2376481"/>
                  <a:gd name="connsiteX13" fmla="*/ 303795 w 2704096"/>
                  <a:gd name="connsiteY13" fmla="*/ 2376481 h 2376481"/>
                  <a:gd name="connsiteX14" fmla="*/ 45354 w 2704096"/>
                  <a:gd name="connsiteY14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621210 w 2704096"/>
                  <a:gd name="connsiteY7" fmla="*/ 0 h 2376481"/>
                  <a:gd name="connsiteX8" fmla="*/ 1601232 w 2704096"/>
                  <a:gd name="connsiteY8" fmla="*/ 1516 h 2376481"/>
                  <a:gd name="connsiteX9" fmla="*/ 2612656 w 2704096"/>
                  <a:gd name="connsiteY9" fmla="*/ 0 h 2376481"/>
                  <a:gd name="connsiteX10" fmla="*/ 2607261 w 2704096"/>
                  <a:gd name="connsiteY10" fmla="*/ 154488 h 2376481"/>
                  <a:gd name="connsiteX11" fmla="*/ 2704096 w 2704096"/>
                  <a:gd name="connsiteY11" fmla="*/ 249297 h 2376481"/>
                  <a:gd name="connsiteX12" fmla="*/ 621210 w 2704096"/>
                  <a:gd name="connsiteY12" fmla="*/ 258441 h 2376481"/>
                  <a:gd name="connsiteX13" fmla="*/ 303794 w 2704096"/>
                  <a:gd name="connsiteY13" fmla="*/ 575857 h 2376481"/>
                  <a:gd name="connsiteX14" fmla="*/ 303795 w 2704096"/>
                  <a:gd name="connsiteY14" fmla="*/ 2376481 h 2376481"/>
                  <a:gd name="connsiteX15" fmla="*/ 45354 w 2704096"/>
                  <a:gd name="connsiteY15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353457 w 2704096"/>
                  <a:gd name="connsiteY7" fmla="*/ 111054 h 2376481"/>
                  <a:gd name="connsiteX8" fmla="*/ 621210 w 2704096"/>
                  <a:gd name="connsiteY8" fmla="*/ 0 h 2376481"/>
                  <a:gd name="connsiteX9" fmla="*/ 1601232 w 2704096"/>
                  <a:gd name="connsiteY9" fmla="*/ 1516 h 2376481"/>
                  <a:gd name="connsiteX10" fmla="*/ 2612656 w 2704096"/>
                  <a:gd name="connsiteY10" fmla="*/ 0 h 2376481"/>
                  <a:gd name="connsiteX11" fmla="*/ 2607261 w 2704096"/>
                  <a:gd name="connsiteY11" fmla="*/ 154488 h 2376481"/>
                  <a:gd name="connsiteX12" fmla="*/ 2704096 w 2704096"/>
                  <a:gd name="connsiteY12" fmla="*/ 249297 h 2376481"/>
                  <a:gd name="connsiteX13" fmla="*/ 621210 w 2704096"/>
                  <a:gd name="connsiteY13" fmla="*/ 258441 h 2376481"/>
                  <a:gd name="connsiteX14" fmla="*/ 303794 w 2704096"/>
                  <a:gd name="connsiteY14" fmla="*/ 575857 h 2376481"/>
                  <a:gd name="connsiteX15" fmla="*/ 303795 w 2704096"/>
                  <a:gd name="connsiteY15" fmla="*/ 2376481 h 2376481"/>
                  <a:gd name="connsiteX16" fmla="*/ 45354 w 2704096"/>
                  <a:gd name="connsiteY16" fmla="*/ 2376481 h 2376481"/>
                  <a:gd name="connsiteX0" fmla="*/ 45354 w 2704096"/>
                  <a:gd name="connsiteY0" fmla="*/ 2376481 h 2376481"/>
                  <a:gd name="connsiteX1" fmla="*/ 72468 w 2704096"/>
                  <a:gd name="connsiteY1" fmla="*/ 2082729 h 2376481"/>
                  <a:gd name="connsiteX2" fmla="*/ 34368 w 2704096"/>
                  <a:gd name="connsiteY2" fmla="*/ 1887466 h 2376481"/>
                  <a:gd name="connsiteX3" fmla="*/ 77231 w 2704096"/>
                  <a:gd name="connsiteY3" fmla="*/ 1306441 h 2376481"/>
                  <a:gd name="connsiteX4" fmla="*/ 24843 w 2704096"/>
                  <a:gd name="connsiteY4" fmla="*/ 939729 h 2376481"/>
                  <a:gd name="connsiteX5" fmla="*/ 12016 w 2704096"/>
                  <a:gd name="connsiteY5" fmla="*/ 571094 h 2376481"/>
                  <a:gd name="connsiteX6" fmla="*/ 62944 w 2704096"/>
                  <a:gd name="connsiteY6" fmla="*/ 434904 h 2376481"/>
                  <a:gd name="connsiteX7" fmla="*/ 191532 w 2704096"/>
                  <a:gd name="connsiteY7" fmla="*/ 239641 h 2376481"/>
                  <a:gd name="connsiteX8" fmla="*/ 353457 w 2704096"/>
                  <a:gd name="connsiteY8" fmla="*/ 111054 h 2376481"/>
                  <a:gd name="connsiteX9" fmla="*/ 621210 w 2704096"/>
                  <a:gd name="connsiteY9" fmla="*/ 0 h 2376481"/>
                  <a:gd name="connsiteX10" fmla="*/ 1601232 w 2704096"/>
                  <a:gd name="connsiteY10" fmla="*/ 1516 h 2376481"/>
                  <a:gd name="connsiteX11" fmla="*/ 2612656 w 2704096"/>
                  <a:gd name="connsiteY11" fmla="*/ 0 h 2376481"/>
                  <a:gd name="connsiteX12" fmla="*/ 2607261 w 2704096"/>
                  <a:gd name="connsiteY12" fmla="*/ 154488 h 2376481"/>
                  <a:gd name="connsiteX13" fmla="*/ 2704096 w 2704096"/>
                  <a:gd name="connsiteY13" fmla="*/ 249297 h 2376481"/>
                  <a:gd name="connsiteX14" fmla="*/ 621210 w 2704096"/>
                  <a:gd name="connsiteY14" fmla="*/ 258441 h 2376481"/>
                  <a:gd name="connsiteX15" fmla="*/ 303794 w 2704096"/>
                  <a:gd name="connsiteY15" fmla="*/ 575857 h 2376481"/>
                  <a:gd name="connsiteX16" fmla="*/ 303795 w 2704096"/>
                  <a:gd name="connsiteY16" fmla="*/ 2376481 h 2376481"/>
                  <a:gd name="connsiteX17" fmla="*/ 45354 w 2704096"/>
                  <a:gd name="connsiteY17" fmla="*/ 2376481 h 2376481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612656 w 2704096"/>
                  <a:gd name="connsiteY12" fmla="*/ 27059 h 2403540"/>
                  <a:gd name="connsiteX13" fmla="*/ 2607261 w 2704096"/>
                  <a:gd name="connsiteY13" fmla="*/ 181547 h 2403540"/>
                  <a:gd name="connsiteX14" fmla="*/ 2704096 w 2704096"/>
                  <a:gd name="connsiteY14" fmla="*/ 276356 h 2403540"/>
                  <a:gd name="connsiteX15" fmla="*/ 621210 w 2704096"/>
                  <a:gd name="connsiteY15" fmla="*/ 285500 h 2403540"/>
                  <a:gd name="connsiteX16" fmla="*/ 303794 w 2704096"/>
                  <a:gd name="connsiteY16" fmla="*/ 602916 h 2403540"/>
                  <a:gd name="connsiteX17" fmla="*/ 303795 w 2704096"/>
                  <a:gd name="connsiteY17" fmla="*/ 2403540 h 2403540"/>
                  <a:gd name="connsiteX18" fmla="*/ 45354 w 2704096"/>
                  <a:gd name="connsiteY18" fmla="*/ 2403540 h 2403540"/>
                  <a:gd name="connsiteX0" fmla="*/ 45354 w 2704096"/>
                  <a:gd name="connsiteY0" fmla="*/ 2403540 h 2403540"/>
                  <a:gd name="connsiteX1" fmla="*/ 72468 w 2704096"/>
                  <a:gd name="connsiteY1" fmla="*/ 2109788 h 2403540"/>
                  <a:gd name="connsiteX2" fmla="*/ 34368 w 2704096"/>
                  <a:gd name="connsiteY2" fmla="*/ 1914525 h 2403540"/>
                  <a:gd name="connsiteX3" fmla="*/ 77231 w 2704096"/>
                  <a:gd name="connsiteY3" fmla="*/ 1333500 h 2403540"/>
                  <a:gd name="connsiteX4" fmla="*/ 24843 w 2704096"/>
                  <a:gd name="connsiteY4" fmla="*/ 966788 h 2403540"/>
                  <a:gd name="connsiteX5" fmla="*/ 12016 w 2704096"/>
                  <a:gd name="connsiteY5" fmla="*/ 598153 h 2403540"/>
                  <a:gd name="connsiteX6" fmla="*/ 62944 w 2704096"/>
                  <a:gd name="connsiteY6" fmla="*/ 461963 h 2403540"/>
                  <a:gd name="connsiteX7" fmla="*/ 191532 w 2704096"/>
                  <a:gd name="connsiteY7" fmla="*/ 266700 h 2403540"/>
                  <a:gd name="connsiteX8" fmla="*/ 353457 w 2704096"/>
                  <a:gd name="connsiteY8" fmla="*/ 138113 h 2403540"/>
                  <a:gd name="connsiteX9" fmla="*/ 621210 w 2704096"/>
                  <a:gd name="connsiteY9" fmla="*/ 27059 h 2403540"/>
                  <a:gd name="connsiteX10" fmla="*/ 1601232 w 2704096"/>
                  <a:gd name="connsiteY10" fmla="*/ 28575 h 2403540"/>
                  <a:gd name="connsiteX11" fmla="*/ 1882219 w 2704096"/>
                  <a:gd name="connsiteY11" fmla="*/ 0 h 2403540"/>
                  <a:gd name="connsiteX12" fmla="*/ 2210832 w 2704096"/>
                  <a:gd name="connsiteY12" fmla="*/ 57151 h 2403540"/>
                  <a:gd name="connsiteX13" fmla="*/ 2612656 w 2704096"/>
                  <a:gd name="connsiteY13" fmla="*/ 27059 h 2403540"/>
                  <a:gd name="connsiteX14" fmla="*/ 2607261 w 2704096"/>
                  <a:gd name="connsiteY14" fmla="*/ 181547 h 2403540"/>
                  <a:gd name="connsiteX15" fmla="*/ 2704096 w 2704096"/>
                  <a:gd name="connsiteY15" fmla="*/ 276356 h 2403540"/>
                  <a:gd name="connsiteX16" fmla="*/ 621210 w 2704096"/>
                  <a:gd name="connsiteY16" fmla="*/ 285500 h 2403540"/>
                  <a:gd name="connsiteX17" fmla="*/ 303794 w 2704096"/>
                  <a:gd name="connsiteY17" fmla="*/ 602916 h 2403540"/>
                  <a:gd name="connsiteX18" fmla="*/ 303795 w 2704096"/>
                  <a:gd name="connsiteY18" fmla="*/ 2403540 h 2403540"/>
                  <a:gd name="connsiteX19" fmla="*/ 45354 w 2704096"/>
                  <a:gd name="connsiteY19" fmla="*/ 2403540 h 2403540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601232 w 2704096"/>
                  <a:gd name="connsiteY10" fmla="*/ 14288 h 2389253"/>
                  <a:gd name="connsiteX11" fmla="*/ 1867932 w 2704096"/>
                  <a:gd name="connsiteY11" fmla="*/ 0 h 2389253"/>
                  <a:gd name="connsiteX12" fmla="*/ 2210832 w 2704096"/>
                  <a:gd name="connsiteY12" fmla="*/ 42864 h 2389253"/>
                  <a:gd name="connsiteX13" fmla="*/ 2612656 w 2704096"/>
                  <a:gd name="connsiteY13" fmla="*/ 12772 h 2389253"/>
                  <a:gd name="connsiteX14" fmla="*/ 2607261 w 2704096"/>
                  <a:gd name="connsiteY14" fmla="*/ 167260 h 2389253"/>
                  <a:gd name="connsiteX15" fmla="*/ 2704096 w 2704096"/>
                  <a:gd name="connsiteY15" fmla="*/ 262069 h 2389253"/>
                  <a:gd name="connsiteX16" fmla="*/ 621210 w 2704096"/>
                  <a:gd name="connsiteY16" fmla="*/ 271213 h 2389253"/>
                  <a:gd name="connsiteX17" fmla="*/ 303794 w 2704096"/>
                  <a:gd name="connsiteY17" fmla="*/ 588629 h 2389253"/>
                  <a:gd name="connsiteX18" fmla="*/ 303795 w 2704096"/>
                  <a:gd name="connsiteY18" fmla="*/ 2389253 h 2389253"/>
                  <a:gd name="connsiteX19" fmla="*/ 45354 w 2704096"/>
                  <a:gd name="connsiteY19" fmla="*/ 2389253 h 2389253"/>
                  <a:gd name="connsiteX0" fmla="*/ 45354 w 2704096"/>
                  <a:gd name="connsiteY0" fmla="*/ 2389253 h 2389253"/>
                  <a:gd name="connsiteX1" fmla="*/ 72468 w 2704096"/>
                  <a:gd name="connsiteY1" fmla="*/ 2095501 h 2389253"/>
                  <a:gd name="connsiteX2" fmla="*/ 34368 w 2704096"/>
                  <a:gd name="connsiteY2" fmla="*/ 1900238 h 2389253"/>
                  <a:gd name="connsiteX3" fmla="*/ 77231 w 2704096"/>
                  <a:gd name="connsiteY3" fmla="*/ 1319213 h 2389253"/>
                  <a:gd name="connsiteX4" fmla="*/ 24843 w 2704096"/>
                  <a:gd name="connsiteY4" fmla="*/ 952501 h 2389253"/>
                  <a:gd name="connsiteX5" fmla="*/ 12016 w 2704096"/>
                  <a:gd name="connsiteY5" fmla="*/ 583866 h 2389253"/>
                  <a:gd name="connsiteX6" fmla="*/ 62944 w 2704096"/>
                  <a:gd name="connsiteY6" fmla="*/ 447676 h 2389253"/>
                  <a:gd name="connsiteX7" fmla="*/ 191532 w 2704096"/>
                  <a:gd name="connsiteY7" fmla="*/ 252413 h 2389253"/>
                  <a:gd name="connsiteX8" fmla="*/ 353457 w 2704096"/>
                  <a:gd name="connsiteY8" fmla="*/ 123826 h 2389253"/>
                  <a:gd name="connsiteX9" fmla="*/ 621210 w 2704096"/>
                  <a:gd name="connsiteY9" fmla="*/ 12772 h 2389253"/>
                  <a:gd name="connsiteX10" fmla="*/ 1339294 w 2704096"/>
                  <a:gd name="connsiteY10" fmla="*/ 33338 h 2389253"/>
                  <a:gd name="connsiteX11" fmla="*/ 1601232 w 2704096"/>
                  <a:gd name="connsiteY11" fmla="*/ 14288 h 2389253"/>
                  <a:gd name="connsiteX12" fmla="*/ 1867932 w 2704096"/>
                  <a:gd name="connsiteY12" fmla="*/ 0 h 2389253"/>
                  <a:gd name="connsiteX13" fmla="*/ 2210832 w 2704096"/>
                  <a:gd name="connsiteY13" fmla="*/ 42864 h 2389253"/>
                  <a:gd name="connsiteX14" fmla="*/ 2612656 w 2704096"/>
                  <a:gd name="connsiteY14" fmla="*/ 12772 h 2389253"/>
                  <a:gd name="connsiteX15" fmla="*/ 2607261 w 2704096"/>
                  <a:gd name="connsiteY15" fmla="*/ 167260 h 2389253"/>
                  <a:gd name="connsiteX16" fmla="*/ 2704096 w 2704096"/>
                  <a:gd name="connsiteY16" fmla="*/ 262069 h 2389253"/>
                  <a:gd name="connsiteX17" fmla="*/ 621210 w 2704096"/>
                  <a:gd name="connsiteY17" fmla="*/ 271213 h 2389253"/>
                  <a:gd name="connsiteX18" fmla="*/ 303794 w 2704096"/>
                  <a:gd name="connsiteY18" fmla="*/ 588629 h 2389253"/>
                  <a:gd name="connsiteX19" fmla="*/ 303795 w 2704096"/>
                  <a:gd name="connsiteY19" fmla="*/ 2389253 h 2389253"/>
                  <a:gd name="connsiteX20" fmla="*/ 45354 w 2704096"/>
                  <a:gd name="connsiteY20" fmla="*/ 2389253 h 2389253"/>
                  <a:gd name="connsiteX0" fmla="*/ 45354 w 2612790"/>
                  <a:gd name="connsiteY0" fmla="*/ 2389253 h 2389253"/>
                  <a:gd name="connsiteX1" fmla="*/ 72468 w 2612790"/>
                  <a:gd name="connsiteY1" fmla="*/ 2095501 h 2389253"/>
                  <a:gd name="connsiteX2" fmla="*/ 34368 w 2612790"/>
                  <a:gd name="connsiteY2" fmla="*/ 1900238 h 2389253"/>
                  <a:gd name="connsiteX3" fmla="*/ 77231 w 2612790"/>
                  <a:gd name="connsiteY3" fmla="*/ 1319213 h 2389253"/>
                  <a:gd name="connsiteX4" fmla="*/ 24843 w 2612790"/>
                  <a:gd name="connsiteY4" fmla="*/ 952501 h 2389253"/>
                  <a:gd name="connsiteX5" fmla="*/ 12016 w 2612790"/>
                  <a:gd name="connsiteY5" fmla="*/ 583866 h 2389253"/>
                  <a:gd name="connsiteX6" fmla="*/ 62944 w 2612790"/>
                  <a:gd name="connsiteY6" fmla="*/ 447676 h 2389253"/>
                  <a:gd name="connsiteX7" fmla="*/ 191532 w 2612790"/>
                  <a:gd name="connsiteY7" fmla="*/ 252413 h 2389253"/>
                  <a:gd name="connsiteX8" fmla="*/ 353457 w 2612790"/>
                  <a:gd name="connsiteY8" fmla="*/ 123826 h 2389253"/>
                  <a:gd name="connsiteX9" fmla="*/ 621210 w 2612790"/>
                  <a:gd name="connsiteY9" fmla="*/ 12772 h 2389253"/>
                  <a:gd name="connsiteX10" fmla="*/ 1339294 w 2612790"/>
                  <a:gd name="connsiteY10" fmla="*/ 33338 h 2389253"/>
                  <a:gd name="connsiteX11" fmla="*/ 1601232 w 2612790"/>
                  <a:gd name="connsiteY11" fmla="*/ 14288 h 2389253"/>
                  <a:gd name="connsiteX12" fmla="*/ 1867932 w 2612790"/>
                  <a:gd name="connsiteY12" fmla="*/ 0 h 2389253"/>
                  <a:gd name="connsiteX13" fmla="*/ 2210832 w 2612790"/>
                  <a:gd name="connsiteY13" fmla="*/ 42864 h 2389253"/>
                  <a:gd name="connsiteX14" fmla="*/ 2612656 w 2612790"/>
                  <a:gd name="connsiteY14" fmla="*/ 12772 h 2389253"/>
                  <a:gd name="connsiteX15" fmla="*/ 2607261 w 2612790"/>
                  <a:gd name="connsiteY15" fmla="*/ 167260 h 2389253"/>
                  <a:gd name="connsiteX16" fmla="*/ 2051444 w 2612790"/>
                  <a:gd name="connsiteY16" fmla="*/ 268939 h 2389253"/>
                  <a:gd name="connsiteX17" fmla="*/ 621210 w 2612790"/>
                  <a:gd name="connsiteY17" fmla="*/ 271213 h 2389253"/>
                  <a:gd name="connsiteX18" fmla="*/ 303794 w 2612790"/>
                  <a:gd name="connsiteY18" fmla="*/ 588629 h 2389253"/>
                  <a:gd name="connsiteX19" fmla="*/ 303795 w 2612790"/>
                  <a:gd name="connsiteY19" fmla="*/ 2389253 h 2389253"/>
                  <a:gd name="connsiteX20" fmla="*/ 45354 w 2612790"/>
                  <a:gd name="connsiteY20" fmla="*/ 2389253 h 2389253"/>
                  <a:gd name="connsiteX0" fmla="*/ 45354 w 2612656"/>
                  <a:gd name="connsiteY0" fmla="*/ 2389253 h 2389253"/>
                  <a:gd name="connsiteX1" fmla="*/ 72468 w 2612656"/>
                  <a:gd name="connsiteY1" fmla="*/ 2095501 h 2389253"/>
                  <a:gd name="connsiteX2" fmla="*/ 34368 w 2612656"/>
                  <a:gd name="connsiteY2" fmla="*/ 1900238 h 2389253"/>
                  <a:gd name="connsiteX3" fmla="*/ 77231 w 2612656"/>
                  <a:gd name="connsiteY3" fmla="*/ 1319213 h 2389253"/>
                  <a:gd name="connsiteX4" fmla="*/ 24843 w 2612656"/>
                  <a:gd name="connsiteY4" fmla="*/ 952501 h 2389253"/>
                  <a:gd name="connsiteX5" fmla="*/ 12016 w 2612656"/>
                  <a:gd name="connsiteY5" fmla="*/ 583866 h 2389253"/>
                  <a:gd name="connsiteX6" fmla="*/ 62944 w 2612656"/>
                  <a:gd name="connsiteY6" fmla="*/ 447676 h 2389253"/>
                  <a:gd name="connsiteX7" fmla="*/ 191532 w 2612656"/>
                  <a:gd name="connsiteY7" fmla="*/ 252413 h 2389253"/>
                  <a:gd name="connsiteX8" fmla="*/ 353457 w 2612656"/>
                  <a:gd name="connsiteY8" fmla="*/ 123826 h 2389253"/>
                  <a:gd name="connsiteX9" fmla="*/ 621210 w 2612656"/>
                  <a:gd name="connsiteY9" fmla="*/ 12772 h 2389253"/>
                  <a:gd name="connsiteX10" fmla="*/ 1339294 w 2612656"/>
                  <a:gd name="connsiteY10" fmla="*/ 33338 h 2389253"/>
                  <a:gd name="connsiteX11" fmla="*/ 1601232 w 2612656"/>
                  <a:gd name="connsiteY11" fmla="*/ 14288 h 2389253"/>
                  <a:gd name="connsiteX12" fmla="*/ 1867932 w 2612656"/>
                  <a:gd name="connsiteY12" fmla="*/ 0 h 2389253"/>
                  <a:gd name="connsiteX13" fmla="*/ 2210832 w 2612656"/>
                  <a:gd name="connsiteY13" fmla="*/ 42864 h 2389253"/>
                  <a:gd name="connsiteX14" fmla="*/ 2612656 w 2612656"/>
                  <a:gd name="connsiteY14" fmla="*/ 12772 h 2389253"/>
                  <a:gd name="connsiteX15" fmla="*/ 2051444 w 2612656"/>
                  <a:gd name="connsiteY15" fmla="*/ 268939 h 2389253"/>
                  <a:gd name="connsiteX16" fmla="*/ 621210 w 2612656"/>
                  <a:gd name="connsiteY16" fmla="*/ 271213 h 2389253"/>
                  <a:gd name="connsiteX17" fmla="*/ 303794 w 2612656"/>
                  <a:gd name="connsiteY17" fmla="*/ 588629 h 2389253"/>
                  <a:gd name="connsiteX18" fmla="*/ 303795 w 2612656"/>
                  <a:gd name="connsiteY18" fmla="*/ 2389253 h 2389253"/>
                  <a:gd name="connsiteX19" fmla="*/ 45354 w 2612656"/>
                  <a:gd name="connsiteY19" fmla="*/ 2389253 h 2389253"/>
                  <a:gd name="connsiteX0" fmla="*/ 45354 w 2210832"/>
                  <a:gd name="connsiteY0" fmla="*/ 2389253 h 2389253"/>
                  <a:gd name="connsiteX1" fmla="*/ 72468 w 2210832"/>
                  <a:gd name="connsiteY1" fmla="*/ 2095501 h 2389253"/>
                  <a:gd name="connsiteX2" fmla="*/ 34368 w 2210832"/>
                  <a:gd name="connsiteY2" fmla="*/ 1900238 h 2389253"/>
                  <a:gd name="connsiteX3" fmla="*/ 77231 w 2210832"/>
                  <a:gd name="connsiteY3" fmla="*/ 1319213 h 2389253"/>
                  <a:gd name="connsiteX4" fmla="*/ 24843 w 2210832"/>
                  <a:gd name="connsiteY4" fmla="*/ 952501 h 2389253"/>
                  <a:gd name="connsiteX5" fmla="*/ 12016 w 2210832"/>
                  <a:gd name="connsiteY5" fmla="*/ 583866 h 2389253"/>
                  <a:gd name="connsiteX6" fmla="*/ 62944 w 2210832"/>
                  <a:gd name="connsiteY6" fmla="*/ 447676 h 2389253"/>
                  <a:gd name="connsiteX7" fmla="*/ 191532 w 2210832"/>
                  <a:gd name="connsiteY7" fmla="*/ 252413 h 2389253"/>
                  <a:gd name="connsiteX8" fmla="*/ 353457 w 2210832"/>
                  <a:gd name="connsiteY8" fmla="*/ 123826 h 2389253"/>
                  <a:gd name="connsiteX9" fmla="*/ 621210 w 2210832"/>
                  <a:gd name="connsiteY9" fmla="*/ 12772 h 2389253"/>
                  <a:gd name="connsiteX10" fmla="*/ 1339294 w 2210832"/>
                  <a:gd name="connsiteY10" fmla="*/ 33338 h 2389253"/>
                  <a:gd name="connsiteX11" fmla="*/ 1601232 w 2210832"/>
                  <a:gd name="connsiteY11" fmla="*/ 14288 h 2389253"/>
                  <a:gd name="connsiteX12" fmla="*/ 1867932 w 2210832"/>
                  <a:gd name="connsiteY12" fmla="*/ 0 h 2389253"/>
                  <a:gd name="connsiteX13" fmla="*/ 2210832 w 2210832"/>
                  <a:gd name="connsiteY13" fmla="*/ 42864 h 2389253"/>
                  <a:gd name="connsiteX14" fmla="*/ 2051444 w 2210832"/>
                  <a:gd name="connsiteY14" fmla="*/ 268939 h 2389253"/>
                  <a:gd name="connsiteX15" fmla="*/ 621210 w 2210832"/>
                  <a:gd name="connsiteY15" fmla="*/ 271213 h 2389253"/>
                  <a:gd name="connsiteX16" fmla="*/ 303794 w 2210832"/>
                  <a:gd name="connsiteY16" fmla="*/ 588629 h 2389253"/>
                  <a:gd name="connsiteX17" fmla="*/ 303795 w 2210832"/>
                  <a:gd name="connsiteY17" fmla="*/ 2389253 h 2389253"/>
                  <a:gd name="connsiteX18" fmla="*/ 45354 w 2210832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867932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  <a:gd name="connsiteX0" fmla="*/ 45354 w 2051444"/>
                  <a:gd name="connsiteY0" fmla="*/ 2389253 h 2389253"/>
                  <a:gd name="connsiteX1" fmla="*/ 72468 w 2051444"/>
                  <a:gd name="connsiteY1" fmla="*/ 2095501 h 2389253"/>
                  <a:gd name="connsiteX2" fmla="*/ 34368 w 2051444"/>
                  <a:gd name="connsiteY2" fmla="*/ 1900238 h 2389253"/>
                  <a:gd name="connsiteX3" fmla="*/ 77231 w 2051444"/>
                  <a:gd name="connsiteY3" fmla="*/ 1319213 h 2389253"/>
                  <a:gd name="connsiteX4" fmla="*/ 24843 w 2051444"/>
                  <a:gd name="connsiteY4" fmla="*/ 952501 h 2389253"/>
                  <a:gd name="connsiteX5" fmla="*/ 12016 w 2051444"/>
                  <a:gd name="connsiteY5" fmla="*/ 583866 h 2389253"/>
                  <a:gd name="connsiteX6" fmla="*/ 62944 w 2051444"/>
                  <a:gd name="connsiteY6" fmla="*/ 447676 h 2389253"/>
                  <a:gd name="connsiteX7" fmla="*/ 191532 w 2051444"/>
                  <a:gd name="connsiteY7" fmla="*/ 252413 h 2389253"/>
                  <a:gd name="connsiteX8" fmla="*/ 353457 w 2051444"/>
                  <a:gd name="connsiteY8" fmla="*/ 123826 h 2389253"/>
                  <a:gd name="connsiteX9" fmla="*/ 621210 w 2051444"/>
                  <a:gd name="connsiteY9" fmla="*/ 12772 h 2389253"/>
                  <a:gd name="connsiteX10" fmla="*/ 1339294 w 2051444"/>
                  <a:gd name="connsiteY10" fmla="*/ 33338 h 2389253"/>
                  <a:gd name="connsiteX11" fmla="*/ 1601232 w 2051444"/>
                  <a:gd name="connsiteY11" fmla="*/ 14288 h 2389253"/>
                  <a:gd name="connsiteX12" fmla="*/ 1957243 w 2051444"/>
                  <a:gd name="connsiteY12" fmla="*/ 0 h 2389253"/>
                  <a:gd name="connsiteX13" fmla="*/ 1881071 w 2051444"/>
                  <a:gd name="connsiteY13" fmla="*/ 145914 h 2389253"/>
                  <a:gd name="connsiteX14" fmla="*/ 2051444 w 2051444"/>
                  <a:gd name="connsiteY14" fmla="*/ 268939 h 2389253"/>
                  <a:gd name="connsiteX15" fmla="*/ 621210 w 2051444"/>
                  <a:gd name="connsiteY15" fmla="*/ 271213 h 2389253"/>
                  <a:gd name="connsiteX16" fmla="*/ 303794 w 2051444"/>
                  <a:gd name="connsiteY16" fmla="*/ 588629 h 2389253"/>
                  <a:gd name="connsiteX17" fmla="*/ 303795 w 2051444"/>
                  <a:gd name="connsiteY17" fmla="*/ 2389253 h 2389253"/>
                  <a:gd name="connsiteX18" fmla="*/ 45354 w 2051444"/>
                  <a:gd name="connsiteY18" fmla="*/ 2389253 h 238925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2051444" h="2389253">
                    <a:moveTo>
                      <a:pt x="45354" y="2389253"/>
                    </a:moveTo>
                    <a:cubicBezTo>
                      <a:pt x="44867" y="2292923"/>
                      <a:pt x="72955" y="2191831"/>
                      <a:pt x="72468" y="2095501"/>
                    </a:cubicBezTo>
                    <a:cubicBezTo>
                      <a:pt x="72468" y="2058988"/>
                      <a:pt x="34368" y="1936751"/>
                      <a:pt x="34368" y="1900238"/>
                    </a:cubicBezTo>
                    <a:cubicBezTo>
                      <a:pt x="37543" y="1711326"/>
                      <a:pt x="74056" y="1508125"/>
                      <a:pt x="77231" y="1319213"/>
                    </a:cubicBezTo>
                    <a:cubicBezTo>
                      <a:pt x="74056" y="1201738"/>
                      <a:pt x="28018" y="1069976"/>
                      <a:pt x="24843" y="952501"/>
                    </a:cubicBezTo>
                    <a:cubicBezTo>
                      <a:pt x="65017" y="807397"/>
                      <a:pt x="5179" y="705157"/>
                      <a:pt x="12016" y="583866"/>
                    </a:cubicBezTo>
                    <a:cubicBezTo>
                      <a:pt x="13604" y="499729"/>
                      <a:pt x="-38588" y="542858"/>
                      <a:pt x="62944" y="447676"/>
                    </a:cubicBezTo>
                    <a:cubicBezTo>
                      <a:pt x="96832" y="391640"/>
                      <a:pt x="143113" y="306388"/>
                      <a:pt x="191532" y="252413"/>
                    </a:cubicBezTo>
                    <a:cubicBezTo>
                      <a:pt x="239951" y="198438"/>
                      <a:pt x="285813" y="162972"/>
                      <a:pt x="353457" y="123826"/>
                    </a:cubicBezTo>
                    <a:cubicBezTo>
                      <a:pt x="421101" y="84680"/>
                      <a:pt x="455316" y="30235"/>
                      <a:pt x="621210" y="12772"/>
                    </a:cubicBezTo>
                    <a:cubicBezTo>
                      <a:pt x="863746" y="14865"/>
                      <a:pt x="1096758" y="31245"/>
                      <a:pt x="1339294" y="33338"/>
                    </a:cubicBezTo>
                    <a:lnTo>
                      <a:pt x="1601232" y="14288"/>
                    </a:lnTo>
                    <a:cubicBezTo>
                      <a:pt x="1691719" y="14288"/>
                      <a:pt x="1866756" y="0"/>
                      <a:pt x="1957243" y="0"/>
                    </a:cubicBezTo>
                    <a:lnTo>
                      <a:pt x="1881071" y="145914"/>
                    </a:lnTo>
                    <a:lnTo>
                      <a:pt x="2051444" y="268939"/>
                    </a:lnTo>
                    <a:lnTo>
                      <a:pt x="621210" y="271213"/>
                    </a:lnTo>
                    <a:cubicBezTo>
                      <a:pt x="445906" y="271213"/>
                      <a:pt x="303794" y="413325"/>
                      <a:pt x="303794" y="588629"/>
                    </a:cubicBezTo>
                    <a:cubicBezTo>
                      <a:pt x="303794" y="1188837"/>
                      <a:pt x="303795" y="1789045"/>
                      <a:pt x="303795" y="2389253"/>
                    </a:cubicBezTo>
                    <a:lnTo>
                      <a:pt x="45354" y="2389253"/>
                    </a:lnTo>
                    <a:close/>
                  </a:path>
                </a:pathLst>
              </a:custGeom>
              <a:pattFill prst="dkDnDiag">
                <a:fgClr>
                  <a:schemeClr val="accent4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  <p:sp>
            <p:nvSpPr>
              <p:cNvPr id="190" name="Rettangolo 6"/>
              <p:cNvSpPr/>
              <p:nvPr/>
            </p:nvSpPr>
            <p:spPr>
              <a:xfrm>
                <a:off x="5674120" y="1790653"/>
                <a:ext cx="300621" cy="3028426"/>
              </a:xfrm>
              <a:custGeom>
                <a:avLst/>
                <a:gdLst>
                  <a:gd name="connsiteX0" fmla="*/ 0 w 265176"/>
                  <a:gd name="connsiteY0" fmla="*/ 0 h 3886200"/>
                  <a:gd name="connsiteX1" fmla="*/ 265176 w 265176"/>
                  <a:gd name="connsiteY1" fmla="*/ 0 h 3886200"/>
                  <a:gd name="connsiteX2" fmla="*/ 265176 w 265176"/>
                  <a:gd name="connsiteY2" fmla="*/ 3886200 h 3886200"/>
                  <a:gd name="connsiteX3" fmla="*/ 0 w 265176"/>
                  <a:gd name="connsiteY3" fmla="*/ 3886200 h 3886200"/>
                  <a:gd name="connsiteX4" fmla="*/ 0 w 265176"/>
                  <a:gd name="connsiteY4" fmla="*/ 0 h 3886200"/>
                  <a:gd name="connsiteX0" fmla="*/ 0 w 265176"/>
                  <a:gd name="connsiteY0" fmla="*/ 155 h 3886355"/>
                  <a:gd name="connsiteX1" fmla="*/ 155448 w 265176"/>
                  <a:gd name="connsiteY1" fmla="*/ 36731 h 3886355"/>
                  <a:gd name="connsiteX2" fmla="*/ 265176 w 265176"/>
                  <a:gd name="connsiteY2" fmla="*/ 155 h 3886355"/>
                  <a:gd name="connsiteX3" fmla="*/ 265176 w 265176"/>
                  <a:gd name="connsiteY3" fmla="*/ 3886355 h 3886355"/>
                  <a:gd name="connsiteX4" fmla="*/ 0 w 265176"/>
                  <a:gd name="connsiteY4" fmla="*/ 3886355 h 3886355"/>
                  <a:gd name="connsiteX5" fmla="*/ 0 w 265176"/>
                  <a:gd name="connsiteY5" fmla="*/ 155 h 3886355"/>
                  <a:gd name="connsiteX0" fmla="*/ 0 w 265186"/>
                  <a:gd name="connsiteY0" fmla="*/ 155 h 3886355"/>
                  <a:gd name="connsiteX1" fmla="*/ 155448 w 265186"/>
                  <a:gd name="connsiteY1" fmla="*/ 36731 h 3886355"/>
                  <a:gd name="connsiteX2" fmla="*/ 265176 w 265186"/>
                  <a:gd name="connsiteY2" fmla="*/ 155 h 3886355"/>
                  <a:gd name="connsiteX3" fmla="*/ 247695 w 265186"/>
                  <a:gd name="connsiteY3" fmla="*/ 3661757 h 3886355"/>
                  <a:gd name="connsiteX4" fmla="*/ 265176 w 265186"/>
                  <a:gd name="connsiteY4" fmla="*/ 3886355 h 3886355"/>
                  <a:gd name="connsiteX5" fmla="*/ 0 w 265186"/>
                  <a:gd name="connsiteY5" fmla="*/ 3886355 h 3886355"/>
                  <a:gd name="connsiteX6" fmla="*/ 0 w 265186"/>
                  <a:gd name="connsiteY6" fmla="*/ 155 h 3886355"/>
                  <a:gd name="connsiteX0" fmla="*/ 0 w 281981"/>
                  <a:gd name="connsiteY0" fmla="*/ 155 h 3886355"/>
                  <a:gd name="connsiteX1" fmla="*/ 155448 w 281981"/>
                  <a:gd name="connsiteY1" fmla="*/ 36731 h 3886355"/>
                  <a:gd name="connsiteX2" fmla="*/ 265176 w 281981"/>
                  <a:gd name="connsiteY2" fmla="*/ 155 h 3886355"/>
                  <a:gd name="connsiteX3" fmla="*/ 281033 w 281981"/>
                  <a:gd name="connsiteY3" fmla="*/ 3452207 h 3886355"/>
                  <a:gd name="connsiteX4" fmla="*/ 247695 w 281981"/>
                  <a:gd name="connsiteY4" fmla="*/ 3661757 h 3886355"/>
                  <a:gd name="connsiteX5" fmla="*/ 265176 w 281981"/>
                  <a:gd name="connsiteY5" fmla="*/ 3886355 h 3886355"/>
                  <a:gd name="connsiteX6" fmla="*/ 0 w 281981"/>
                  <a:gd name="connsiteY6" fmla="*/ 3886355 h 3886355"/>
                  <a:gd name="connsiteX7" fmla="*/ 0 w 281981"/>
                  <a:gd name="connsiteY7" fmla="*/ 155 h 3886355"/>
                  <a:gd name="connsiteX0" fmla="*/ 0 w 281533"/>
                  <a:gd name="connsiteY0" fmla="*/ 155 h 3886355"/>
                  <a:gd name="connsiteX1" fmla="*/ 155448 w 281533"/>
                  <a:gd name="connsiteY1" fmla="*/ 36731 h 3886355"/>
                  <a:gd name="connsiteX2" fmla="*/ 265176 w 281533"/>
                  <a:gd name="connsiteY2" fmla="*/ 155 h 3886355"/>
                  <a:gd name="connsiteX3" fmla="*/ 252458 w 281533"/>
                  <a:gd name="connsiteY3" fmla="*/ 2028219 h 3886355"/>
                  <a:gd name="connsiteX4" fmla="*/ 281033 w 281533"/>
                  <a:gd name="connsiteY4" fmla="*/ 3452207 h 3886355"/>
                  <a:gd name="connsiteX5" fmla="*/ 247695 w 281533"/>
                  <a:gd name="connsiteY5" fmla="*/ 3661757 h 3886355"/>
                  <a:gd name="connsiteX6" fmla="*/ 265176 w 281533"/>
                  <a:gd name="connsiteY6" fmla="*/ 3886355 h 3886355"/>
                  <a:gd name="connsiteX7" fmla="*/ 0 w 281533"/>
                  <a:gd name="connsiteY7" fmla="*/ 3886355 h 3886355"/>
                  <a:gd name="connsiteX8" fmla="*/ 0 w 281533"/>
                  <a:gd name="connsiteY8" fmla="*/ 155 h 3886355"/>
                  <a:gd name="connsiteX0" fmla="*/ 0 w 284314"/>
                  <a:gd name="connsiteY0" fmla="*/ 155 h 3886355"/>
                  <a:gd name="connsiteX1" fmla="*/ 155448 w 284314"/>
                  <a:gd name="connsiteY1" fmla="*/ 36731 h 3886355"/>
                  <a:gd name="connsiteX2" fmla="*/ 265176 w 284314"/>
                  <a:gd name="connsiteY2" fmla="*/ 155 h 3886355"/>
                  <a:gd name="connsiteX3" fmla="*/ 252458 w 284314"/>
                  <a:gd name="connsiteY3" fmla="*/ 2028219 h 3886355"/>
                  <a:gd name="connsiteX4" fmla="*/ 281033 w 284314"/>
                  <a:gd name="connsiteY4" fmla="*/ 2914044 h 3886355"/>
                  <a:gd name="connsiteX5" fmla="*/ 281033 w 284314"/>
                  <a:gd name="connsiteY5" fmla="*/ 3452207 h 3886355"/>
                  <a:gd name="connsiteX6" fmla="*/ 247695 w 284314"/>
                  <a:gd name="connsiteY6" fmla="*/ 3661757 h 3886355"/>
                  <a:gd name="connsiteX7" fmla="*/ 265176 w 284314"/>
                  <a:gd name="connsiteY7" fmla="*/ 3886355 h 3886355"/>
                  <a:gd name="connsiteX8" fmla="*/ 0 w 284314"/>
                  <a:gd name="connsiteY8" fmla="*/ 3886355 h 3886355"/>
                  <a:gd name="connsiteX9" fmla="*/ 0 w 284314"/>
                  <a:gd name="connsiteY9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4769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81033 w 281804"/>
                  <a:gd name="connsiteY4" fmla="*/ 2914044 h 3886355"/>
                  <a:gd name="connsiteX5" fmla="*/ 252457 w 281804"/>
                  <a:gd name="connsiteY5" fmla="*/ 3195032 h 3886355"/>
                  <a:gd name="connsiteX6" fmla="*/ 281033 w 281804"/>
                  <a:gd name="connsiteY6" fmla="*/ 3452207 h 3886355"/>
                  <a:gd name="connsiteX7" fmla="*/ 266745 w 281804"/>
                  <a:gd name="connsiteY7" fmla="*/ 3661757 h 3886355"/>
                  <a:gd name="connsiteX8" fmla="*/ 265176 w 281804"/>
                  <a:gd name="connsiteY8" fmla="*/ 3886355 h 3886355"/>
                  <a:gd name="connsiteX9" fmla="*/ 0 w 281804"/>
                  <a:gd name="connsiteY9" fmla="*/ 3886355 h 3886355"/>
                  <a:gd name="connsiteX10" fmla="*/ 0 w 281804"/>
                  <a:gd name="connsiteY10" fmla="*/ 155 h 3886355"/>
                  <a:gd name="connsiteX0" fmla="*/ 0 w 281804"/>
                  <a:gd name="connsiteY0" fmla="*/ 155 h 3886355"/>
                  <a:gd name="connsiteX1" fmla="*/ 155448 w 281804"/>
                  <a:gd name="connsiteY1" fmla="*/ 36731 h 3886355"/>
                  <a:gd name="connsiteX2" fmla="*/ 265176 w 281804"/>
                  <a:gd name="connsiteY2" fmla="*/ 155 h 3886355"/>
                  <a:gd name="connsiteX3" fmla="*/ 252458 w 281804"/>
                  <a:gd name="connsiteY3" fmla="*/ 2028219 h 3886355"/>
                  <a:gd name="connsiteX4" fmla="*/ 233407 w 281804"/>
                  <a:gd name="connsiteY4" fmla="*/ 2242532 h 3886355"/>
                  <a:gd name="connsiteX5" fmla="*/ 281033 w 281804"/>
                  <a:gd name="connsiteY5" fmla="*/ 2914044 h 3886355"/>
                  <a:gd name="connsiteX6" fmla="*/ 252457 w 281804"/>
                  <a:gd name="connsiteY6" fmla="*/ 3195032 h 3886355"/>
                  <a:gd name="connsiteX7" fmla="*/ 281033 w 281804"/>
                  <a:gd name="connsiteY7" fmla="*/ 3452207 h 3886355"/>
                  <a:gd name="connsiteX8" fmla="*/ 266745 w 281804"/>
                  <a:gd name="connsiteY8" fmla="*/ 3661757 h 3886355"/>
                  <a:gd name="connsiteX9" fmla="*/ 265176 w 281804"/>
                  <a:gd name="connsiteY9" fmla="*/ 3886355 h 3886355"/>
                  <a:gd name="connsiteX10" fmla="*/ 0 w 281804"/>
                  <a:gd name="connsiteY10" fmla="*/ 3886355 h 3886355"/>
                  <a:gd name="connsiteX11" fmla="*/ 0 w 281804"/>
                  <a:gd name="connsiteY11" fmla="*/ 155 h 3886355"/>
                  <a:gd name="connsiteX0" fmla="*/ 0 w 286180"/>
                  <a:gd name="connsiteY0" fmla="*/ 155 h 3886355"/>
                  <a:gd name="connsiteX1" fmla="*/ 155448 w 286180"/>
                  <a:gd name="connsiteY1" fmla="*/ 36731 h 3886355"/>
                  <a:gd name="connsiteX2" fmla="*/ 265176 w 286180"/>
                  <a:gd name="connsiteY2" fmla="*/ 155 h 3886355"/>
                  <a:gd name="connsiteX3" fmla="*/ 285794 w 286180"/>
                  <a:gd name="connsiteY3" fmla="*/ 1599594 h 3886355"/>
                  <a:gd name="connsiteX4" fmla="*/ 252458 w 286180"/>
                  <a:gd name="connsiteY4" fmla="*/ 2028219 h 3886355"/>
                  <a:gd name="connsiteX5" fmla="*/ 233407 w 286180"/>
                  <a:gd name="connsiteY5" fmla="*/ 2242532 h 3886355"/>
                  <a:gd name="connsiteX6" fmla="*/ 281033 w 286180"/>
                  <a:gd name="connsiteY6" fmla="*/ 2914044 h 3886355"/>
                  <a:gd name="connsiteX7" fmla="*/ 252457 w 286180"/>
                  <a:gd name="connsiteY7" fmla="*/ 3195032 h 3886355"/>
                  <a:gd name="connsiteX8" fmla="*/ 281033 w 286180"/>
                  <a:gd name="connsiteY8" fmla="*/ 3452207 h 3886355"/>
                  <a:gd name="connsiteX9" fmla="*/ 266745 w 286180"/>
                  <a:gd name="connsiteY9" fmla="*/ 3661757 h 3886355"/>
                  <a:gd name="connsiteX10" fmla="*/ 265176 w 286180"/>
                  <a:gd name="connsiteY10" fmla="*/ 3886355 h 3886355"/>
                  <a:gd name="connsiteX11" fmla="*/ 0 w 286180"/>
                  <a:gd name="connsiteY11" fmla="*/ 3886355 h 3886355"/>
                  <a:gd name="connsiteX12" fmla="*/ 0 w 286180"/>
                  <a:gd name="connsiteY12" fmla="*/ 155 h 3886355"/>
                  <a:gd name="connsiteX0" fmla="*/ 0 w 285982"/>
                  <a:gd name="connsiteY0" fmla="*/ 155 h 3886355"/>
                  <a:gd name="connsiteX1" fmla="*/ 155448 w 285982"/>
                  <a:gd name="connsiteY1" fmla="*/ 36731 h 3886355"/>
                  <a:gd name="connsiteX2" fmla="*/ 265176 w 285982"/>
                  <a:gd name="connsiteY2" fmla="*/ 155 h 3886355"/>
                  <a:gd name="connsiteX3" fmla="*/ 247694 w 285982"/>
                  <a:gd name="connsiteY3" fmla="*/ 242282 h 3886355"/>
                  <a:gd name="connsiteX4" fmla="*/ 285794 w 285982"/>
                  <a:gd name="connsiteY4" fmla="*/ 1599594 h 3886355"/>
                  <a:gd name="connsiteX5" fmla="*/ 252458 w 285982"/>
                  <a:gd name="connsiteY5" fmla="*/ 2028219 h 3886355"/>
                  <a:gd name="connsiteX6" fmla="*/ 233407 w 285982"/>
                  <a:gd name="connsiteY6" fmla="*/ 2242532 h 3886355"/>
                  <a:gd name="connsiteX7" fmla="*/ 281033 w 285982"/>
                  <a:gd name="connsiteY7" fmla="*/ 2914044 h 3886355"/>
                  <a:gd name="connsiteX8" fmla="*/ 252457 w 285982"/>
                  <a:gd name="connsiteY8" fmla="*/ 3195032 h 3886355"/>
                  <a:gd name="connsiteX9" fmla="*/ 281033 w 285982"/>
                  <a:gd name="connsiteY9" fmla="*/ 3452207 h 3886355"/>
                  <a:gd name="connsiteX10" fmla="*/ 266745 w 285982"/>
                  <a:gd name="connsiteY10" fmla="*/ 3661757 h 3886355"/>
                  <a:gd name="connsiteX11" fmla="*/ 265176 w 285982"/>
                  <a:gd name="connsiteY11" fmla="*/ 3886355 h 3886355"/>
                  <a:gd name="connsiteX12" fmla="*/ 0 w 285982"/>
                  <a:gd name="connsiteY12" fmla="*/ 3886355 h 3886355"/>
                  <a:gd name="connsiteX13" fmla="*/ 0 w 285982"/>
                  <a:gd name="connsiteY13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47694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354"/>
                  <a:gd name="connsiteY0" fmla="*/ 155 h 3886355"/>
                  <a:gd name="connsiteX1" fmla="*/ 155448 w 286354"/>
                  <a:gd name="connsiteY1" fmla="*/ 36731 h 3886355"/>
                  <a:gd name="connsiteX2" fmla="*/ 265176 w 286354"/>
                  <a:gd name="connsiteY2" fmla="*/ 155 h 3886355"/>
                  <a:gd name="connsiteX3" fmla="*/ 276269 w 286354"/>
                  <a:gd name="connsiteY3" fmla="*/ 242282 h 3886355"/>
                  <a:gd name="connsiteX4" fmla="*/ 257219 w 286354"/>
                  <a:gd name="connsiteY4" fmla="*/ 1180494 h 3886355"/>
                  <a:gd name="connsiteX5" fmla="*/ 285794 w 286354"/>
                  <a:gd name="connsiteY5" fmla="*/ 1599594 h 3886355"/>
                  <a:gd name="connsiteX6" fmla="*/ 252458 w 286354"/>
                  <a:gd name="connsiteY6" fmla="*/ 2028219 h 3886355"/>
                  <a:gd name="connsiteX7" fmla="*/ 233407 w 286354"/>
                  <a:gd name="connsiteY7" fmla="*/ 2242532 h 3886355"/>
                  <a:gd name="connsiteX8" fmla="*/ 281033 w 286354"/>
                  <a:gd name="connsiteY8" fmla="*/ 2914044 h 3886355"/>
                  <a:gd name="connsiteX9" fmla="*/ 252457 w 286354"/>
                  <a:gd name="connsiteY9" fmla="*/ 3195032 h 3886355"/>
                  <a:gd name="connsiteX10" fmla="*/ 281033 w 286354"/>
                  <a:gd name="connsiteY10" fmla="*/ 3452207 h 3886355"/>
                  <a:gd name="connsiteX11" fmla="*/ 266745 w 286354"/>
                  <a:gd name="connsiteY11" fmla="*/ 3661757 h 3886355"/>
                  <a:gd name="connsiteX12" fmla="*/ 265176 w 286354"/>
                  <a:gd name="connsiteY12" fmla="*/ 3886355 h 3886355"/>
                  <a:gd name="connsiteX13" fmla="*/ 0 w 286354"/>
                  <a:gd name="connsiteY13" fmla="*/ 3886355 h 3886355"/>
                  <a:gd name="connsiteX14" fmla="*/ 0 w 286354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33407 w 286838"/>
                  <a:gd name="connsiteY7" fmla="*/ 2242532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81033 w 286838"/>
                  <a:gd name="connsiteY10" fmla="*/ 345220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52457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86838"/>
                  <a:gd name="connsiteY0" fmla="*/ 155 h 3886355"/>
                  <a:gd name="connsiteX1" fmla="*/ 155448 w 286838"/>
                  <a:gd name="connsiteY1" fmla="*/ 36731 h 3886355"/>
                  <a:gd name="connsiteX2" fmla="*/ 265176 w 286838"/>
                  <a:gd name="connsiteY2" fmla="*/ 155 h 3886355"/>
                  <a:gd name="connsiteX3" fmla="*/ 276269 w 286838"/>
                  <a:gd name="connsiteY3" fmla="*/ 242282 h 3886355"/>
                  <a:gd name="connsiteX4" fmla="*/ 271506 w 286838"/>
                  <a:gd name="connsiteY4" fmla="*/ 1180494 h 3886355"/>
                  <a:gd name="connsiteX5" fmla="*/ 285794 w 286838"/>
                  <a:gd name="connsiteY5" fmla="*/ 1599594 h 3886355"/>
                  <a:gd name="connsiteX6" fmla="*/ 252458 w 286838"/>
                  <a:gd name="connsiteY6" fmla="*/ 2028219 h 3886355"/>
                  <a:gd name="connsiteX7" fmla="*/ 257219 w 286838"/>
                  <a:gd name="connsiteY7" fmla="*/ 2252057 h 3886355"/>
                  <a:gd name="connsiteX8" fmla="*/ 281033 w 286838"/>
                  <a:gd name="connsiteY8" fmla="*/ 2914044 h 3886355"/>
                  <a:gd name="connsiteX9" fmla="*/ 266744 w 286838"/>
                  <a:gd name="connsiteY9" fmla="*/ 3195032 h 3886355"/>
                  <a:gd name="connsiteX10" fmla="*/ 261983 w 286838"/>
                  <a:gd name="connsiteY10" fmla="*/ 3433157 h 3886355"/>
                  <a:gd name="connsiteX11" fmla="*/ 266745 w 286838"/>
                  <a:gd name="connsiteY11" fmla="*/ 3661757 h 3886355"/>
                  <a:gd name="connsiteX12" fmla="*/ 265176 w 286838"/>
                  <a:gd name="connsiteY12" fmla="*/ 3886355 h 3886355"/>
                  <a:gd name="connsiteX13" fmla="*/ 0 w 286838"/>
                  <a:gd name="connsiteY13" fmla="*/ 3886355 h 3886355"/>
                  <a:gd name="connsiteX14" fmla="*/ 0 w 286838"/>
                  <a:gd name="connsiteY14" fmla="*/ 155 h 3886355"/>
                  <a:gd name="connsiteX0" fmla="*/ 0 w 293751"/>
                  <a:gd name="connsiteY0" fmla="*/ 155 h 3895880"/>
                  <a:gd name="connsiteX1" fmla="*/ 155448 w 293751"/>
                  <a:gd name="connsiteY1" fmla="*/ 36731 h 3895880"/>
                  <a:gd name="connsiteX2" fmla="*/ 265176 w 293751"/>
                  <a:gd name="connsiteY2" fmla="*/ 155 h 3895880"/>
                  <a:gd name="connsiteX3" fmla="*/ 276269 w 293751"/>
                  <a:gd name="connsiteY3" fmla="*/ 242282 h 3895880"/>
                  <a:gd name="connsiteX4" fmla="*/ 271506 w 293751"/>
                  <a:gd name="connsiteY4" fmla="*/ 1180494 h 3895880"/>
                  <a:gd name="connsiteX5" fmla="*/ 285794 w 293751"/>
                  <a:gd name="connsiteY5" fmla="*/ 1599594 h 3895880"/>
                  <a:gd name="connsiteX6" fmla="*/ 252458 w 293751"/>
                  <a:gd name="connsiteY6" fmla="*/ 2028219 h 3895880"/>
                  <a:gd name="connsiteX7" fmla="*/ 257219 w 293751"/>
                  <a:gd name="connsiteY7" fmla="*/ 2252057 h 3895880"/>
                  <a:gd name="connsiteX8" fmla="*/ 281033 w 293751"/>
                  <a:gd name="connsiteY8" fmla="*/ 2914044 h 3895880"/>
                  <a:gd name="connsiteX9" fmla="*/ 266744 w 293751"/>
                  <a:gd name="connsiteY9" fmla="*/ 3195032 h 3895880"/>
                  <a:gd name="connsiteX10" fmla="*/ 261983 w 293751"/>
                  <a:gd name="connsiteY10" fmla="*/ 3433157 h 3895880"/>
                  <a:gd name="connsiteX11" fmla="*/ 266745 w 293751"/>
                  <a:gd name="connsiteY11" fmla="*/ 3661757 h 3895880"/>
                  <a:gd name="connsiteX12" fmla="*/ 293751 w 293751"/>
                  <a:gd name="connsiteY12" fmla="*/ 3895880 h 3895880"/>
                  <a:gd name="connsiteX13" fmla="*/ 0 w 293751"/>
                  <a:gd name="connsiteY13" fmla="*/ 3886355 h 3895880"/>
                  <a:gd name="connsiteX14" fmla="*/ 0 w 293751"/>
                  <a:gd name="connsiteY14" fmla="*/ 155 h 3895880"/>
                  <a:gd name="connsiteX0" fmla="*/ 0 w 300621"/>
                  <a:gd name="connsiteY0" fmla="*/ 927453 h 3895725"/>
                  <a:gd name="connsiteX1" fmla="*/ 162318 w 300621"/>
                  <a:gd name="connsiteY1" fmla="*/ 36576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927453 h 3895725"/>
                  <a:gd name="connsiteX1" fmla="*/ 127968 w 300621"/>
                  <a:gd name="connsiteY1" fmla="*/ 970899 h 3895725"/>
                  <a:gd name="connsiteX2" fmla="*/ 272046 w 300621"/>
                  <a:gd name="connsiteY2" fmla="*/ 0 h 3895725"/>
                  <a:gd name="connsiteX3" fmla="*/ 283139 w 300621"/>
                  <a:gd name="connsiteY3" fmla="*/ 242127 h 3895725"/>
                  <a:gd name="connsiteX4" fmla="*/ 278376 w 300621"/>
                  <a:gd name="connsiteY4" fmla="*/ 1180339 h 3895725"/>
                  <a:gd name="connsiteX5" fmla="*/ 292664 w 300621"/>
                  <a:gd name="connsiteY5" fmla="*/ 1599439 h 3895725"/>
                  <a:gd name="connsiteX6" fmla="*/ 259328 w 300621"/>
                  <a:gd name="connsiteY6" fmla="*/ 2028064 h 3895725"/>
                  <a:gd name="connsiteX7" fmla="*/ 264089 w 300621"/>
                  <a:gd name="connsiteY7" fmla="*/ 2251902 h 3895725"/>
                  <a:gd name="connsiteX8" fmla="*/ 287903 w 300621"/>
                  <a:gd name="connsiteY8" fmla="*/ 2913889 h 3895725"/>
                  <a:gd name="connsiteX9" fmla="*/ 273614 w 300621"/>
                  <a:gd name="connsiteY9" fmla="*/ 3194877 h 3895725"/>
                  <a:gd name="connsiteX10" fmla="*/ 268853 w 300621"/>
                  <a:gd name="connsiteY10" fmla="*/ 3433002 h 3895725"/>
                  <a:gd name="connsiteX11" fmla="*/ 273615 w 300621"/>
                  <a:gd name="connsiteY11" fmla="*/ 3661602 h 3895725"/>
                  <a:gd name="connsiteX12" fmla="*/ 300621 w 300621"/>
                  <a:gd name="connsiteY12" fmla="*/ 3895725 h 3895725"/>
                  <a:gd name="connsiteX13" fmla="*/ 6870 w 300621"/>
                  <a:gd name="connsiteY13" fmla="*/ 3886200 h 3895725"/>
                  <a:gd name="connsiteX14" fmla="*/ 0 w 300621"/>
                  <a:gd name="connsiteY14" fmla="*/ 927453 h 3895725"/>
                  <a:gd name="connsiteX0" fmla="*/ 0 w 300621"/>
                  <a:gd name="connsiteY0" fmla="*/ 685326 h 3653598"/>
                  <a:gd name="connsiteX1" fmla="*/ 127968 w 300621"/>
                  <a:gd name="connsiteY1" fmla="*/ 728772 h 3653598"/>
                  <a:gd name="connsiteX2" fmla="*/ 283139 w 300621"/>
                  <a:gd name="connsiteY2" fmla="*/ 0 h 3653598"/>
                  <a:gd name="connsiteX3" fmla="*/ 278376 w 300621"/>
                  <a:gd name="connsiteY3" fmla="*/ 938212 h 3653598"/>
                  <a:gd name="connsiteX4" fmla="*/ 292664 w 300621"/>
                  <a:gd name="connsiteY4" fmla="*/ 1357312 h 3653598"/>
                  <a:gd name="connsiteX5" fmla="*/ 259328 w 300621"/>
                  <a:gd name="connsiteY5" fmla="*/ 1785937 h 3653598"/>
                  <a:gd name="connsiteX6" fmla="*/ 264089 w 300621"/>
                  <a:gd name="connsiteY6" fmla="*/ 2009775 h 3653598"/>
                  <a:gd name="connsiteX7" fmla="*/ 287903 w 300621"/>
                  <a:gd name="connsiteY7" fmla="*/ 2671762 h 3653598"/>
                  <a:gd name="connsiteX8" fmla="*/ 273614 w 300621"/>
                  <a:gd name="connsiteY8" fmla="*/ 2952750 h 3653598"/>
                  <a:gd name="connsiteX9" fmla="*/ 268853 w 300621"/>
                  <a:gd name="connsiteY9" fmla="*/ 3190875 h 3653598"/>
                  <a:gd name="connsiteX10" fmla="*/ 273615 w 300621"/>
                  <a:gd name="connsiteY10" fmla="*/ 3419475 h 3653598"/>
                  <a:gd name="connsiteX11" fmla="*/ 300621 w 300621"/>
                  <a:gd name="connsiteY11" fmla="*/ 3653598 h 3653598"/>
                  <a:gd name="connsiteX12" fmla="*/ 6870 w 300621"/>
                  <a:gd name="connsiteY12" fmla="*/ 3644073 h 3653598"/>
                  <a:gd name="connsiteX13" fmla="*/ 0 w 300621"/>
                  <a:gd name="connsiteY13" fmla="*/ 685326 h 3653598"/>
                  <a:gd name="connsiteX0" fmla="*/ 0 w 300621"/>
                  <a:gd name="connsiteY0" fmla="*/ 60154 h 3028426"/>
                  <a:gd name="connsiteX1" fmla="*/ 127968 w 300621"/>
                  <a:gd name="connsiteY1" fmla="*/ 103600 h 3028426"/>
                  <a:gd name="connsiteX2" fmla="*/ 283139 w 300621"/>
                  <a:gd name="connsiteY2" fmla="*/ 0 h 3028426"/>
                  <a:gd name="connsiteX3" fmla="*/ 278376 w 300621"/>
                  <a:gd name="connsiteY3" fmla="*/ 313040 h 3028426"/>
                  <a:gd name="connsiteX4" fmla="*/ 292664 w 300621"/>
                  <a:gd name="connsiteY4" fmla="*/ 732140 h 3028426"/>
                  <a:gd name="connsiteX5" fmla="*/ 259328 w 300621"/>
                  <a:gd name="connsiteY5" fmla="*/ 1160765 h 3028426"/>
                  <a:gd name="connsiteX6" fmla="*/ 264089 w 300621"/>
                  <a:gd name="connsiteY6" fmla="*/ 1384603 h 3028426"/>
                  <a:gd name="connsiteX7" fmla="*/ 287903 w 300621"/>
                  <a:gd name="connsiteY7" fmla="*/ 2046590 h 3028426"/>
                  <a:gd name="connsiteX8" fmla="*/ 273614 w 300621"/>
                  <a:gd name="connsiteY8" fmla="*/ 2327578 h 3028426"/>
                  <a:gd name="connsiteX9" fmla="*/ 268853 w 300621"/>
                  <a:gd name="connsiteY9" fmla="*/ 2565703 h 3028426"/>
                  <a:gd name="connsiteX10" fmla="*/ 273615 w 300621"/>
                  <a:gd name="connsiteY10" fmla="*/ 2794303 h 3028426"/>
                  <a:gd name="connsiteX11" fmla="*/ 300621 w 300621"/>
                  <a:gd name="connsiteY11" fmla="*/ 3028426 h 3028426"/>
                  <a:gd name="connsiteX12" fmla="*/ 6870 w 300621"/>
                  <a:gd name="connsiteY12" fmla="*/ 3018901 h 3028426"/>
                  <a:gd name="connsiteX13" fmla="*/ 0 w 300621"/>
                  <a:gd name="connsiteY13" fmla="*/ 60154 h 30284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300621" h="3028426">
                    <a:moveTo>
                      <a:pt x="0" y="60154"/>
                    </a:moveTo>
                    <a:cubicBezTo>
                      <a:pt x="42672" y="57106"/>
                      <a:pt x="85296" y="106648"/>
                      <a:pt x="127968" y="103600"/>
                    </a:cubicBezTo>
                    <a:lnTo>
                      <a:pt x="283139" y="0"/>
                    </a:lnTo>
                    <a:cubicBezTo>
                      <a:pt x="285782" y="195136"/>
                      <a:pt x="272026" y="86821"/>
                      <a:pt x="278376" y="313040"/>
                    </a:cubicBezTo>
                    <a:cubicBezTo>
                      <a:pt x="284726" y="539259"/>
                      <a:pt x="297426" y="589265"/>
                      <a:pt x="292664" y="732140"/>
                    </a:cubicBezTo>
                    <a:cubicBezTo>
                      <a:pt x="287902" y="875015"/>
                      <a:pt x="262503" y="1053609"/>
                      <a:pt x="259328" y="1160765"/>
                    </a:cubicBezTo>
                    <a:cubicBezTo>
                      <a:pt x="257208" y="1534494"/>
                      <a:pt x="259327" y="1236966"/>
                      <a:pt x="264089" y="1384603"/>
                    </a:cubicBezTo>
                    <a:cubicBezTo>
                      <a:pt x="268851" y="1532240"/>
                      <a:pt x="287903" y="1887840"/>
                      <a:pt x="287903" y="2046590"/>
                    </a:cubicBezTo>
                    <a:cubicBezTo>
                      <a:pt x="293459" y="2255346"/>
                      <a:pt x="273614" y="2237884"/>
                      <a:pt x="273614" y="2327578"/>
                    </a:cubicBezTo>
                    <a:cubicBezTo>
                      <a:pt x="273614" y="2417272"/>
                      <a:pt x="275203" y="2502203"/>
                      <a:pt x="268853" y="2565703"/>
                    </a:cubicBezTo>
                    <a:cubicBezTo>
                      <a:pt x="262503" y="2629203"/>
                      <a:pt x="270702" y="2726708"/>
                      <a:pt x="273615" y="2794303"/>
                    </a:cubicBezTo>
                    <a:lnTo>
                      <a:pt x="300621" y="3028426"/>
                    </a:lnTo>
                    <a:lnTo>
                      <a:pt x="6870" y="3018901"/>
                    </a:lnTo>
                    <a:lnTo>
                      <a:pt x="0" y="60154"/>
                    </a:lnTo>
                    <a:close/>
                  </a:path>
                </a:pathLst>
              </a:custGeom>
              <a:pattFill prst="dkUpDiag">
                <a:fgClr>
                  <a:schemeClr val="accent3">
                    <a:lumMod val="75000"/>
                  </a:schemeClr>
                </a:fgClr>
                <a:bgClr>
                  <a:schemeClr val="bg1"/>
                </a:bgClr>
              </a:pattFill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488" dirty="0">
                  <a:solidFill>
                    <a:schemeClr val="tx1"/>
                  </a:solidFill>
                </a:endParaRPr>
              </a:p>
            </p:txBody>
          </p:sp>
        </p:grpSp>
        <p:grpSp>
          <p:nvGrpSpPr>
            <p:cNvPr id="192" name="Gruppo 191"/>
            <p:cNvGrpSpPr/>
            <p:nvPr/>
          </p:nvGrpSpPr>
          <p:grpSpPr>
            <a:xfrm rot="16200000">
              <a:off x="8478816" y="2249342"/>
              <a:ext cx="103358" cy="255075"/>
              <a:chOff x="5308435" y="4212641"/>
              <a:chExt cx="436890" cy="1168570"/>
            </a:xfrm>
          </p:grpSpPr>
          <p:sp>
            <p:nvSpPr>
              <p:cNvPr id="193" name="Rectangle 325"/>
              <p:cNvSpPr>
                <a:spLocks noChangeArrowheads="1"/>
              </p:cNvSpPr>
              <p:nvPr/>
            </p:nvSpPr>
            <p:spPr bwMode="auto">
              <a:xfrm rot="5400000">
                <a:off x="4961582" y="4652820"/>
                <a:ext cx="1129280" cy="248921"/>
              </a:xfrm>
              <a:prstGeom prst="rect">
                <a:avLst/>
              </a:prstGeom>
              <a:gradFill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4" name="Ritaglia angolo stesso lato rettangolo 193"/>
              <p:cNvSpPr/>
              <p:nvPr/>
            </p:nvSpPr>
            <p:spPr>
              <a:xfrm rot="10800000">
                <a:off x="5308435" y="5302631"/>
                <a:ext cx="436890" cy="78580"/>
              </a:xfrm>
              <a:prstGeom prst="snip2SameRect">
                <a:avLst>
                  <a:gd name="adj1" fmla="val 50000"/>
                  <a:gd name="adj2" fmla="val 0"/>
                </a:avLst>
              </a:prstGeom>
              <a:gradFill flip="none" rotWithShape="1">
                <a:gsLst>
                  <a:gs pos="0">
                    <a:srgbClr val="8F7272"/>
                  </a:gs>
                  <a:gs pos="50000">
                    <a:srgbClr val="FFCCCC"/>
                  </a:gs>
                  <a:gs pos="100000">
                    <a:srgbClr val="8F7272"/>
                  </a:gs>
                </a:gsLst>
                <a:lin ang="0" scaled="1"/>
                <a:tileRect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US" sz="1158" b="1" dirty="0">
                  <a:latin typeface="Arial Narrow" pitchFamily="34" charset="0"/>
                </a:endParaRPr>
              </a:p>
            </p:txBody>
          </p:sp>
        </p:grpSp>
        <p:grpSp>
          <p:nvGrpSpPr>
            <p:cNvPr id="195" name="Group 327"/>
            <p:cNvGrpSpPr>
              <a:grpSpLocks/>
            </p:cNvGrpSpPr>
            <p:nvPr/>
          </p:nvGrpSpPr>
          <p:grpSpPr bwMode="auto">
            <a:xfrm flipV="1">
              <a:off x="8417914" y="2324847"/>
              <a:ext cx="64000" cy="101718"/>
              <a:chOff x="957" y="1985"/>
              <a:chExt cx="256" cy="318"/>
            </a:xfrm>
          </p:grpSpPr>
          <p:sp>
            <p:nvSpPr>
              <p:cNvPr id="196" name="AutoShape 328"/>
              <p:cNvSpPr>
                <a:spLocks noChangeArrowheads="1"/>
              </p:cNvSpPr>
              <p:nvPr/>
            </p:nvSpPr>
            <p:spPr bwMode="auto">
              <a:xfrm rot="5400000" flipH="1">
                <a:off x="974" y="2117"/>
                <a:ext cx="314" cy="53"/>
              </a:xfrm>
              <a:custGeom>
                <a:avLst/>
                <a:gdLst>
                  <a:gd name="T0" fmla="*/ 4 w 21600"/>
                  <a:gd name="T1" fmla="*/ 0 h 21600"/>
                  <a:gd name="T2" fmla="*/ 2 w 21600"/>
                  <a:gd name="T3" fmla="*/ 0 h 21600"/>
                  <a:gd name="T4" fmla="*/ 0 w 21600"/>
                  <a:gd name="T5" fmla="*/ 0 h 21600"/>
                  <a:gd name="T6" fmla="*/ 2 w 21600"/>
                  <a:gd name="T7" fmla="*/ 0 h 21600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2820 w 21600"/>
                  <a:gd name="T13" fmla="*/ 2853 h 21600"/>
                  <a:gd name="T14" fmla="*/ 18780 w 21600"/>
                  <a:gd name="T15" fmla="*/ 18747 h 21600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1600" h="21600">
                    <a:moveTo>
                      <a:pt x="0" y="0"/>
                    </a:moveTo>
                    <a:lnTo>
                      <a:pt x="2076" y="21600"/>
                    </a:lnTo>
                    <a:lnTo>
                      <a:pt x="19524" y="21600"/>
                    </a:lnTo>
                    <a:lnTo>
                      <a:pt x="21600" y="0"/>
                    </a:lnTo>
                    <a:close/>
                  </a:path>
                </a:pathLst>
              </a:cu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7" name="Rectangle 329"/>
              <p:cNvSpPr>
                <a:spLocks noChangeArrowheads="1"/>
              </p:cNvSpPr>
              <p:nvPr/>
            </p:nvSpPr>
            <p:spPr bwMode="auto">
              <a:xfrm flipH="1">
                <a:off x="957" y="2017"/>
                <a:ext cx="153" cy="256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  <p:sp>
            <p:nvSpPr>
              <p:cNvPr id="198" name="Rectangle 330"/>
              <p:cNvSpPr>
                <a:spLocks noChangeArrowheads="1"/>
              </p:cNvSpPr>
              <p:nvPr/>
            </p:nvSpPr>
            <p:spPr bwMode="auto">
              <a:xfrm flipH="1">
                <a:off x="1158" y="1985"/>
                <a:ext cx="55" cy="318"/>
              </a:xfrm>
              <a:prstGeom prst="rect">
                <a:avLst/>
              </a:prstGeom>
              <a:gradFill rotWithShape="1">
                <a:gsLst>
                  <a:gs pos="0">
                    <a:srgbClr val="5E4776"/>
                  </a:gs>
                  <a:gs pos="50000">
                    <a:srgbClr val="CC99FF"/>
                  </a:gs>
                  <a:gs pos="100000">
                    <a:srgbClr val="5E4776"/>
                  </a:gs>
                </a:gsLst>
                <a:lin ang="5400000" scaled="1"/>
              </a:gradFill>
              <a:ln w="9525" algn="ctr">
                <a:solidFill>
                  <a:schemeClr val="tx1"/>
                </a:solidFill>
                <a:miter lim="800000"/>
                <a:headEnd/>
                <a:tailEnd/>
              </a:ln>
            </p:spPr>
            <p:txBody>
              <a:bodyPr wrap="none" anchor="ctr"/>
              <a:lstStyle/>
              <a:p>
                <a:endParaRPr lang="en-GB" sz="1158" b="1" dirty="0">
                  <a:latin typeface="Arial Narrow" pitchFamily="34" charset="0"/>
                </a:endParaRPr>
              </a:p>
            </p:txBody>
          </p:sp>
        </p:grpSp>
        <p:cxnSp>
          <p:nvCxnSpPr>
            <p:cNvPr id="199" name="Connettore 1 198"/>
            <p:cNvCxnSpPr>
              <a:stCxn id="193" idx="1"/>
              <a:endCxn id="193" idx="3"/>
            </p:cNvCxnSpPr>
            <p:nvPr/>
          </p:nvCxnSpPr>
          <p:spPr>
            <a:xfrm>
              <a:off x="8402957" y="2377035"/>
              <a:ext cx="246498" cy="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prstDash val="lgDashDot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3" name="Titolo 4"/>
          <p:cNvSpPr>
            <a:spLocks noGrp="1"/>
          </p:cNvSpPr>
          <p:nvPr>
            <p:ph type="title"/>
          </p:nvPr>
        </p:nvSpPr>
        <p:spPr>
          <a:xfrm>
            <a:off x="164788" y="424103"/>
            <a:ext cx="8979886" cy="585554"/>
          </a:xfrm>
        </p:spPr>
        <p:txBody>
          <a:bodyPr>
            <a:normAutofit/>
          </a:bodyPr>
          <a:lstStyle/>
          <a:p>
            <a:r>
              <a:rPr lang="it-IT" sz="2700" dirty="0" smtClean="0"/>
              <a:t>Stampa additiva </a:t>
            </a:r>
            <a:r>
              <a:rPr lang="it-IT" sz="2700" dirty="0" err="1" smtClean="0"/>
              <a:t>shim</a:t>
            </a:r>
            <a:endParaRPr lang="en-GB" dirty="0"/>
          </a:p>
        </p:txBody>
      </p:sp>
      <p:grpSp>
        <p:nvGrpSpPr>
          <p:cNvPr id="3" name="Gruppo 2"/>
          <p:cNvGrpSpPr/>
          <p:nvPr/>
        </p:nvGrpSpPr>
        <p:grpSpPr>
          <a:xfrm>
            <a:off x="1201230" y="905484"/>
            <a:ext cx="2977897" cy="851812"/>
            <a:chOff x="39717" y="1437759"/>
            <a:chExt cx="3721254" cy="1064445"/>
          </a:xfrm>
        </p:grpSpPr>
        <p:pic>
          <p:nvPicPr>
            <p:cNvPr id="69" name="Immagine 68"/>
            <p:cNvPicPr>
              <a:picLocks noChangeAspect="1"/>
            </p:cNvPicPr>
            <p:nvPr/>
          </p:nvPicPr>
          <p:blipFill rotWithShape="1">
            <a:blip r:embed="rId2"/>
            <a:srcRect r="32713"/>
            <a:stretch/>
          </p:blipFill>
          <p:spPr>
            <a:xfrm>
              <a:off x="39717" y="1437759"/>
              <a:ext cx="684229" cy="1064445"/>
            </a:xfrm>
            <a:prstGeom prst="rect">
              <a:avLst/>
            </a:prstGeom>
          </p:spPr>
        </p:pic>
        <p:grpSp>
          <p:nvGrpSpPr>
            <p:cNvPr id="71" name="Gruppo 70"/>
            <p:cNvGrpSpPr/>
            <p:nvPr/>
          </p:nvGrpSpPr>
          <p:grpSpPr>
            <a:xfrm>
              <a:off x="1643610" y="1562059"/>
              <a:ext cx="2117361" cy="900124"/>
              <a:chOff x="179512" y="-551834"/>
              <a:chExt cx="9384407" cy="5748435"/>
            </a:xfrm>
          </p:grpSpPr>
          <p:pic>
            <p:nvPicPr>
              <p:cNvPr id="72" name="Immagine 71"/>
              <p:cNvPicPr>
                <a:picLocks noChangeAspect="1"/>
              </p:cNvPicPr>
              <p:nvPr/>
            </p:nvPicPr>
            <p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9735" b="89381" l="543" r="99023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20640552" flipV="1">
                <a:off x="179512" y="-551834"/>
                <a:ext cx="8772525" cy="2560346"/>
              </a:xfrm>
              <a:prstGeom prst="rect">
                <a:avLst/>
              </a:prstGeom>
            </p:spPr>
          </p:pic>
          <p:pic>
            <p:nvPicPr>
              <p:cNvPr id="73" name="Immagine 72"/>
              <p:cNvPicPr>
                <a:picLocks noChangeAspect="1"/>
              </p:cNvPicPr>
              <p:nvPr/>
            </p:nvPicPr>
            <p:blipFill>
              <a:blip r:embed="rId5">
                <a:extLst>
                  <a:ext uri="{BEBA8EAE-BF5A-486C-A8C5-ECC9F3942E4B}">
                    <a14:imgProps xmlns:a14="http://schemas.microsoft.com/office/drawing/2010/main">
                      <a14:imgLayer r:embed="rId6">
                        <a14:imgEffect>
                          <a14:backgroundRemoval t="1873" b="100000" l="0" r="100000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20640552" flipV="1">
                <a:off x="467544" y="984408"/>
                <a:ext cx="9096375" cy="2543176"/>
              </a:xfrm>
              <a:prstGeom prst="rect">
                <a:avLst/>
              </a:prstGeom>
            </p:spPr>
          </p:pic>
          <p:pic>
            <p:nvPicPr>
              <p:cNvPr id="74" name="Immagine 73"/>
              <p:cNvPicPr>
                <a:picLocks noChangeAspect="1"/>
              </p:cNvPicPr>
              <p:nvPr/>
            </p:nvPicPr>
            <p:blipFill>
              <a:blip r:embed="rId3">
                <a:extLst>
                  <a:ext uri="{BEBA8EAE-BF5A-486C-A8C5-ECC9F3942E4B}">
                    <a14:imgProps xmlns:a14="http://schemas.microsoft.com/office/drawing/2010/main">
                      <a14:imgLayer r:embed="rId4">
                        <a14:imgEffect>
                          <a14:backgroundRemoval t="9735" b="89381" l="543" r="99023"/>
                        </a14:imgEffect>
                      </a14:imgLayer>
                    </a14:imgProps>
                  </a:ext>
                </a:extLst>
              </a:blip>
              <a:stretch>
                <a:fillRect/>
              </a:stretch>
            </p:blipFill>
            <p:spPr>
              <a:xfrm rot="20640552" flipV="1">
                <a:off x="629468" y="2739117"/>
                <a:ext cx="8772525" cy="2457484"/>
              </a:xfrm>
              <a:prstGeom prst="rect">
                <a:avLst/>
              </a:prstGeom>
            </p:spPr>
          </p:pic>
        </p:grpSp>
        <p:cxnSp>
          <p:nvCxnSpPr>
            <p:cNvPr id="75" name="Connettore diritto 74"/>
            <p:cNvCxnSpPr/>
            <p:nvPr/>
          </p:nvCxnSpPr>
          <p:spPr>
            <a:xfrm>
              <a:off x="428210" y="1730733"/>
              <a:ext cx="3057019" cy="69243"/>
            </a:xfrm>
            <a:prstGeom prst="line">
              <a:avLst/>
            </a:prstGeom>
            <a:ln>
              <a:solidFill>
                <a:srgbClr val="FF0000"/>
              </a:solidFill>
              <a:headEnd type="non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nettore diritto 75"/>
            <p:cNvCxnSpPr/>
            <p:nvPr/>
          </p:nvCxnSpPr>
          <p:spPr>
            <a:xfrm>
              <a:off x="428209" y="1757541"/>
              <a:ext cx="2161948" cy="512071"/>
            </a:xfrm>
            <a:prstGeom prst="line">
              <a:avLst/>
            </a:prstGeom>
            <a:ln>
              <a:solidFill>
                <a:srgbClr val="FF0000"/>
              </a:solidFill>
              <a:headEnd type="none"/>
              <a:tailEnd type="triangle"/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77" name="Immagine 76"/>
            <p:cNvPicPr>
              <a:picLocks noChangeAspect="1"/>
            </p:cNvPicPr>
            <p:nvPr/>
          </p:nvPicPr>
          <p:blipFill rotWithShape="1">
            <a:blip r:embed="rId7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ackgroundRemoval t="0" b="100000" l="61954" r="100000"/>
                      </a14:imgEffect>
                    </a14:imgLayer>
                  </a14:imgProps>
                </a:ext>
              </a:extLst>
            </a:blip>
            <a:srcRect l="64711"/>
            <a:stretch/>
          </p:blipFill>
          <p:spPr>
            <a:xfrm rot="18524022">
              <a:off x="1448698" y="1374821"/>
              <a:ext cx="354967" cy="1076071"/>
            </a:xfrm>
            <a:prstGeom prst="rect">
              <a:avLst/>
            </a:prstGeom>
          </p:spPr>
        </p:pic>
      </p:grpSp>
      <p:pic>
        <p:nvPicPr>
          <p:cNvPr id="79" name="Immagine 78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551622" y="2105915"/>
            <a:ext cx="2153907" cy="1133635"/>
          </a:xfrm>
          <a:prstGeom prst="rect">
            <a:avLst/>
          </a:prstGeom>
        </p:spPr>
      </p:pic>
      <p:sp>
        <p:nvSpPr>
          <p:cNvPr id="5" name="Freccia in giù 4"/>
          <p:cNvSpPr/>
          <p:nvPr/>
        </p:nvSpPr>
        <p:spPr>
          <a:xfrm>
            <a:off x="3399517" y="1754085"/>
            <a:ext cx="327637" cy="276182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2" name="Rettangolo 81"/>
          <p:cNvSpPr/>
          <p:nvPr/>
        </p:nvSpPr>
        <p:spPr>
          <a:xfrm>
            <a:off x="1279349" y="1952758"/>
            <a:ext cx="1183708" cy="45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23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Parts Measurement</a:t>
            </a:r>
            <a:endParaRPr lang="en-US" sz="1323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83" name="Rettangolo 82"/>
          <p:cNvSpPr/>
          <p:nvPr/>
        </p:nvSpPr>
        <p:spPr>
          <a:xfrm>
            <a:off x="3030271" y="3161712"/>
            <a:ext cx="1183708" cy="45619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23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Virtual Shim Simulator</a:t>
            </a:r>
            <a:endParaRPr lang="en-US" sz="1323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84" name="Connettore 2 83"/>
          <p:cNvCxnSpPr>
            <a:stCxn id="122" idx="3"/>
            <a:endCxn id="65" idx="1"/>
          </p:cNvCxnSpPr>
          <p:nvPr/>
        </p:nvCxnSpPr>
        <p:spPr>
          <a:xfrm>
            <a:off x="7049805" y="3371840"/>
            <a:ext cx="1288225" cy="1"/>
          </a:xfrm>
          <a:prstGeom prst="straightConnector1">
            <a:avLst/>
          </a:prstGeom>
          <a:ln>
            <a:solidFill>
              <a:srgbClr val="002060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3" name="Picture 4">
            <a:extLst>
              <a:ext uri="{FF2B5EF4-FFF2-40B4-BE49-F238E27FC236}">
                <a16:creationId xmlns:a16="http://schemas.microsoft.com/office/drawing/2014/main" id="{0628C150-28E4-4057-AFBC-C2FEA7A9A5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855624" y="795765"/>
            <a:ext cx="1714961" cy="1029200"/>
          </a:xfrm>
          <a:prstGeom prst="rect">
            <a:avLst/>
          </a:prstGeom>
        </p:spPr>
      </p:pic>
      <p:grpSp>
        <p:nvGrpSpPr>
          <p:cNvPr id="94" name="Gruppo 93"/>
          <p:cNvGrpSpPr/>
          <p:nvPr/>
        </p:nvGrpSpPr>
        <p:grpSpPr>
          <a:xfrm>
            <a:off x="5366591" y="1273759"/>
            <a:ext cx="2354160" cy="1396770"/>
            <a:chOff x="6585748" y="4995239"/>
            <a:chExt cx="2354160" cy="1396770"/>
          </a:xfrm>
        </p:grpSpPr>
        <p:pic>
          <p:nvPicPr>
            <p:cNvPr id="95" name="Immagine 94"/>
            <p:cNvPicPr>
              <a:picLocks noChangeAspect="1"/>
            </p:cNvPicPr>
            <p:nvPr/>
          </p:nvPicPr>
          <p:blipFill rotWithShape="1">
            <a:blip r:embed="rId11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460" b="15110"/>
            <a:stretch/>
          </p:blipFill>
          <p:spPr bwMode="auto">
            <a:xfrm rot="4071043">
              <a:off x="6892993" y="5267216"/>
              <a:ext cx="1296958" cy="753004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96" name="Rettangolo 95"/>
            <p:cNvSpPr/>
            <p:nvPr/>
          </p:nvSpPr>
          <p:spPr>
            <a:xfrm>
              <a:off x="6585748" y="5930344"/>
              <a:ext cx="2354160" cy="4616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it-IT" sz="1200" dirty="0" err="1">
                  <a:cs typeface="Arial" panose="020B0604020202020204" pitchFamily="34" charset="0"/>
                </a:rPr>
                <a:t>Shim</a:t>
              </a:r>
              <a:r>
                <a:rPr lang="it-IT" sz="1200" dirty="0">
                  <a:cs typeface="Arial" panose="020B0604020202020204" pitchFamily="34" charset="0"/>
                </a:rPr>
                <a:t> stampato con tecnologia FDM in Carbon </a:t>
              </a:r>
              <a:r>
                <a:rPr lang="it-IT" sz="1200" dirty="0" err="1">
                  <a:cs typeface="Arial" panose="020B0604020202020204" pitchFamily="34" charset="0"/>
                </a:rPr>
                <a:t>Peek</a:t>
              </a:r>
              <a:endParaRPr lang="it-IT" sz="1200" dirty="0"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51389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po 1"/>
          <p:cNvGrpSpPr/>
          <p:nvPr/>
        </p:nvGrpSpPr>
        <p:grpSpPr>
          <a:xfrm>
            <a:off x="1171078" y="579549"/>
            <a:ext cx="7490210" cy="4584575"/>
            <a:chOff x="85291" y="1052736"/>
            <a:chExt cx="9058709" cy="5544615"/>
          </a:xfrm>
        </p:grpSpPr>
        <p:sp>
          <p:nvSpPr>
            <p:cNvPr id="16" name="Rectangle 26"/>
            <p:cNvSpPr>
              <a:spLocks noChangeArrowheads="1"/>
            </p:cNvSpPr>
            <p:nvPr/>
          </p:nvSpPr>
          <p:spPr bwMode="auto">
            <a:xfrm>
              <a:off x="3227128" y="4024937"/>
              <a:ext cx="4129561" cy="358452"/>
            </a:xfrm>
            <a:prstGeom prst="rect">
              <a:avLst/>
            </a:prstGeom>
            <a:noFill/>
            <a:ln w="9360">
              <a:noFill/>
              <a:miter lim="800000"/>
              <a:headEnd/>
              <a:tailEnd/>
            </a:ln>
          </p:spPr>
          <p:txBody>
            <a:bodyPr lIns="74417" tIns="57212" rIns="74417" bIns="37208"/>
            <a:lstStyle/>
            <a:p>
              <a:pPr algn="just" defTabSz="371496">
                <a:lnSpc>
                  <a:spcPct val="84000"/>
                </a:lnSpc>
                <a:buClr>
                  <a:srgbClr val="000000"/>
                </a:buClr>
                <a:buSzPct val="100000"/>
                <a:tabLst>
                  <a:tab pos="598593" algn="l"/>
                  <a:tab pos="1197186" algn="l"/>
                  <a:tab pos="1795779" algn="l"/>
                  <a:tab pos="2394372" algn="l"/>
                  <a:tab pos="2992965" algn="l"/>
                  <a:tab pos="3591557" algn="l"/>
                  <a:tab pos="4190150" algn="l"/>
                </a:tabLst>
              </a:pPr>
              <a:r>
                <a:rPr lang="en-GB" sz="992" b="1" i="1" dirty="0">
                  <a:solidFill>
                    <a:prstClr val="white"/>
                  </a:solidFill>
                </a:rPr>
                <a:t>First flight: 2009 / First delivery: 2011</a:t>
              </a:r>
            </a:p>
          </p:txBody>
        </p:sp>
        <p:sp>
          <p:nvSpPr>
            <p:cNvPr id="4" name="Rettangolo 3"/>
            <p:cNvSpPr/>
            <p:nvPr/>
          </p:nvSpPr>
          <p:spPr>
            <a:xfrm>
              <a:off x="179512" y="1139738"/>
              <a:ext cx="3240360" cy="5457613"/>
            </a:xfrm>
            <a:prstGeom prst="rect">
              <a:avLst/>
            </a:prstGeom>
            <a:gradFill flip="none" rotWithShape="1">
              <a:gsLst>
                <a:gs pos="0">
                  <a:srgbClr val="5E9EFF">
                    <a:alpha val="0"/>
                  </a:srgbClr>
                </a:gs>
                <a:gs pos="92000">
                  <a:srgbClr val="A5CCF5"/>
                </a:gs>
                <a:gs pos="100000">
                  <a:srgbClr val="85C2FF"/>
                </a:gs>
                <a:gs pos="100000">
                  <a:srgbClr val="C4D6EB"/>
                </a:gs>
                <a:gs pos="100000">
                  <a:srgbClr val="FFEBFA"/>
                </a:gs>
              </a:gsLst>
              <a:lin ang="16200000" scaled="0"/>
              <a:tileRect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pic>
          <p:nvPicPr>
            <p:cNvPr id="18" name="Picture 3" descr="787-8 Overview"/>
            <p:cNvPicPr>
              <a:picLocks noChangeAspect="1" noChangeArrowheads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1376920"/>
              <a:ext cx="2581589" cy="1332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 Box 4"/>
            <p:cNvSpPr txBox="1">
              <a:spLocks noChangeArrowheads="1"/>
            </p:cNvSpPr>
            <p:nvPr/>
          </p:nvSpPr>
          <p:spPr bwMode="auto">
            <a:xfrm>
              <a:off x="115018" y="2501522"/>
              <a:ext cx="3065573" cy="48094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defTabSz="457200"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defTabSz="45720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defTabSz="4572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defTabSz="4572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defTabSz="4572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sz="992" b="1" dirty="0">
                  <a:solidFill>
                    <a:srgbClr val="000000"/>
                  </a:solidFill>
                  <a:cs typeface="Arial" charset="0"/>
                </a:rPr>
                <a:t>787-8</a:t>
              </a:r>
            </a:p>
            <a:p>
              <a:pPr algn="ctr" eaLnBrk="1" hangingPunct="1"/>
              <a:r>
                <a:rPr lang="en-US" sz="992" dirty="0">
                  <a:solidFill>
                    <a:srgbClr val="000000"/>
                  </a:solidFill>
                  <a:cs typeface="Arial" charset="0"/>
                </a:rPr>
                <a:t>242 passenger (two class configuration)</a:t>
              </a:r>
            </a:p>
          </p:txBody>
        </p:sp>
        <p:sp>
          <p:nvSpPr>
            <p:cNvPr id="20" name="Rectangle 8"/>
            <p:cNvSpPr>
              <a:spLocks noChangeArrowheads="1"/>
            </p:cNvSpPr>
            <p:nvPr/>
          </p:nvSpPr>
          <p:spPr bwMode="auto">
            <a:xfrm>
              <a:off x="85291" y="4309609"/>
              <a:ext cx="3125025" cy="4809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283544" indent="-283544" algn="ctr">
                <a:spcBef>
                  <a:spcPct val="20000"/>
                </a:spcBef>
              </a:pPr>
              <a:r>
                <a:rPr lang="en-US" sz="992" b="1" dirty="0">
                  <a:solidFill>
                    <a:srgbClr val="000000"/>
                  </a:solidFill>
                  <a:cs typeface="Arial" charset="0"/>
                </a:rPr>
                <a:t>787-9</a:t>
              </a:r>
            </a:p>
            <a:p>
              <a:pPr marL="283544" indent="-283544" algn="ctr"/>
              <a:r>
                <a:rPr lang="en-US" sz="992" dirty="0">
                  <a:solidFill>
                    <a:srgbClr val="000000"/>
                  </a:solidFill>
                  <a:cs typeface="Arial" charset="0"/>
                </a:rPr>
                <a:t>290 passenger (two class configuration)</a:t>
              </a:r>
            </a:p>
          </p:txBody>
        </p:sp>
        <p:sp>
          <p:nvSpPr>
            <p:cNvPr id="24" name="Rectangle 8"/>
            <p:cNvSpPr>
              <a:spLocks noChangeArrowheads="1"/>
            </p:cNvSpPr>
            <p:nvPr/>
          </p:nvSpPr>
          <p:spPr bwMode="auto">
            <a:xfrm>
              <a:off x="115018" y="5902411"/>
              <a:ext cx="3065573" cy="48094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>
              <a:spAutoFit/>
            </a:bodyPr>
            <a:lstStyle/>
            <a:p>
              <a:pPr marL="283544" indent="-283544" algn="ctr">
                <a:spcBef>
                  <a:spcPct val="20000"/>
                </a:spcBef>
              </a:pPr>
              <a:r>
                <a:rPr lang="en-US" sz="992" b="1" dirty="0">
                  <a:solidFill>
                    <a:srgbClr val="000000"/>
                  </a:solidFill>
                  <a:cs typeface="Arial" charset="0"/>
                </a:rPr>
                <a:t>787-10</a:t>
              </a:r>
            </a:p>
            <a:p>
              <a:pPr marL="283544" indent="-283544" algn="ctr"/>
              <a:r>
                <a:rPr lang="en-US" sz="992" dirty="0">
                  <a:solidFill>
                    <a:srgbClr val="000000"/>
                  </a:solidFill>
                  <a:cs typeface="Arial" charset="0"/>
                </a:rPr>
                <a:t>330 passenger (two class configuration)</a:t>
              </a:r>
            </a:p>
          </p:txBody>
        </p:sp>
        <p:pic>
          <p:nvPicPr>
            <p:cNvPr id="21" name="Picture 7" descr="787-9 Overview"/>
            <p:cNvPicPr>
              <a:picLocks noChangeAspect="1" noChangeArrowheads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0" y="3068960"/>
              <a:ext cx="2958798" cy="1440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7" descr="787-9 Overview"/>
            <p:cNvPicPr>
              <a:picLocks noChangeAspect="1" noChangeArrowheads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3528" y="4725144"/>
              <a:ext cx="2827337" cy="1376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9555" name="Rectangle 26"/>
            <p:cNvSpPr>
              <a:spLocks noChangeArrowheads="1"/>
            </p:cNvSpPr>
            <p:nvPr/>
          </p:nvSpPr>
          <p:spPr bwMode="auto">
            <a:xfrm>
              <a:off x="3419872" y="1052736"/>
              <a:ext cx="5724128" cy="1474787"/>
            </a:xfrm>
            <a:prstGeom prst="rect">
              <a:avLst/>
            </a:prstGeom>
            <a:noFill/>
            <a:ln w="9360">
              <a:noFill/>
              <a:miter lim="800000"/>
              <a:headEnd/>
              <a:tailEnd/>
            </a:ln>
          </p:spPr>
          <p:txBody>
            <a:bodyPr lIns="74417" tIns="57212" rIns="74417" bIns="37208"/>
            <a:lstStyle/>
            <a:p>
              <a:pPr marL="236287" indent="-236287" defTabSz="371496">
                <a:spcBef>
                  <a:spcPts val="496"/>
                </a:spcBef>
                <a:spcAft>
                  <a:spcPts val="496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tabLst>
                  <a:tab pos="598593" algn="l"/>
                  <a:tab pos="1197186" algn="l"/>
                  <a:tab pos="1795779" algn="l"/>
                  <a:tab pos="2394372" algn="l"/>
                  <a:tab pos="2992965" algn="l"/>
                  <a:tab pos="3591557" algn="l"/>
                  <a:tab pos="4190150" algn="l"/>
                </a:tabLst>
              </a:pPr>
              <a:r>
                <a:rPr lang="en-GB" sz="1323" b="1" dirty="0"/>
                <a:t>Key role in manufacturing the new generation </a:t>
              </a:r>
              <a:r>
                <a:rPr lang="en-GB" sz="1323" b="1" dirty="0" err="1"/>
                <a:t>pax</a:t>
              </a:r>
              <a:r>
                <a:rPr lang="en-GB" sz="1323" b="1" dirty="0"/>
                <a:t> aircraft.</a:t>
              </a:r>
            </a:p>
            <a:p>
              <a:pPr marL="236287" indent="-236287" defTabSz="371496">
                <a:spcBef>
                  <a:spcPts val="496"/>
                </a:spcBef>
                <a:spcAft>
                  <a:spcPts val="496"/>
                </a:spcAft>
                <a:buClr>
                  <a:srgbClr val="000000"/>
                </a:buClr>
                <a:buSzPct val="100000"/>
                <a:buFont typeface="Arial" pitchFamily="34" charset="0"/>
                <a:buChar char="•"/>
                <a:tabLst>
                  <a:tab pos="598593" algn="l"/>
                  <a:tab pos="1197186" algn="l"/>
                  <a:tab pos="1795779" algn="l"/>
                  <a:tab pos="2394372" algn="l"/>
                  <a:tab pos="2992965" algn="l"/>
                  <a:tab pos="3591557" algn="l"/>
                  <a:tab pos="4190150" algn="l"/>
                </a:tabLst>
              </a:pPr>
              <a:r>
                <a:rPr lang="en-GB" sz="1323" b="1" dirty="0"/>
                <a:t>Production of the horizontal stabilizer and the central and aft sections of the fuselage, which together total 14% of the aircraft’s structure.</a:t>
              </a:r>
              <a:endParaRPr lang="en-GB" sz="992" b="1" i="1" dirty="0">
                <a:solidFill>
                  <a:srgbClr val="FF0000"/>
                </a:solidFill>
              </a:endParaRPr>
            </a:p>
          </p:txBody>
        </p:sp>
      </p:grpSp>
      <p:pic>
        <p:nvPicPr>
          <p:cNvPr id="8195" name="Picture 3" descr="C:\Users\uaa1a1l\Desktop\BI46644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85865" y="1968344"/>
            <a:ext cx="4002505" cy="3002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vale 2"/>
          <p:cNvSpPr/>
          <p:nvPr/>
        </p:nvSpPr>
        <p:spPr>
          <a:xfrm>
            <a:off x="4185866" y="3616086"/>
            <a:ext cx="1111835" cy="833558"/>
          </a:xfrm>
          <a:prstGeom prst="ellipse">
            <a:avLst/>
          </a:prstGeom>
          <a:noFill/>
          <a:ln w="28575"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88"/>
          </a:p>
        </p:txBody>
      </p:sp>
      <p:sp>
        <p:nvSpPr>
          <p:cNvPr id="22" name="Ovale 21"/>
          <p:cNvSpPr/>
          <p:nvPr/>
        </p:nvSpPr>
        <p:spPr>
          <a:xfrm>
            <a:off x="5535861" y="3237449"/>
            <a:ext cx="1111835" cy="833558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88"/>
          </a:p>
        </p:txBody>
      </p:sp>
    </p:spTree>
    <p:extLst>
      <p:ext uri="{BB962C8B-B14F-4D97-AF65-F5344CB8AC3E}">
        <p14:creationId xmlns:p14="http://schemas.microsoft.com/office/powerpoint/2010/main" val="1177211986"/>
      </p:ext>
    </p:extLst>
  </p:cSld>
  <p:clrMapOvr>
    <a:masterClrMapping/>
  </p:clrMapOvr>
  <p:transition spd="slow">
    <p:wipe dir="r"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51554" r="-469" b="15170"/>
          <a:stretch/>
        </p:blipFill>
        <p:spPr>
          <a:xfrm rot="5400000">
            <a:off x="992651" y="3962891"/>
            <a:ext cx="1229840" cy="229808"/>
          </a:xfrm>
          <a:prstGeom prst="rect">
            <a:avLst/>
          </a:prstGeom>
        </p:spPr>
      </p:pic>
      <p:pic>
        <p:nvPicPr>
          <p:cNvPr id="7" name="Immagin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-133987" y="3394377"/>
            <a:ext cx="1821686" cy="1027743"/>
          </a:xfrm>
          <a:prstGeom prst="rect">
            <a:avLst/>
          </a:prstGeom>
        </p:spPr>
      </p:pic>
      <p:sp>
        <p:nvSpPr>
          <p:cNvPr id="9" name="Rettangolo 8"/>
          <p:cNvSpPr/>
          <p:nvPr/>
        </p:nvSpPr>
        <p:spPr>
          <a:xfrm>
            <a:off x="290668" y="1244625"/>
            <a:ext cx="9274522" cy="7792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1488" dirty="0"/>
              <a:t>Una intensiva campagna di caratterizzazione dei materiali individuati (C-PEEK) per la realizzazione degli </a:t>
            </a:r>
            <a:r>
              <a:rPr lang="it-IT" sz="1488" dirty="0" err="1"/>
              <a:t>shim</a:t>
            </a:r>
            <a:r>
              <a:rPr lang="it-IT" sz="1488" dirty="0"/>
              <a:t> è stata condotta (Stampa 3D). Prove a trazione, compressione e tomografiche (per la distribuzione delle fibre) dei risultati del processo di stampa sono state condotte.</a:t>
            </a:r>
            <a:endParaRPr lang="it-IT" sz="1488" dirty="0"/>
          </a:p>
        </p:txBody>
      </p:sp>
      <p:sp>
        <p:nvSpPr>
          <p:cNvPr id="10" name="Rettangolo 9"/>
          <p:cNvSpPr/>
          <p:nvPr/>
        </p:nvSpPr>
        <p:spPr>
          <a:xfrm>
            <a:off x="484825" y="4895553"/>
            <a:ext cx="2103461" cy="2450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992" dirty="0"/>
              <a:t>Esempi di provini a trazione realizzati</a:t>
            </a:r>
            <a:endParaRPr lang="it-IT" sz="992" dirty="0"/>
          </a:p>
        </p:txBody>
      </p:sp>
      <p:pic>
        <p:nvPicPr>
          <p:cNvPr id="11" name="Immagine 1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23522" y="2301240"/>
            <a:ext cx="4756795" cy="2323269"/>
          </a:xfrm>
          <a:prstGeom prst="rect">
            <a:avLst/>
          </a:prstGeom>
        </p:spPr>
      </p:pic>
      <p:pic>
        <p:nvPicPr>
          <p:cNvPr id="12" name="Immagine 1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481365" y="2835275"/>
            <a:ext cx="2358237" cy="1810090"/>
          </a:xfrm>
          <a:prstGeom prst="rect">
            <a:avLst/>
          </a:prstGeom>
        </p:spPr>
      </p:pic>
      <p:pic>
        <p:nvPicPr>
          <p:cNvPr id="13" name="Immagine 1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1365" y="2342088"/>
            <a:ext cx="2417775" cy="488280"/>
          </a:xfrm>
          <a:prstGeom prst="rect">
            <a:avLst/>
          </a:prstGeom>
        </p:spPr>
      </p:pic>
      <p:sp>
        <p:nvSpPr>
          <p:cNvPr id="14" name="Rettangolo 13"/>
          <p:cNvSpPr/>
          <p:nvPr/>
        </p:nvSpPr>
        <p:spPr>
          <a:xfrm>
            <a:off x="7567505" y="4792531"/>
            <a:ext cx="2331634" cy="3976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it-IT" sz="992" dirty="0"/>
              <a:t>Esempi di analisi della distribuzione delle fibre per via tomografica</a:t>
            </a:r>
            <a:endParaRPr lang="it-IT" sz="992" dirty="0"/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Proprietà dei materiali e dei processi di stampa 3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154110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4049" y="1108677"/>
            <a:ext cx="3394335" cy="3567596"/>
          </a:xfrm>
          <a:prstGeom prst="rect">
            <a:avLst/>
          </a:prstGeom>
        </p:spPr>
      </p:pic>
      <p:sp>
        <p:nvSpPr>
          <p:cNvPr id="7" name="Rettangolo 6"/>
          <p:cNvSpPr/>
          <p:nvPr/>
        </p:nvSpPr>
        <p:spPr>
          <a:xfrm>
            <a:off x="753586" y="4666524"/>
            <a:ext cx="3357009" cy="2450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992" dirty="0"/>
              <a:t>Esempio di ispezione al SEM di un provino stampato in CPEEK</a:t>
            </a:r>
            <a:endParaRPr lang="it-IT" sz="992" dirty="0"/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44287" y="2239897"/>
            <a:ext cx="3585785" cy="2109502"/>
          </a:xfrm>
          <a:prstGeom prst="rect">
            <a:avLst/>
          </a:prstGeom>
        </p:spPr>
      </p:pic>
      <p:pic>
        <p:nvPicPr>
          <p:cNvPr id="9" name="Immagine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95229" y="1227753"/>
            <a:ext cx="3283903" cy="931421"/>
          </a:xfrm>
          <a:prstGeom prst="rect">
            <a:avLst/>
          </a:prstGeom>
        </p:spPr>
      </p:pic>
      <p:sp>
        <p:nvSpPr>
          <p:cNvPr id="10" name="Rettangolo 9"/>
          <p:cNvSpPr/>
          <p:nvPr/>
        </p:nvSpPr>
        <p:spPr>
          <a:xfrm>
            <a:off x="5544287" y="4666523"/>
            <a:ext cx="3328155" cy="24500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it-IT" sz="992" dirty="0"/>
              <a:t>Analisi della frattura al SEM di un provino stampato in CPEEK</a:t>
            </a:r>
            <a:endParaRPr lang="it-IT" sz="992" dirty="0"/>
          </a:p>
        </p:txBody>
      </p:sp>
    </p:spTree>
    <p:extLst>
      <p:ext uri="{BB962C8B-B14F-4D97-AF65-F5344CB8AC3E}">
        <p14:creationId xmlns:p14="http://schemas.microsoft.com/office/powerpoint/2010/main" val="3463121181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olo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dirty="0" smtClean="0"/>
              <a:t>Deposizione </a:t>
            </a:r>
            <a:r>
              <a:rPr lang="it-IT" dirty="0" err="1" smtClean="0"/>
              <a:t>shim</a:t>
            </a:r>
            <a:r>
              <a:rPr lang="it-IT" dirty="0" smtClean="0"/>
              <a:t> in-situ</a:t>
            </a:r>
            <a:endParaRPr lang="en-GB" dirty="0"/>
          </a:p>
        </p:txBody>
      </p:sp>
      <p:sp>
        <p:nvSpPr>
          <p:cNvPr id="5" name="Segnaposto contenuto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pic>
        <p:nvPicPr>
          <p:cNvPr id="6" name="Picture 3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7805" y="1838653"/>
            <a:ext cx="6120765" cy="2543175"/>
          </a:xfrm>
          <a:prstGeom prst="rect">
            <a:avLst/>
          </a:prstGeom>
          <a:noFill/>
          <a:ln>
            <a:noFill/>
          </a:ln>
          <a:extLst/>
        </p:spPr>
      </p:pic>
      <p:pic>
        <p:nvPicPr>
          <p:cNvPr id="8" name="Immagine 7">
            <a:extLst>
              <a:ext uri="{FF2B5EF4-FFF2-40B4-BE49-F238E27FC236}">
                <a16:creationId xmlns:a16="http://schemas.microsoft.com/office/drawing/2014/main" id="{C565A63F-A6F3-4D99-A3B2-0C2D7C81159C}"/>
              </a:ext>
            </a:extLst>
          </p:cNvPr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38570" y="3425282"/>
            <a:ext cx="3361690" cy="1347542"/>
          </a:xfrm>
          <a:prstGeom prst="rect">
            <a:avLst/>
          </a:prstGeom>
        </p:spPr>
      </p:pic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-1673312" y="1212480"/>
            <a:ext cx="1008062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GB"/>
          </a:p>
        </p:txBody>
      </p:sp>
      <p:pic>
        <p:nvPicPr>
          <p:cNvPr id="4097" name="Immagine 16" descr="20211013_17134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90715" y="1562226"/>
            <a:ext cx="2057400" cy="1782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3"/>
          <p:cNvSpPr>
            <a:spLocks noChangeArrowheads="1"/>
          </p:cNvSpPr>
          <p:nvPr/>
        </p:nvSpPr>
        <p:spPr bwMode="auto">
          <a:xfrm>
            <a:off x="-1673312" y="2995243"/>
            <a:ext cx="10080625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it-IT" altLang="en-US" sz="11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</a:t>
            </a:r>
            <a:endParaRPr kumimoji="0" lang="it-IT" alt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268374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550370" y="746711"/>
            <a:ext cx="8979886" cy="585554"/>
          </a:xfrm>
        </p:spPr>
        <p:txBody>
          <a:bodyPr>
            <a:normAutofit fontScale="90000"/>
          </a:bodyPr>
          <a:lstStyle/>
          <a:p>
            <a:r>
              <a:rPr lang="it-IT" dirty="0"/>
              <a:t>Realizzazione di attrezzature </a:t>
            </a:r>
            <a:r>
              <a:rPr lang="it-IT" dirty="0" smtClean="0"/>
              <a:t>adattative</a:t>
            </a:r>
            <a:r>
              <a:rPr lang="it-IT" dirty="0"/>
              <a:t/>
            </a:r>
            <a:br>
              <a:rPr lang="it-IT" dirty="0"/>
            </a:br>
            <a:endParaRPr lang="en-GB" dirty="0"/>
          </a:p>
        </p:txBody>
      </p:sp>
      <p:pic>
        <p:nvPicPr>
          <p:cNvPr id="4" name="Segnaposto contenuto 3" descr="Immagine che contiene metro da misura&#10;&#10;Descrizione generata automaticamente"/>
          <p:cNvPicPr>
            <a:picLocks noGrp="1"/>
          </p:cNvPicPr>
          <p:nvPr>
            <p:ph idx="1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52" t="33615" r="15334" b="29312"/>
          <a:stretch/>
        </p:blipFill>
        <p:spPr bwMode="auto">
          <a:xfrm>
            <a:off x="4376746" y="1671804"/>
            <a:ext cx="3536934" cy="126507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5" name="Immagine 4" descr="Immagine che contiene testo&#10;&#10;Descrizione generata automaticamente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683" r="2612" b="5410"/>
          <a:stretch/>
        </p:blipFill>
        <p:spPr bwMode="auto">
          <a:xfrm>
            <a:off x="4376746" y="3055059"/>
            <a:ext cx="3536934" cy="9740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Immagine 5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7019" y="1531937"/>
            <a:ext cx="3021505" cy="249713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749499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59945" y="0"/>
          <a:ext cx="131263" cy="131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512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9945" y="0"/>
                        <a:ext cx="131263" cy="1312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9" name="Picture 23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015817" y="685899"/>
            <a:ext cx="1712978" cy="8400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Picture 2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11194" y="810599"/>
            <a:ext cx="2268220" cy="1283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Picture 20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18193" y="730610"/>
            <a:ext cx="2293160" cy="1622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75493" y="2013905"/>
            <a:ext cx="5268732" cy="28809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3" name="Picture 26" descr="capture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88823" y="3021064"/>
            <a:ext cx="1622407" cy="9319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4" name="CasellaDiTesto 13"/>
          <p:cNvSpPr txBox="1">
            <a:spLocks noChangeArrowheads="1"/>
          </p:cNvSpPr>
          <p:nvPr/>
        </p:nvSpPr>
        <p:spPr bwMode="auto">
          <a:xfrm>
            <a:off x="3581019" y="1221759"/>
            <a:ext cx="923433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sz="1158" b="1" dirty="0" err="1">
                <a:solidFill>
                  <a:srgbClr val="000000"/>
                </a:solidFill>
                <a:latin typeface="Calibri" pitchFamily="34" charset="0"/>
              </a:rPr>
              <a:t>Sect</a:t>
            </a:r>
            <a:r>
              <a:rPr lang="it-IT" sz="1158" b="1" dirty="0">
                <a:solidFill>
                  <a:srgbClr val="000000"/>
                </a:solidFill>
                <a:latin typeface="Calibri" pitchFamily="34" charset="0"/>
              </a:rPr>
              <a:t>. 46</a:t>
            </a:r>
          </a:p>
        </p:txBody>
      </p:sp>
      <p:sp>
        <p:nvSpPr>
          <p:cNvPr id="35" name="CasellaDiTesto 15"/>
          <p:cNvSpPr txBox="1">
            <a:spLocks noChangeArrowheads="1"/>
          </p:cNvSpPr>
          <p:nvPr/>
        </p:nvSpPr>
        <p:spPr bwMode="auto">
          <a:xfrm>
            <a:off x="7421910" y="1578999"/>
            <a:ext cx="833559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it-IT" sz="1158" b="1" dirty="0" err="1">
                <a:solidFill>
                  <a:srgbClr val="000000"/>
                </a:solidFill>
                <a:latin typeface="Calibri" pitchFamily="34" charset="0"/>
              </a:rPr>
              <a:t>Sect</a:t>
            </a:r>
            <a:r>
              <a:rPr lang="it-IT" sz="1158" b="1" dirty="0">
                <a:solidFill>
                  <a:srgbClr val="000000"/>
                </a:solidFill>
                <a:latin typeface="Calibri" pitchFamily="34" charset="0"/>
              </a:rPr>
              <a:t>. 44</a:t>
            </a:r>
          </a:p>
        </p:txBody>
      </p:sp>
      <p:cxnSp>
        <p:nvCxnSpPr>
          <p:cNvPr id="38" name="Connettore 2 37"/>
          <p:cNvCxnSpPr/>
          <p:nvPr/>
        </p:nvCxnSpPr>
        <p:spPr>
          <a:xfrm flipH="1">
            <a:off x="6409731" y="1794677"/>
            <a:ext cx="213611" cy="133235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Connettore 2 38"/>
          <p:cNvCxnSpPr/>
          <p:nvPr/>
        </p:nvCxnSpPr>
        <p:spPr>
          <a:xfrm>
            <a:off x="2622453" y="1873827"/>
            <a:ext cx="2834639" cy="1553759"/>
          </a:xfrm>
          <a:prstGeom prst="straightConnector1">
            <a:avLst/>
          </a:prstGeom>
          <a:ln w="28575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Connettore 2 39"/>
          <p:cNvCxnSpPr>
            <a:stCxn id="33" idx="3"/>
          </p:cNvCxnSpPr>
          <p:nvPr/>
        </p:nvCxnSpPr>
        <p:spPr>
          <a:xfrm>
            <a:off x="2911231" y="3487046"/>
            <a:ext cx="700123" cy="288126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CasellaDiTesto 33"/>
          <p:cNvSpPr txBox="1">
            <a:spLocks noChangeArrowheads="1"/>
          </p:cNvSpPr>
          <p:nvPr/>
        </p:nvSpPr>
        <p:spPr bwMode="auto">
          <a:xfrm>
            <a:off x="1318193" y="5097794"/>
            <a:ext cx="7175436" cy="55034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just" eaLnBrk="1" hangingPunct="1"/>
            <a:r>
              <a:rPr lang="en-US" sz="992" b="1" dirty="0">
                <a:solidFill>
                  <a:srgbClr val="000000"/>
                </a:solidFill>
                <a:latin typeface="+mn-lt"/>
              </a:rPr>
              <a:t>Leonardo </a:t>
            </a:r>
            <a:r>
              <a:rPr lang="en-US" sz="992" b="1" dirty="0" err="1">
                <a:solidFill>
                  <a:srgbClr val="000000"/>
                </a:solidFill>
                <a:latin typeface="+mn-lt"/>
              </a:rPr>
              <a:t>Aerostructures</a:t>
            </a:r>
            <a:r>
              <a:rPr lang="en-US" sz="992" b="1" dirty="0">
                <a:solidFill>
                  <a:srgbClr val="000000"/>
                </a:solidFill>
                <a:latin typeface="+mn-lt"/>
              </a:rPr>
              <a:t> Division</a:t>
            </a:r>
          </a:p>
          <a:p>
            <a:pPr marL="141772" indent="-141772" algn="just" eaLnBrk="1" hangingPunct="1">
              <a:buFont typeface="Arial" panose="020B0604020202020204" pitchFamily="34" charset="0"/>
              <a:buChar char="•"/>
            </a:pPr>
            <a:r>
              <a:rPr lang="en-US" sz="992" b="1" dirty="0">
                <a:solidFill>
                  <a:srgbClr val="000000"/>
                </a:solidFill>
                <a:latin typeface="+mn-lt"/>
              </a:rPr>
              <a:t>Single source in the production and assembly of S44 &amp; S46 B787-8 / -9 / -10 and Horizontal Stabilizer of B787-8 </a:t>
            </a:r>
          </a:p>
          <a:p>
            <a:pPr marL="141772" indent="-141772" algn="just" eaLnBrk="1" hangingPunct="1">
              <a:buFont typeface="Arial" panose="020B0604020202020204" pitchFamily="34" charset="0"/>
              <a:buChar char="•"/>
            </a:pPr>
            <a:r>
              <a:rPr lang="en-US" sz="992" b="1" dirty="0">
                <a:solidFill>
                  <a:srgbClr val="000000"/>
                </a:solidFill>
                <a:latin typeface="+mn-lt"/>
              </a:rPr>
              <a:t>Second source in the production of the Horizontal Stabilizer of B787-9 and B787-10.</a:t>
            </a:r>
          </a:p>
        </p:txBody>
      </p:sp>
      <p:sp>
        <p:nvSpPr>
          <p:cNvPr id="2" name="Rettangolo 1"/>
          <p:cNvSpPr/>
          <p:nvPr/>
        </p:nvSpPr>
        <p:spPr>
          <a:xfrm>
            <a:off x="3132553" y="4720350"/>
            <a:ext cx="448466" cy="80369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662" b="1" dirty="0"/>
              <a:t>Leonardo</a:t>
            </a:r>
          </a:p>
        </p:txBody>
      </p:sp>
      <p:sp>
        <p:nvSpPr>
          <p:cNvPr id="16" name="Rettangolo 15"/>
          <p:cNvSpPr/>
          <p:nvPr/>
        </p:nvSpPr>
        <p:spPr>
          <a:xfrm>
            <a:off x="5888176" y="2717389"/>
            <a:ext cx="357200" cy="74417"/>
          </a:xfrm>
          <a:prstGeom prst="rect">
            <a:avLst/>
          </a:prstGeom>
          <a:solidFill>
            <a:srgbClr val="FF000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it-IT" sz="662" b="1" dirty="0"/>
              <a:t>Leonardo</a:t>
            </a:r>
          </a:p>
        </p:txBody>
      </p:sp>
      <p:sp>
        <p:nvSpPr>
          <p:cNvPr id="18" name="Rettangolo 17"/>
          <p:cNvSpPr/>
          <p:nvPr/>
        </p:nvSpPr>
        <p:spPr>
          <a:xfrm>
            <a:off x="4416383" y="4665462"/>
            <a:ext cx="357200" cy="80370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it-IT" sz="662" b="1" dirty="0">
                <a:solidFill>
                  <a:schemeClr val="bg1">
                    <a:lumMod val="65000"/>
                  </a:schemeClr>
                </a:solidFill>
              </a:rPr>
              <a:t>Boeing</a:t>
            </a:r>
          </a:p>
        </p:txBody>
      </p:sp>
    </p:spTree>
    <p:extLst>
      <p:ext uri="{BB962C8B-B14F-4D97-AF65-F5344CB8AC3E}">
        <p14:creationId xmlns:p14="http://schemas.microsoft.com/office/powerpoint/2010/main" val="2360067231"/>
      </p:ext>
    </p:extLst>
  </p:cSld>
  <p:clrMapOvr>
    <a:masterClrMapping/>
  </p:clrMapOvr>
  <p:transition spd="slow">
    <p:wipe dir="r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Title 1"/>
          <p:cNvSpPr txBox="1">
            <a:spLocks/>
          </p:cNvSpPr>
          <p:nvPr/>
        </p:nvSpPr>
        <p:spPr>
          <a:xfrm>
            <a:off x="274106" y="36996"/>
            <a:ext cx="8002449" cy="297669"/>
          </a:xfrm>
          <a:prstGeom prst="rect">
            <a:avLst/>
          </a:prstGeom>
        </p:spPr>
        <p:txBody>
          <a:bodyPr/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1654" b="1" dirty="0">
              <a:solidFill>
                <a:srgbClr val="5B6770"/>
              </a:solidFill>
              <a:cs typeface="Arial"/>
            </a:endParaRPr>
          </a:p>
        </p:txBody>
      </p:sp>
      <p:pic>
        <p:nvPicPr>
          <p:cNvPr id="92" name="Picture 25" descr="zzz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lum bright="10000" contrast="-1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77803" y="1143121"/>
            <a:ext cx="1904118" cy="13493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</p:pic>
      <p:grpSp>
        <p:nvGrpSpPr>
          <p:cNvPr id="4" name="Gruppo 3"/>
          <p:cNvGrpSpPr/>
          <p:nvPr/>
        </p:nvGrpSpPr>
        <p:grpSpPr>
          <a:xfrm>
            <a:off x="283815" y="1284931"/>
            <a:ext cx="8707652" cy="3742675"/>
            <a:chOff x="61255" y="696265"/>
            <a:chExt cx="9874112" cy="4244036"/>
          </a:xfrm>
        </p:grpSpPr>
        <p:pic>
          <p:nvPicPr>
            <p:cNvPr id="11" name="Immagine 10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740531" y="3895672"/>
              <a:ext cx="1181886" cy="589869"/>
            </a:xfrm>
            <a:prstGeom prst="rect">
              <a:avLst/>
            </a:prstGeom>
          </p:spPr>
        </p:pic>
        <p:pic>
          <p:nvPicPr>
            <p:cNvPr id="10" name="Immagine 9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44562" y="3928914"/>
              <a:ext cx="1171611" cy="504664"/>
            </a:xfrm>
            <a:prstGeom prst="rect">
              <a:avLst/>
            </a:prstGeom>
          </p:spPr>
        </p:pic>
        <p:pic>
          <p:nvPicPr>
            <p:cNvPr id="8" name="Immagine 7"/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75564" y="3906344"/>
              <a:ext cx="1158475" cy="588786"/>
            </a:xfrm>
            <a:prstGeom prst="rect">
              <a:avLst/>
            </a:prstGeom>
          </p:spPr>
        </p:pic>
        <p:pic>
          <p:nvPicPr>
            <p:cNvPr id="89" name="Picture 2" descr="Im003563"/>
            <p:cNvPicPr>
              <a:picLocks noChangeAspect="1" noChangeArrowheads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205463" y="3861206"/>
              <a:ext cx="1006848" cy="6548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276" name="Line 17"/>
            <p:cNvSpPr>
              <a:spLocks noChangeShapeType="1"/>
            </p:cNvSpPr>
            <p:nvPr/>
          </p:nvSpPr>
          <p:spPr bwMode="auto">
            <a:xfrm flipV="1">
              <a:off x="78756" y="1633212"/>
              <a:ext cx="9856611" cy="2008415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 type="stealth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11279" name="AutoShape 20"/>
            <p:cNvSpPr>
              <a:spLocks noChangeArrowheads="1"/>
            </p:cNvSpPr>
            <p:nvPr/>
          </p:nvSpPr>
          <p:spPr bwMode="auto">
            <a:xfrm rot="5400000">
              <a:off x="5480389" y="2809825"/>
              <a:ext cx="1277708" cy="504031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4365 h 21600"/>
                <a:gd name="T14" fmla="*/ 19864 w 21600"/>
                <a:gd name="T15" fmla="*/ 172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686" y="0"/>
                  </a:moveTo>
                  <a:lnTo>
                    <a:pt x="18686" y="4365"/>
                  </a:lnTo>
                  <a:lnTo>
                    <a:pt x="3375" y="4365"/>
                  </a:lnTo>
                  <a:lnTo>
                    <a:pt x="3375" y="17235"/>
                  </a:lnTo>
                  <a:lnTo>
                    <a:pt x="18686" y="17235"/>
                  </a:lnTo>
                  <a:lnTo>
                    <a:pt x="18686" y="21600"/>
                  </a:lnTo>
                  <a:lnTo>
                    <a:pt x="21600" y="10800"/>
                  </a:lnTo>
                  <a:lnTo>
                    <a:pt x="18686" y="0"/>
                  </a:lnTo>
                  <a:close/>
                </a:path>
                <a:path w="21600" h="21600">
                  <a:moveTo>
                    <a:pt x="1350" y="4365"/>
                  </a:moveTo>
                  <a:lnTo>
                    <a:pt x="1350" y="17235"/>
                  </a:lnTo>
                  <a:lnTo>
                    <a:pt x="2700" y="17235"/>
                  </a:lnTo>
                  <a:lnTo>
                    <a:pt x="2700" y="4365"/>
                  </a:lnTo>
                  <a:lnTo>
                    <a:pt x="1350" y="4365"/>
                  </a:lnTo>
                  <a:close/>
                </a:path>
                <a:path w="21600" h="21600">
                  <a:moveTo>
                    <a:pt x="0" y="4365"/>
                  </a:moveTo>
                  <a:lnTo>
                    <a:pt x="0" y="17235"/>
                  </a:lnTo>
                  <a:lnTo>
                    <a:pt x="675" y="17235"/>
                  </a:lnTo>
                  <a:lnTo>
                    <a:pt x="675" y="4365"/>
                  </a:lnTo>
                  <a:lnTo>
                    <a:pt x="0" y="4365"/>
                  </a:lnTo>
                  <a:close/>
                </a:path>
              </a:pathLst>
            </a:custGeom>
            <a:solidFill>
              <a:srgbClr val="B2B2B2">
                <a:alpha val="41176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11323" name="Rectangle 11"/>
            <p:cNvSpPr>
              <a:spLocks noChangeArrowheads="1"/>
            </p:cNvSpPr>
            <p:nvPr/>
          </p:nvSpPr>
          <p:spPr bwMode="auto">
            <a:xfrm>
              <a:off x="3910883" y="4491588"/>
              <a:ext cx="1123156" cy="270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it-IT" altLang="en-US" sz="1158" b="1" dirty="0">
                  <a:solidFill>
                    <a:srgbClr val="000066"/>
                  </a:solidFill>
                  <a:latin typeface="Calibri"/>
                </a:rPr>
                <a:t>Boeing B787-8</a:t>
              </a:r>
            </a:p>
          </p:txBody>
        </p:sp>
        <p:sp>
          <p:nvSpPr>
            <p:cNvPr id="67" name="Rettangolo arrotondato 66"/>
            <p:cNvSpPr/>
            <p:nvPr/>
          </p:nvSpPr>
          <p:spPr>
            <a:xfrm>
              <a:off x="3862428" y="3861206"/>
              <a:ext cx="1181886" cy="654843"/>
            </a:xfrm>
            <a:prstGeom prst="roundRect">
              <a:avLst>
                <a:gd name="adj" fmla="val 4960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sp>
          <p:nvSpPr>
            <p:cNvPr id="84" name="AutoShape 20"/>
            <p:cNvSpPr>
              <a:spLocks noChangeArrowheads="1"/>
            </p:cNvSpPr>
            <p:nvPr/>
          </p:nvSpPr>
          <p:spPr bwMode="auto">
            <a:xfrm rot="5400000">
              <a:off x="3929929" y="2936611"/>
              <a:ext cx="986722" cy="504031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4365 h 21600"/>
                <a:gd name="T14" fmla="*/ 19864 w 21600"/>
                <a:gd name="T15" fmla="*/ 172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686" y="0"/>
                  </a:moveTo>
                  <a:lnTo>
                    <a:pt x="18686" y="4365"/>
                  </a:lnTo>
                  <a:lnTo>
                    <a:pt x="3375" y="4365"/>
                  </a:lnTo>
                  <a:lnTo>
                    <a:pt x="3375" y="17235"/>
                  </a:lnTo>
                  <a:lnTo>
                    <a:pt x="18686" y="17235"/>
                  </a:lnTo>
                  <a:lnTo>
                    <a:pt x="18686" y="21600"/>
                  </a:lnTo>
                  <a:lnTo>
                    <a:pt x="21600" y="10800"/>
                  </a:lnTo>
                  <a:lnTo>
                    <a:pt x="18686" y="0"/>
                  </a:lnTo>
                  <a:close/>
                </a:path>
                <a:path w="21600" h="21600">
                  <a:moveTo>
                    <a:pt x="1350" y="4365"/>
                  </a:moveTo>
                  <a:lnTo>
                    <a:pt x="1350" y="17235"/>
                  </a:lnTo>
                  <a:lnTo>
                    <a:pt x="2700" y="17235"/>
                  </a:lnTo>
                  <a:lnTo>
                    <a:pt x="2700" y="4365"/>
                  </a:lnTo>
                  <a:lnTo>
                    <a:pt x="1350" y="4365"/>
                  </a:lnTo>
                  <a:close/>
                </a:path>
                <a:path w="21600" h="21600">
                  <a:moveTo>
                    <a:pt x="0" y="4365"/>
                  </a:moveTo>
                  <a:lnTo>
                    <a:pt x="0" y="17235"/>
                  </a:lnTo>
                  <a:lnTo>
                    <a:pt x="675" y="17235"/>
                  </a:lnTo>
                  <a:lnTo>
                    <a:pt x="675" y="4365"/>
                  </a:lnTo>
                  <a:lnTo>
                    <a:pt x="0" y="4365"/>
                  </a:lnTo>
                  <a:close/>
                </a:path>
              </a:pathLst>
            </a:custGeom>
            <a:solidFill>
              <a:srgbClr val="B2B2B2">
                <a:alpha val="41176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85" name="AutoShape 20"/>
            <p:cNvSpPr>
              <a:spLocks noChangeArrowheads="1"/>
            </p:cNvSpPr>
            <p:nvPr/>
          </p:nvSpPr>
          <p:spPr bwMode="auto">
            <a:xfrm rot="5400000">
              <a:off x="2363215" y="3206591"/>
              <a:ext cx="539962" cy="504031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4365 h 21600"/>
                <a:gd name="T14" fmla="*/ 19864 w 21600"/>
                <a:gd name="T15" fmla="*/ 172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686" y="0"/>
                  </a:moveTo>
                  <a:lnTo>
                    <a:pt x="18686" y="4365"/>
                  </a:lnTo>
                  <a:lnTo>
                    <a:pt x="3375" y="4365"/>
                  </a:lnTo>
                  <a:lnTo>
                    <a:pt x="3375" y="17235"/>
                  </a:lnTo>
                  <a:lnTo>
                    <a:pt x="18686" y="17235"/>
                  </a:lnTo>
                  <a:lnTo>
                    <a:pt x="18686" y="21600"/>
                  </a:lnTo>
                  <a:lnTo>
                    <a:pt x="21600" y="10800"/>
                  </a:lnTo>
                  <a:lnTo>
                    <a:pt x="18686" y="0"/>
                  </a:lnTo>
                  <a:close/>
                </a:path>
                <a:path w="21600" h="21600">
                  <a:moveTo>
                    <a:pt x="1350" y="4365"/>
                  </a:moveTo>
                  <a:lnTo>
                    <a:pt x="1350" y="17235"/>
                  </a:lnTo>
                  <a:lnTo>
                    <a:pt x="2700" y="17235"/>
                  </a:lnTo>
                  <a:lnTo>
                    <a:pt x="2700" y="4365"/>
                  </a:lnTo>
                  <a:lnTo>
                    <a:pt x="1350" y="4365"/>
                  </a:lnTo>
                  <a:close/>
                </a:path>
                <a:path w="21600" h="21600">
                  <a:moveTo>
                    <a:pt x="0" y="4365"/>
                  </a:moveTo>
                  <a:lnTo>
                    <a:pt x="0" y="17235"/>
                  </a:lnTo>
                  <a:lnTo>
                    <a:pt x="675" y="17235"/>
                  </a:lnTo>
                  <a:lnTo>
                    <a:pt x="675" y="4365"/>
                  </a:lnTo>
                  <a:lnTo>
                    <a:pt x="0" y="4365"/>
                  </a:lnTo>
                  <a:close/>
                </a:path>
              </a:pathLst>
            </a:custGeom>
            <a:solidFill>
              <a:srgbClr val="B2B2B2">
                <a:alpha val="41176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11326" name="Text Box 48"/>
            <p:cNvSpPr txBox="1">
              <a:spLocks noChangeArrowheads="1"/>
            </p:cNvSpPr>
            <p:nvPr/>
          </p:nvSpPr>
          <p:spPr bwMode="auto">
            <a:xfrm>
              <a:off x="2265744" y="3453624"/>
              <a:ext cx="752547" cy="245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it-IT"/>
              </a:defPPr>
              <a:lvl1pPr eaLnBrk="1" hangingPunct="1">
                <a:spcBef>
                  <a:spcPct val="50000"/>
                </a:spcBef>
                <a:defRPr sz="1200" b="1">
                  <a:solidFill>
                    <a:schemeClr val="accent1">
                      <a:lumMod val="75000"/>
                    </a:schemeClr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latin typeface="Arial" charset="0"/>
                </a:defRPr>
              </a:lvl2pPr>
              <a:lvl3pPr marL="1143000" indent="-228600" eaLnBrk="0" hangingPunct="0">
                <a:defRPr>
                  <a:latin typeface="Arial" charset="0"/>
                </a:defRPr>
              </a:lvl3pPr>
              <a:lvl4pPr marL="1600200" indent="-228600" eaLnBrk="0" hangingPunct="0">
                <a:defRPr>
                  <a:latin typeface="Arial" charset="0"/>
                </a:defRPr>
              </a:lvl4pPr>
              <a:lvl5pPr marL="2057400" indent="-228600" eaLnBrk="0" hangingPunct="0">
                <a:defRPr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9pPr>
            </a:lstStyle>
            <a:p>
              <a:pPr algn="ctr"/>
              <a:r>
                <a:rPr lang="it-IT" altLang="en-US" sz="992" dirty="0">
                  <a:solidFill>
                    <a:srgbClr val="61656F"/>
                  </a:solidFill>
                </a:rPr>
                <a:t>1993</a:t>
              </a:r>
            </a:p>
          </p:txBody>
        </p:sp>
        <p:sp>
          <p:nvSpPr>
            <p:cNvPr id="86" name="Text Box 48"/>
            <p:cNvSpPr txBox="1">
              <a:spLocks noChangeArrowheads="1"/>
            </p:cNvSpPr>
            <p:nvPr/>
          </p:nvSpPr>
          <p:spPr bwMode="auto">
            <a:xfrm>
              <a:off x="4076845" y="3444441"/>
              <a:ext cx="752547" cy="245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it-IT"/>
              </a:defPPr>
              <a:lvl1pPr eaLnBrk="1" hangingPunct="1">
                <a:spcBef>
                  <a:spcPct val="50000"/>
                </a:spcBef>
                <a:defRPr sz="1200" b="1">
                  <a:solidFill>
                    <a:schemeClr val="accent1">
                      <a:lumMod val="75000"/>
                    </a:schemeClr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latin typeface="Arial" charset="0"/>
                </a:defRPr>
              </a:lvl2pPr>
              <a:lvl3pPr marL="1143000" indent="-228600" eaLnBrk="0" hangingPunct="0">
                <a:defRPr>
                  <a:latin typeface="Arial" charset="0"/>
                </a:defRPr>
              </a:lvl3pPr>
              <a:lvl4pPr marL="1600200" indent="-228600" eaLnBrk="0" hangingPunct="0">
                <a:defRPr>
                  <a:latin typeface="Arial" charset="0"/>
                </a:defRPr>
              </a:lvl4pPr>
              <a:lvl5pPr marL="2057400" indent="-228600" eaLnBrk="0" hangingPunct="0">
                <a:defRPr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9pPr>
            </a:lstStyle>
            <a:p>
              <a:pPr algn="ctr"/>
              <a:r>
                <a:rPr lang="it-IT" altLang="en-US" sz="992" dirty="0">
                  <a:solidFill>
                    <a:srgbClr val="61656F"/>
                  </a:solidFill>
                </a:rPr>
                <a:t>2007</a:t>
              </a:r>
            </a:p>
          </p:txBody>
        </p:sp>
        <p:sp>
          <p:nvSpPr>
            <p:cNvPr id="88" name="Text Box 48"/>
            <p:cNvSpPr txBox="1">
              <a:spLocks noChangeArrowheads="1"/>
            </p:cNvSpPr>
            <p:nvPr/>
          </p:nvSpPr>
          <p:spPr bwMode="auto">
            <a:xfrm>
              <a:off x="5765238" y="3444441"/>
              <a:ext cx="752547" cy="245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it-IT"/>
              </a:defPPr>
              <a:lvl1pPr eaLnBrk="1" hangingPunct="1">
                <a:spcBef>
                  <a:spcPct val="50000"/>
                </a:spcBef>
                <a:defRPr sz="1200" b="1">
                  <a:solidFill>
                    <a:schemeClr val="accent1">
                      <a:lumMod val="75000"/>
                    </a:schemeClr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latin typeface="Arial" charset="0"/>
                </a:defRPr>
              </a:lvl2pPr>
              <a:lvl3pPr marL="1143000" indent="-228600" eaLnBrk="0" hangingPunct="0">
                <a:defRPr>
                  <a:latin typeface="Arial" charset="0"/>
                </a:defRPr>
              </a:lvl3pPr>
              <a:lvl4pPr marL="1600200" indent="-228600" eaLnBrk="0" hangingPunct="0">
                <a:defRPr>
                  <a:latin typeface="Arial" charset="0"/>
                </a:defRPr>
              </a:lvl4pPr>
              <a:lvl5pPr marL="2057400" indent="-228600" eaLnBrk="0" hangingPunct="0">
                <a:defRPr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9pPr>
            </a:lstStyle>
            <a:p>
              <a:pPr algn="ctr"/>
              <a:r>
                <a:rPr lang="it-IT" altLang="en-US" sz="992" dirty="0">
                  <a:solidFill>
                    <a:srgbClr val="61656F"/>
                  </a:solidFill>
                </a:rPr>
                <a:t>2013</a:t>
              </a:r>
            </a:p>
          </p:txBody>
        </p:sp>
        <p:sp>
          <p:nvSpPr>
            <p:cNvPr id="91" name="AutoShape 20"/>
            <p:cNvSpPr>
              <a:spLocks noChangeArrowheads="1"/>
            </p:cNvSpPr>
            <p:nvPr/>
          </p:nvSpPr>
          <p:spPr bwMode="auto">
            <a:xfrm rot="5400000">
              <a:off x="8351226" y="2610643"/>
              <a:ext cx="1758944" cy="504031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4365 h 21600"/>
                <a:gd name="T14" fmla="*/ 19864 w 21600"/>
                <a:gd name="T15" fmla="*/ 172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686" y="0"/>
                  </a:moveTo>
                  <a:lnTo>
                    <a:pt x="18686" y="4365"/>
                  </a:lnTo>
                  <a:lnTo>
                    <a:pt x="3375" y="4365"/>
                  </a:lnTo>
                  <a:lnTo>
                    <a:pt x="3375" y="17235"/>
                  </a:lnTo>
                  <a:lnTo>
                    <a:pt x="18686" y="17235"/>
                  </a:lnTo>
                  <a:lnTo>
                    <a:pt x="18686" y="21600"/>
                  </a:lnTo>
                  <a:lnTo>
                    <a:pt x="21600" y="10800"/>
                  </a:lnTo>
                  <a:lnTo>
                    <a:pt x="18686" y="0"/>
                  </a:lnTo>
                  <a:close/>
                </a:path>
                <a:path w="21600" h="21600">
                  <a:moveTo>
                    <a:pt x="1350" y="4365"/>
                  </a:moveTo>
                  <a:lnTo>
                    <a:pt x="1350" y="17235"/>
                  </a:lnTo>
                  <a:lnTo>
                    <a:pt x="2700" y="17235"/>
                  </a:lnTo>
                  <a:lnTo>
                    <a:pt x="2700" y="4365"/>
                  </a:lnTo>
                  <a:lnTo>
                    <a:pt x="1350" y="4365"/>
                  </a:lnTo>
                  <a:close/>
                </a:path>
                <a:path w="21600" h="21600">
                  <a:moveTo>
                    <a:pt x="0" y="4365"/>
                  </a:moveTo>
                  <a:lnTo>
                    <a:pt x="0" y="17235"/>
                  </a:lnTo>
                  <a:lnTo>
                    <a:pt x="675" y="17235"/>
                  </a:lnTo>
                  <a:lnTo>
                    <a:pt x="675" y="4365"/>
                  </a:lnTo>
                  <a:lnTo>
                    <a:pt x="0" y="4365"/>
                  </a:lnTo>
                  <a:close/>
                </a:path>
              </a:pathLst>
            </a:custGeom>
            <a:solidFill>
              <a:srgbClr val="B2B2B2">
                <a:alpha val="41176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90" name="Text Box 48"/>
            <p:cNvSpPr txBox="1">
              <a:spLocks noChangeArrowheads="1"/>
            </p:cNvSpPr>
            <p:nvPr/>
          </p:nvSpPr>
          <p:spPr bwMode="auto">
            <a:xfrm>
              <a:off x="8861206" y="3444441"/>
              <a:ext cx="752547" cy="245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it-IT"/>
              </a:defPPr>
              <a:lvl1pPr eaLnBrk="1" hangingPunct="1">
                <a:spcBef>
                  <a:spcPct val="50000"/>
                </a:spcBef>
                <a:defRPr sz="1200" b="1">
                  <a:solidFill>
                    <a:schemeClr val="accent1">
                      <a:lumMod val="75000"/>
                    </a:schemeClr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latin typeface="Arial" charset="0"/>
                </a:defRPr>
              </a:lvl2pPr>
              <a:lvl3pPr marL="1143000" indent="-228600" eaLnBrk="0" hangingPunct="0">
                <a:defRPr>
                  <a:latin typeface="Arial" charset="0"/>
                </a:defRPr>
              </a:lvl3pPr>
              <a:lvl4pPr marL="1600200" indent="-228600" eaLnBrk="0" hangingPunct="0">
                <a:defRPr>
                  <a:latin typeface="Arial" charset="0"/>
                </a:defRPr>
              </a:lvl4pPr>
              <a:lvl5pPr marL="2057400" indent="-228600" eaLnBrk="0" hangingPunct="0">
                <a:defRPr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9pPr>
            </a:lstStyle>
            <a:p>
              <a:pPr algn="ctr"/>
              <a:r>
                <a:rPr lang="it-IT" altLang="en-US" sz="992" dirty="0">
                  <a:solidFill>
                    <a:srgbClr val="61656F"/>
                  </a:solidFill>
                </a:rPr>
                <a:t>2016</a:t>
              </a:r>
            </a:p>
          </p:txBody>
        </p:sp>
        <p:sp>
          <p:nvSpPr>
            <p:cNvPr id="11275" name="Line 16"/>
            <p:cNvSpPr>
              <a:spLocks noChangeShapeType="1"/>
            </p:cNvSpPr>
            <p:nvPr/>
          </p:nvSpPr>
          <p:spPr bwMode="auto">
            <a:xfrm flipV="1">
              <a:off x="61255" y="3761072"/>
              <a:ext cx="9874112" cy="0"/>
            </a:xfrm>
            <a:prstGeom prst="line">
              <a:avLst/>
            </a:prstGeom>
            <a:noFill/>
            <a:ln w="38100">
              <a:solidFill>
                <a:srgbClr val="61656F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105" name="Text Box 2"/>
            <p:cNvSpPr txBox="1">
              <a:spLocks noChangeArrowheads="1"/>
            </p:cNvSpPr>
            <p:nvPr/>
          </p:nvSpPr>
          <p:spPr bwMode="auto">
            <a:xfrm>
              <a:off x="3900753" y="2287736"/>
              <a:ext cx="1067680" cy="270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33134" rIns="0" bIns="3313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3503" indent="-73503" eaLnBrk="1" hangingPunct="1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lang="en-US" altLang="en-US" sz="661" b="1" dirty="0">
                  <a:solidFill>
                    <a:srgbClr val="000066"/>
                  </a:solidFill>
                  <a:latin typeface="Calibri"/>
                </a:rPr>
                <a:t>Fuselage S44 &amp; S46 One piece barrel</a:t>
              </a:r>
            </a:p>
          </p:txBody>
        </p:sp>
        <p:sp>
          <p:nvSpPr>
            <p:cNvPr id="59" name="Rectangle 11"/>
            <p:cNvSpPr>
              <a:spLocks noChangeArrowheads="1"/>
            </p:cNvSpPr>
            <p:nvPr/>
          </p:nvSpPr>
          <p:spPr bwMode="auto">
            <a:xfrm>
              <a:off x="2164438" y="4491588"/>
              <a:ext cx="1123156" cy="270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it-IT" altLang="en-US" sz="1158" b="1" dirty="0">
                  <a:solidFill>
                    <a:srgbClr val="000066"/>
                  </a:solidFill>
                  <a:latin typeface="Calibri"/>
                </a:rPr>
                <a:t>LDO OPB test</a:t>
              </a:r>
            </a:p>
          </p:txBody>
        </p:sp>
        <p:sp>
          <p:nvSpPr>
            <p:cNvPr id="60" name="Rettangolo arrotondato 59"/>
            <p:cNvSpPr/>
            <p:nvPr/>
          </p:nvSpPr>
          <p:spPr>
            <a:xfrm>
              <a:off x="2115985" y="3861206"/>
              <a:ext cx="1181886" cy="654843"/>
            </a:xfrm>
            <a:prstGeom prst="roundRect">
              <a:avLst>
                <a:gd name="adj" fmla="val 4960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sp>
          <p:nvSpPr>
            <p:cNvPr id="61" name="Rectangle 11"/>
            <p:cNvSpPr>
              <a:spLocks noChangeArrowheads="1"/>
            </p:cNvSpPr>
            <p:nvPr/>
          </p:nvSpPr>
          <p:spPr bwMode="auto">
            <a:xfrm>
              <a:off x="5693017" y="4491588"/>
              <a:ext cx="1123156" cy="2705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it-IT" altLang="en-US" sz="1158" b="1" dirty="0">
                  <a:solidFill>
                    <a:srgbClr val="000066"/>
                  </a:solidFill>
                  <a:latin typeface="Calibri"/>
                </a:rPr>
                <a:t>Boeing B787-9</a:t>
              </a:r>
            </a:p>
          </p:txBody>
        </p:sp>
        <p:sp>
          <p:nvSpPr>
            <p:cNvPr id="62" name="Rettangolo arrotondato 61"/>
            <p:cNvSpPr/>
            <p:nvPr/>
          </p:nvSpPr>
          <p:spPr>
            <a:xfrm>
              <a:off x="5644562" y="3861206"/>
              <a:ext cx="1181886" cy="654843"/>
            </a:xfrm>
            <a:prstGeom prst="roundRect">
              <a:avLst>
                <a:gd name="adj" fmla="val 4960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sp>
          <p:nvSpPr>
            <p:cNvPr id="69" name="Rectangle 11"/>
            <p:cNvSpPr>
              <a:spLocks noChangeArrowheads="1"/>
            </p:cNvSpPr>
            <p:nvPr/>
          </p:nvSpPr>
          <p:spPr bwMode="auto">
            <a:xfrm>
              <a:off x="8788985" y="4491588"/>
              <a:ext cx="1123156" cy="448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it-IT" altLang="en-US" sz="1158" b="1" dirty="0">
                  <a:solidFill>
                    <a:srgbClr val="000066"/>
                  </a:solidFill>
                  <a:latin typeface="Calibri"/>
                </a:rPr>
                <a:t>Boeing B787-10</a:t>
              </a:r>
            </a:p>
          </p:txBody>
        </p:sp>
        <p:sp>
          <p:nvSpPr>
            <p:cNvPr id="71" name="Rettangolo arrotondato 70"/>
            <p:cNvSpPr/>
            <p:nvPr/>
          </p:nvSpPr>
          <p:spPr>
            <a:xfrm>
              <a:off x="8740531" y="3861206"/>
              <a:ext cx="1181886" cy="654843"/>
            </a:xfrm>
            <a:prstGeom prst="roundRect">
              <a:avLst>
                <a:gd name="adj" fmla="val 4960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sp>
          <p:nvSpPr>
            <p:cNvPr id="77" name="Text Box 2"/>
            <p:cNvSpPr txBox="1">
              <a:spLocks noChangeArrowheads="1"/>
            </p:cNvSpPr>
            <p:nvPr/>
          </p:nvSpPr>
          <p:spPr bwMode="auto">
            <a:xfrm>
              <a:off x="5586218" y="1932218"/>
              <a:ext cx="1067680" cy="270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33134" rIns="0" bIns="3313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3503" indent="-73503" eaLnBrk="1" hangingPunct="1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lang="en-US" altLang="en-US" sz="661" b="1" dirty="0">
                  <a:solidFill>
                    <a:srgbClr val="000066"/>
                  </a:solidFill>
                  <a:latin typeface="Calibri"/>
                </a:rPr>
                <a:t>Fuselage S44 &amp; S46 One piece barrel</a:t>
              </a:r>
            </a:p>
          </p:txBody>
        </p:sp>
        <p:sp>
          <p:nvSpPr>
            <p:cNvPr id="82" name="Text Box 2"/>
            <p:cNvSpPr txBox="1">
              <a:spLocks noChangeArrowheads="1"/>
            </p:cNvSpPr>
            <p:nvPr/>
          </p:nvSpPr>
          <p:spPr bwMode="auto">
            <a:xfrm>
              <a:off x="8686353" y="1547872"/>
              <a:ext cx="1067680" cy="2703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33134" rIns="0" bIns="33134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3503" indent="-73503" eaLnBrk="1" hangingPunct="1">
                <a:spcBef>
                  <a:spcPct val="50000"/>
                </a:spcBef>
                <a:buFont typeface="Arial" panose="020B0604020202020204" pitchFamily="34" charset="0"/>
                <a:buChar char="•"/>
              </a:pPr>
              <a:r>
                <a:rPr lang="en-US" altLang="en-US" sz="661" b="1" dirty="0">
                  <a:solidFill>
                    <a:srgbClr val="000066"/>
                  </a:solidFill>
                  <a:latin typeface="Calibri"/>
                </a:rPr>
                <a:t>Fuselage S44 &amp; S46 One piece barrel</a:t>
              </a:r>
            </a:p>
          </p:txBody>
        </p:sp>
        <p:pic>
          <p:nvPicPr>
            <p:cNvPr id="93" name="Picture 2" descr="All_ISO"/>
            <p:cNvPicPr>
              <a:picLocks noChangeAspect="1" noChangeArrowheads="1"/>
            </p:cNvPicPr>
            <p:nvPr>
              <p:custDataLst>
                <p:tags r:id="rId2"/>
              </p:custDataLst>
            </p:nvPr>
          </p:nvPicPr>
          <p:blipFill>
            <a:blip r:embed="rId9" cstate="email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lum bright="10000" contrast="-10000"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57110" y="696265"/>
              <a:ext cx="2303143" cy="14477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CasellaDiTesto 6"/>
            <p:cNvSpPr txBox="1"/>
            <p:nvPr/>
          </p:nvSpPr>
          <p:spPr>
            <a:xfrm>
              <a:off x="970517" y="742148"/>
              <a:ext cx="1340654" cy="2450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992" dirty="0"/>
                <a:t>B787-S46</a:t>
              </a:r>
            </a:p>
          </p:txBody>
        </p:sp>
        <p:sp>
          <p:nvSpPr>
            <p:cNvPr id="98" name="CasellaDiTesto 97"/>
            <p:cNvSpPr txBox="1"/>
            <p:nvPr/>
          </p:nvSpPr>
          <p:spPr>
            <a:xfrm>
              <a:off x="5163443" y="742148"/>
              <a:ext cx="1407571" cy="276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992" dirty="0"/>
                <a:t>B787-S44</a:t>
              </a:r>
            </a:p>
          </p:txBody>
        </p:sp>
        <p:pic>
          <p:nvPicPr>
            <p:cNvPr id="10242" name="Picture 2"/>
            <p:cNvPicPr>
              <a:picLocks noChangeAspect="1" noChangeArrowheads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30284" y="3884454"/>
              <a:ext cx="1188903" cy="5387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9" name="Rettangolo arrotondato 38"/>
            <p:cNvSpPr/>
            <p:nvPr/>
          </p:nvSpPr>
          <p:spPr>
            <a:xfrm>
              <a:off x="348320" y="3830699"/>
              <a:ext cx="1181886" cy="654843"/>
            </a:xfrm>
            <a:prstGeom prst="roundRect">
              <a:avLst>
                <a:gd name="adj" fmla="val 4960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sp>
          <p:nvSpPr>
            <p:cNvPr id="40" name="AutoShape 20"/>
            <p:cNvSpPr>
              <a:spLocks noChangeArrowheads="1"/>
            </p:cNvSpPr>
            <p:nvPr/>
          </p:nvSpPr>
          <p:spPr bwMode="auto">
            <a:xfrm rot="5400000">
              <a:off x="833456" y="3343851"/>
              <a:ext cx="284487" cy="504031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4365 h 21600"/>
                <a:gd name="T14" fmla="*/ 19864 w 21600"/>
                <a:gd name="T15" fmla="*/ 172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686" y="0"/>
                  </a:moveTo>
                  <a:lnTo>
                    <a:pt x="18686" y="4365"/>
                  </a:lnTo>
                  <a:lnTo>
                    <a:pt x="3375" y="4365"/>
                  </a:lnTo>
                  <a:lnTo>
                    <a:pt x="3375" y="17235"/>
                  </a:lnTo>
                  <a:lnTo>
                    <a:pt x="18686" y="17235"/>
                  </a:lnTo>
                  <a:lnTo>
                    <a:pt x="18686" y="21600"/>
                  </a:lnTo>
                  <a:lnTo>
                    <a:pt x="21600" y="10800"/>
                  </a:lnTo>
                  <a:lnTo>
                    <a:pt x="18686" y="0"/>
                  </a:lnTo>
                  <a:close/>
                </a:path>
                <a:path w="21600" h="21600">
                  <a:moveTo>
                    <a:pt x="1350" y="4365"/>
                  </a:moveTo>
                  <a:lnTo>
                    <a:pt x="1350" y="17235"/>
                  </a:lnTo>
                  <a:lnTo>
                    <a:pt x="2700" y="17235"/>
                  </a:lnTo>
                  <a:lnTo>
                    <a:pt x="2700" y="4365"/>
                  </a:lnTo>
                  <a:lnTo>
                    <a:pt x="1350" y="4365"/>
                  </a:lnTo>
                  <a:close/>
                </a:path>
                <a:path w="21600" h="21600">
                  <a:moveTo>
                    <a:pt x="0" y="4365"/>
                  </a:moveTo>
                  <a:lnTo>
                    <a:pt x="0" y="17235"/>
                  </a:lnTo>
                  <a:lnTo>
                    <a:pt x="675" y="17235"/>
                  </a:lnTo>
                  <a:lnTo>
                    <a:pt x="675" y="4365"/>
                  </a:lnTo>
                  <a:lnTo>
                    <a:pt x="0" y="4365"/>
                  </a:lnTo>
                  <a:close/>
                </a:path>
              </a:pathLst>
            </a:custGeom>
            <a:solidFill>
              <a:srgbClr val="B2B2B2">
                <a:alpha val="41176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41" name="Text Box 48"/>
            <p:cNvSpPr txBox="1">
              <a:spLocks noChangeArrowheads="1"/>
            </p:cNvSpPr>
            <p:nvPr/>
          </p:nvSpPr>
          <p:spPr bwMode="auto">
            <a:xfrm>
              <a:off x="608247" y="3463146"/>
              <a:ext cx="752547" cy="245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it-IT"/>
              </a:defPPr>
              <a:lvl1pPr eaLnBrk="1" hangingPunct="1">
                <a:spcBef>
                  <a:spcPct val="50000"/>
                </a:spcBef>
                <a:defRPr sz="1200" b="1">
                  <a:solidFill>
                    <a:schemeClr val="accent1">
                      <a:lumMod val="75000"/>
                    </a:schemeClr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latin typeface="Arial" charset="0"/>
                </a:defRPr>
              </a:lvl2pPr>
              <a:lvl3pPr marL="1143000" indent="-228600" eaLnBrk="0" hangingPunct="0">
                <a:defRPr>
                  <a:latin typeface="Arial" charset="0"/>
                </a:defRPr>
              </a:lvl3pPr>
              <a:lvl4pPr marL="1600200" indent="-228600" eaLnBrk="0" hangingPunct="0">
                <a:defRPr>
                  <a:latin typeface="Arial" charset="0"/>
                </a:defRPr>
              </a:lvl4pPr>
              <a:lvl5pPr marL="2057400" indent="-228600" eaLnBrk="0" hangingPunct="0">
                <a:defRPr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9pPr>
            </a:lstStyle>
            <a:p>
              <a:pPr algn="ctr"/>
              <a:r>
                <a:rPr lang="it-IT" altLang="en-US" sz="992" dirty="0">
                  <a:solidFill>
                    <a:srgbClr val="61656F"/>
                  </a:solidFill>
                </a:rPr>
                <a:t>1990</a:t>
              </a:r>
            </a:p>
          </p:txBody>
        </p:sp>
        <p:sp>
          <p:nvSpPr>
            <p:cNvPr id="42" name="Rectangle 11"/>
            <p:cNvSpPr>
              <a:spLocks noChangeArrowheads="1"/>
            </p:cNvSpPr>
            <p:nvPr/>
          </p:nvSpPr>
          <p:spPr bwMode="auto">
            <a:xfrm>
              <a:off x="377683" y="4491588"/>
              <a:ext cx="1123156" cy="448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it-IT" altLang="en-US" sz="1158" b="1" dirty="0" err="1">
                  <a:solidFill>
                    <a:srgbClr val="000066"/>
                  </a:solidFill>
                  <a:latin typeface="Calibri"/>
                </a:rPr>
                <a:t>McDonnell</a:t>
              </a:r>
              <a:r>
                <a:rPr lang="it-IT" altLang="en-US" sz="1158" b="1" dirty="0">
                  <a:solidFill>
                    <a:srgbClr val="000066"/>
                  </a:solidFill>
                  <a:latin typeface="Calibri"/>
                </a:rPr>
                <a:t> Douglas  CAF</a:t>
              </a:r>
            </a:p>
          </p:txBody>
        </p:sp>
        <p:sp>
          <p:nvSpPr>
            <p:cNvPr id="43" name="Text Box 7"/>
            <p:cNvSpPr txBox="1">
              <a:spLocks noChangeArrowheads="1"/>
            </p:cNvSpPr>
            <p:nvPr/>
          </p:nvSpPr>
          <p:spPr bwMode="auto">
            <a:xfrm>
              <a:off x="793959" y="2184568"/>
              <a:ext cx="1574470" cy="397673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378013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Char char="-"/>
                <a:defRPr/>
              </a:pPr>
              <a:r>
                <a:rPr lang="it-IT" sz="992" b="1" dirty="0">
                  <a:solidFill>
                    <a:prstClr val="black"/>
                  </a:solidFill>
                  <a:ea typeface="ＭＳ Ｐゴシック"/>
                  <a:cs typeface="ＭＳ Ｐゴシック"/>
                </a:rPr>
                <a:t> 8 = 10058 mm (396”)</a:t>
              </a:r>
            </a:p>
            <a:p>
              <a:pPr defTabSz="378013" eaLnBrk="0" fontAlgn="base" hangingPunct="0">
                <a:spcBef>
                  <a:spcPct val="0"/>
                </a:spcBef>
                <a:spcAft>
                  <a:spcPct val="0"/>
                </a:spcAft>
                <a:buFontTx/>
                <a:buChar char="-"/>
                <a:defRPr/>
              </a:pPr>
              <a:r>
                <a:rPr lang="it-IT" sz="992" b="1" dirty="0">
                  <a:solidFill>
                    <a:prstClr val="black"/>
                  </a:solidFill>
                  <a:ea typeface="ＭＳ Ｐゴシック"/>
                  <a:cs typeface="ＭＳ Ｐゴシック"/>
                </a:rPr>
                <a:t> 9/-10 = 13004 mm (512”)</a:t>
              </a:r>
            </a:p>
          </p:txBody>
        </p:sp>
        <p:sp>
          <p:nvSpPr>
            <p:cNvPr id="52" name="Text Box 17"/>
            <p:cNvSpPr txBox="1">
              <a:spLocks noChangeArrowheads="1"/>
            </p:cNvSpPr>
            <p:nvPr/>
          </p:nvSpPr>
          <p:spPr bwMode="auto">
            <a:xfrm>
              <a:off x="4480380" y="1805573"/>
              <a:ext cx="1035861" cy="245003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ctr" defTabSz="378013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it-IT" sz="992" b="1" dirty="0">
                  <a:solidFill>
                    <a:prstClr val="black"/>
                  </a:solidFill>
                  <a:ea typeface="ＭＳ Ｐゴシック"/>
                  <a:cs typeface="ＭＳ Ｐゴシック"/>
                </a:rPr>
                <a:t>8534 mm (336”)</a:t>
              </a:r>
            </a:p>
          </p:txBody>
        </p:sp>
        <p:pic>
          <p:nvPicPr>
            <p:cNvPr id="63" name="Immagine 62"/>
            <p:cNvPicPr>
              <a:picLocks noChangeAspect="1"/>
            </p:cNvPicPr>
            <p:nvPr/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270670" y="3910090"/>
              <a:ext cx="1181885" cy="605959"/>
            </a:xfrm>
            <a:prstGeom prst="rect">
              <a:avLst/>
            </a:prstGeom>
          </p:spPr>
        </p:pic>
        <p:sp>
          <p:nvSpPr>
            <p:cNvPr id="65" name="Rettangolo arrotondato 64"/>
            <p:cNvSpPr/>
            <p:nvPr/>
          </p:nvSpPr>
          <p:spPr>
            <a:xfrm>
              <a:off x="7268707" y="3873315"/>
              <a:ext cx="1181886" cy="654843"/>
            </a:xfrm>
            <a:prstGeom prst="roundRect">
              <a:avLst>
                <a:gd name="adj" fmla="val 4960"/>
              </a:avLst>
            </a:prstGeom>
            <a:noFill/>
            <a:ln w="28575"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488">
                <a:solidFill>
                  <a:prstClr val="white"/>
                </a:solidFill>
              </a:endParaRPr>
            </a:p>
          </p:txBody>
        </p:sp>
        <p:sp>
          <p:nvSpPr>
            <p:cNvPr id="68" name="AutoShape 20"/>
            <p:cNvSpPr>
              <a:spLocks noChangeArrowheads="1"/>
            </p:cNvSpPr>
            <p:nvPr/>
          </p:nvSpPr>
          <p:spPr bwMode="auto">
            <a:xfrm rot="5400000">
              <a:off x="7004932" y="2645891"/>
              <a:ext cx="1660876" cy="504031"/>
            </a:xfrm>
            <a:custGeom>
              <a:avLst/>
              <a:gdLst>
                <a:gd name="T0" fmla="*/ 2147483647 w 21600"/>
                <a:gd name="T1" fmla="*/ 0 h 21600"/>
                <a:gd name="T2" fmla="*/ 0 w 21600"/>
                <a:gd name="T3" fmla="*/ 2147483647 h 21600"/>
                <a:gd name="T4" fmla="*/ 2147483647 w 21600"/>
                <a:gd name="T5" fmla="*/ 2147483647 h 21600"/>
                <a:gd name="T6" fmla="*/ 2147483647 w 21600"/>
                <a:gd name="T7" fmla="*/ 2147483647 h 21600"/>
                <a:gd name="T8" fmla="*/ 17694720 60000 65536"/>
                <a:gd name="T9" fmla="*/ 11796480 60000 65536"/>
                <a:gd name="T10" fmla="*/ 5898240 60000 65536"/>
                <a:gd name="T11" fmla="*/ 0 60000 65536"/>
                <a:gd name="T12" fmla="*/ 3375 w 21600"/>
                <a:gd name="T13" fmla="*/ 4365 h 21600"/>
                <a:gd name="T14" fmla="*/ 19864 w 21600"/>
                <a:gd name="T15" fmla="*/ 17235 h 2160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1600" h="21600">
                  <a:moveTo>
                    <a:pt x="18686" y="0"/>
                  </a:moveTo>
                  <a:lnTo>
                    <a:pt x="18686" y="4365"/>
                  </a:lnTo>
                  <a:lnTo>
                    <a:pt x="3375" y="4365"/>
                  </a:lnTo>
                  <a:lnTo>
                    <a:pt x="3375" y="17235"/>
                  </a:lnTo>
                  <a:lnTo>
                    <a:pt x="18686" y="17235"/>
                  </a:lnTo>
                  <a:lnTo>
                    <a:pt x="18686" y="21600"/>
                  </a:lnTo>
                  <a:lnTo>
                    <a:pt x="21600" y="10800"/>
                  </a:lnTo>
                  <a:lnTo>
                    <a:pt x="18686" y="0"/>
                  </a:lnTo>
                  <a:close/>
                </a:path>
                <a:path w="21600" h="21600">
                  <a:moveTo>
                    <a:pt x="1350" y="4365"/>
                  </a:moveTo>
                  <a:lnTo>
                    <a:pt x="1350" y="17235"/>
                  </a:lnTo>
                  <a:lnTo>
                    <a:pt x="2700" y="17235"/>
                  </a:lnTo>
                  <a:lnTo>
                    <a:pt x="2700" y="4365"/>
                  </a:lnTo>
                  <a:lnTo>
                    <a:pt x="1350" y="4365"/>
                  </a:lnTo>
                  <a:close/>
                </a:path>
                <a:path w="21600" h="21600">
                  <a:moveTo>
                    <a:pt x="0" y="4365"/>
                  </a:moveTo>
                  <a:lnTo>
                    <a:pt x="0" y="17235"/>
                  </a:lnTo>
                  <a:lnTo>
                    <a:pt x="675" y="17235"/>
                  </a:lnTo>
                  <a:lnTo>
                    <a:pt x="675" y="4365"/>
                  </a:lnTo>
                  <a:lnTo>
                    <a:pt x="0" y="4365"/>
                  </a:lnTo>
                  <a:close/>
                </a:path>
              </a:pathLst>
            </a:custGeom>
            <a:solidFill>
              <a:srgbClr val="B2B2B2">
                <a:alpha val="41176"/>
              </a:srgbClr>
            </a:solidFill>
            <a:ln w="9525">
              <a:solidFill>
                <a:schemeClr val="bg2"/>
              </a:solidFill>
              <a:miter lim="800000"/>
              <a:headEnd/>
              <a:tailEnd/>
            </a:ln>
          </p:spPr>
          <p:txBody>
            <a:bodyPr wrap="none" anchor="ctr"/>
            <a:lstStyle/>
            <a:p>
              <a:endParaRPr lang="en-US" sz="1488">
                <a:solidFill>
                  <a:prstClr val="black"/>
                </a:solidFill>
              </a:endParaRPr>
            </a:p>
          </p:txBody>
        </p:sp>
        <p:sp>
          <p:nvSpPr>
            <p:cNvPr id="70" name="Text Box 48"/>
            <p:cNvSpPr txBox="1">
              <a:spLocks noChangeArrowheads="1"/>
            </p:cNvSpPr>
            <p:nvPr/>
          </p:nvSpPr>
          <p:spPr bwMode="auto">
            <a:xfrm>
              <a:off x="7481365" y="3472090"/>
              <a:ext cx="752547" cy="24500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defPPr>
                <a:defRPr lang="it-IT"/>
              </a:defPPr>
              <a:lvl1pPr eaLnBrk="1" hangingPunct="1">
                <a:spcBef>
                  <a:spcPct val="50000"/>
                </a:spcBef>
                <a:defRPr sz="1200" b="1">
                  <a:solidFill>
                    <a:schemeClr val="accent1">
                      <a:lumMod val="75000"/>
                    </a:schemeClr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latin typeface="Arial" charset="0"/>
                </a:defRPr>
              </a:lvl2pPr>
              <a:lvl3pPr marL="1143000" indent="-228600" eaLnBrk="0" hangingPunct="0">
                <a:defRPr>
                  <a:latin typeface="Arial" charset="0"/>
                </a:defRPr>
              </a:lvl3pPr>
              <a:lvl4pPr marL="1600200" indent="-228600" eaLnBrk="0" hangingPunct="0">
                <a:defRPr>
                  <a:latin typeface="Arial" charset="0"/>
                </a:defRPr>
              </a:lvl4pPr>
              <a:lvl5pPr marL="2057400" indent="-228600" eaLnBrk="0" hangingPunct="0">
                <a:defRPr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latin typeface="Arial" charset="0"/>
                </a:defRPr>
              </a:lvl9pPr>
            </a:lstStyle>
            <a:p>
              <a:pPr algn="ctr"/>
              <a:r>
                <a:rPr lang="it-IT" altLang="en-US" sz="992" dirty="0">
                  <a:solidFill>
                    <a:srgbClr val="61656F"/>
                  </a:solidFill>
                </a:rPr>
                <a:t>2015</a:t>
              </a:r>
            </a:p>
          </p:txBody>
        </p:sp>
        <p:sp>
          <p:nvSpPr>
            <p:cNvPr id="73" name="Rectangle 11"/>
            <p:cNvSpPr>
              <a:spLocks noChangeArrowheads="1"/>
            </p:cNvSpPr>
            <p:nvPr/>
          </p:nvSpPr>
          <p:spPr bwMode="auto">
            <a:xfrm>
              <a:off x="7347089" y="4490704"/>
              <a:ext cx="1123156" cy="4487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it-IT" altLang="en-US" sz="1158" b="1" dirty="0">
                  <a:solidFill>
                    <a:srgbClr val="000066"/>
                  </a:solidFill>
                  <a:latin typeface="Calibri"/>
                </a:rPr>
                <a:t>ATR OPB </a:t>
              </a:r>
              <a:r>
                <a:rPr lang="it-IT" altLang="en-US" sz="1158" b="1" dirty="0" err="1">
                  <a:solidFill>
                    <a:srgbClr val="000066"/>
                  </a:solidFill>
                  <a:latin typeface="Calibri"/>
                </a:rPr>
                <a:t>Demostrator</a:t>
              </a:r>
              <a:endParaRPr lang="it-IT" altLang="en-US" sz="1158" b="1" dirty="0">
                <a:solidFill>
                  <a:srgbClr val="000066"/>
                </a:solidFill>
                <a:latin typeface="Calibri"/>
              </a:endParaRPr>
            </a:p>
          </p:txBody>
        </p:sp>
      </p:grpSp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it-IT" sz="4000" b="1" dirty="0">
                <a:solidFill>
                  <a:srgbClr val="5B6770"/>
                </a:solidFill>
                <a:cs typeface="Arial"/>
              </a:rPr>
              <a:t>Heritage – CFRP </a:t>
            </a:r>
            <a:r>
              <a:rPr lang="it-IT" sz="4000" b="1" dirty="0" err="1">
                <a:solidFill>
                  <a:srgbClr val="5B6770"/>
                </a:solidFill>
                <a:cs typeface="Arial"/>
              </a:rPr>
              <a:t>Fuselage</a:t>
            </a:r>
            <a:r>
              <a:rPr lang="it-IT" sz="4000" b="1" dirty="0">
                <a:solidFill>
                  <a:srgbClr val="5B6770"/>
                </a:solidFill>
                <a:cs typeface="Arial"/>
              </a:rPr>
              <a:t> </a:t>
            </a:r>
            <a:r>
              <a:rPr lang="it-IT" sz="4000" b="1" dirty="0" err="1" smtClean="0">
                <a:solidFill>
                  <a:srgbClr val="5B6770"/>
                </a:solidFill>
                <a:cs typeface="Arial"/>
              </a:rPr>
              <a:t>Time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35274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Text Box 5"/>
          <p:cNvSpPr txBox="1">
            <a:spLocks noChangeArrowheads="1"/>
          </p:cNvSpPr>
          <p:nvPr/>
        </p:nvSpPr>
        <p:spPr bwMode="auto">
          <a:xfrm>
            <a:off x="7759708" y="1413989"/>
            <a:ext cx="1567330" cy="8303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66267" tIns="33134" rIns="66267" bIns="33134">
            <a:spAutoFit/>
          </a:bodyPr>
          <a:lstStyle/>
          <a:p>
            <a:pPr defTabSz="662836" eaLnBrk="0" hangingPunct="0">
              <a:defRPr/>
            </a:pPr>
            <a:r>
              <a:rPr lang="en-US" sz="868" b="1" dirty="0">
                <a:solidFill>
                  <a:srgbClr val="000066"/>
                </a:solidFill>
                <a:latin typeface="Arial" charset="0"/>
              </a:rPr>
              <a:t>- 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Horizontal stabilizer</a:t>
            </a:r>
          </a:p>
          <a:p>
            <a:pPr defTabSz="662836" eaLnBrk="0" hangingPunct="0">
              <a:spcAft>
                <a:spcPct val="50000"/>
              </a:spcAft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(</a:t>
            </a:r>
            <a:r>
              <a:rPr lang="en-US" sz="744" b="1" dirty="0" err="1">
                <a:solidFill>
                  <a:srgbClr val="000066"/>
                </a:solidFill>
                <a:latin typeface="Arial" charset="0"/>
              </a:rPr>
              <a:t>cocured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 </a:t>
            </a:r>
            <a:r>
              <a:rPr lang="en-US" sz="744" b="1" dirty="0" err="1">
                <a:solidFill>
                  <a:srgbClr val="000066"/>
                </a:solidFill>
                <a:latin typeface="Arial" charset="0"/>
              </a:rPr>
              <a:t>multispar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)</a:t>
            </a:r>
          </a:p>
          <a:p>
            <a:pPr defTabSz="662836" eaLnBrk="0" hangingPunct="0">
              <a:spcAft>
                <a:spcPct val="50000"/>
              </a:spcAft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Vertical Fin</a:t>
            </a:r>
          </a:p>
          <a:p>
            <a:pPr defTabSz="662836" eaLnBrk="0" hangingPunct="0">
              <a:spcAft>
                <a:spcPct val="50000"/>
              </a:spcAft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(panels &amp; </a:t>
            </a:r>
            <a:r>
              <a:rPr lang="en-US" sz="744" b="1" dirty="0" err="1">
                <a:solidFill>
                  <a:srgbClr val="000066"/>
                </a:solidFill>
                <a:latin typeface="Arial" charset="0"/>
              </a:rPr>
              <a:t>cobonded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 stringers)</a:t>
            </a:r>
          </a:p>
          <a:p>
            <a:pPr defTabSz="662836" eaLnBrk="0" hangingPunct="0">
              <a:spcAft>
                <a:spcPct val="50000"/>
              </a:spcAft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- Rudder &amp; Elevator</a:t>
            </a:r>
          </a:p>
        </p:txBody>
      </p:sp>
      <p:sp>
        <p:nvSpPr>
          <p:cNvPr id="66" name="Title 1"/>
          <p:cNvSpPr txBox="1">
            <a:spLocks/>
          </p:cNvSpPr>
          <p:nvPr/>
        </p:nvSpPr>
        <p:spPr>
          <a:xfrm>
            <a:off x="287795" y="36996"/>
            <a:ext cx="6181426" cy="297669"/>
          </a:xfrm>
          <a:prstGeom prst="rect">
            <a:avLst/>
          </a:prstGeom>
        </p:spPr>
        <p:txBody>
          <a:bodyPr/>
          <a:lstStyle>
            <a:lvl1pPr algn="l" defTabSz="68578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3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it-IT" sz="1654" b="1" dirty="0">
              <a:solidFill>
                <a:srgbClr val="5B6770"/>
              </a:solidFill>
              <a:cs typeface="Arial"/>
            </a:endParaRPr>
          </a:p>
        </p:txBody>
      </p:sp>
      <p:sp>
        <p:nvSpPr>
          <p:cNvPr id="45" name="Text Box 2"/>
          <p:cNvSpPr txBox="1">
            <a:spLocks noChangeArrowheads="1"/>
          </p:cNvSpPr>
          <p:nvPr/>
        </p:nvSpPr>
        <p:spPr bwMode="auto">
          <a:xfrm>
            <a:off x="187710" y="2521548"/>
            <a:ext cx="1111505" cy="6967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6267" tIns="33134" rIns="66267" bIns="33134">
            <a:spAutoFit/>
          </a:bodyPr>
          <a:lstStyle>
            <a:lvl1pPr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it-IT" sz="744" b="1" dirty="0">
                <a:solidFill>
                  <a:srgbClr val="000066"/>
                </a:solidFill>
                <a:latin typeface="Arial" panose="020B0604020202020204" pitchFamily="34" charset="0"/>
              </a:rPr>
              <a:t>- Wing </a:t>
            </a:r>
            <a:r>
              <a:rPr lang="en-US" altLang="it-IT" sz="744" b="1" dirty="0" err="1">
                <a:solidFill>
                  <a:srgbClr val="000066"/>
                </a:solidFill>
                <a:latin typeface="Arial" panose="020B0604020202020204" pitchFamily="34" charset="0"/>
              </a:rPr>
              <a:t>mouv</a:t>
            </a:r>
            <a:r>
              <a:rPr lang="en-US" altLang="it-IT" sz="744" b="1" dirty="0">
                <a:solidFill>
                  <a:srgbClr val="000066"/>
                </a:solidFill>
                <a:latin typeface="Arial" panose="020B0604020202020204" pitchFamily="34" charset="0"/>
              </a:rPr>
              <a:t>. Parts - Empennage </a:t>
            </a:r>
            <a:r>
              <a:rPr lang="en-US" altLang="it-IT" sz="744" b="1" dirty="0" err="1">
                <a:solidFill>
                  <a:srgbClr val="000066"/>
                </a:solidFill>
                <a:latin typeface="Arial" panose="020B0604020202020204" pitchFamily="34" charset="0"/>
              </a:rPr>
              <a:t>mouv</a:t>
            </a:r>
            <a:r>
              <a:rPr lang="en-US" altLang="it-IT" sz="744" b="1" dirty="0">
                <a:solidFill>
                  <a:srgbClr val="000066"/>
                </a:solidFill>
                <a:latin typeface="Arial" panose="020B0604020202020204" pitchFamily="34" charset="0"/>
              </a:rPr>
              <a:t>. parts</a:t>
            </a:r>
          </a:p>
          <a:p>
            <a:pPr>
              <a:spcBef>
                <a:spcPct val="50000"/>
              </a:spcBef>
            </a:pPr>
            <a:r>
              <a:rPr lang="en-US" altLang="it-IT" sz="744" b="1" dirty="0">
                <a:solidFill>
                  <a:srgbClr val="000066"/>
                </a:solidFill>
                <a:latin typeface="Arial" panose="020B0604020202020204" pitchFamily="34" charset="0"/>
              </a:rPr>
              <a:t>(H/C sandwich and full depth)</a:t>
            </a:r>
          </a:p>
        </p:txBody>
      </p:sp>
      <p:pic>
        <p:nvPicPr>
          <p:cNvPr id="46" name="Picture 3" descr="foto_012a"/>
          <p:cNvPicPr preferRelativeResize="0"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6610" y="1795690"/>
            <a:ext cx="999531" cy="6077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" name="Text Box 4"/>
          <p:cNvSpPr txBox="1">
            <a:spLocks noChangeArrowheads="1"/>
          </p:cNvSpPr>
          <p:nvPr/>
        </p:nvSpPr>
        <p:spPr bwMode="auto">
          <a:xfrm>
            <a:off x="1197368" y="2546487"/>
            <a:ext cx="1119738" cy="582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6267" tIns="33134" rIns="66267" bIns="33134">
            <a:spAutoFit/>
          </a:bodyPr>
          <a:lstStyle>
            <a:lvl1pPr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50000"/>
              </a:spcBef>
              <a:buFontTx/>
              <a:buChar char="-"/>
            </a:pPr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Vertical Fin</a:t>
            </a:r>
          </a:p>
          <a:p>
            <a:pPr>
              <a:buFontTx/>
              <a:buChar char="-"/>
            </a:pPr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Horiz. Stabiliz. (cocured box)</a:t>
            </a:r>
          </a:p>
          <a:p>
            <a:pPr>
              <a:spcBef>
                <a:spcPct val="50000"/>
              </a:spcBef>
            </a:pPr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Wiing mouv. parts </a:t>
            </a:r>
          </a:p>
        </p:txBody>
      </p:sp>
      <p:sp>
        <p:nvSpPr>
          <p:cNvPr id="48" name="Text Box 5"/>
          <p:cNvSpPr txBox="1">
            <a:spLocks noChangeArrowheads="1"/>
          </p:cNvSpPr>
          <p:nvPr/>
        </p:nvSpPr>
        <p:spPr bwMode="auto">
          <a:xfrm>
            <a:off x="6602097" y="1183878"/>
            <a:ext cx="1157612" cy="773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66267" tIns="33134" rIns="66267" bIns="33134">
            <a:spAutoFit/>
          </a:bodyPr>
          <a:lstStyle/>
          <a:p>
            <a:pPr defTabSz="662836" eaLnBrk="0" hangingPunct="0">
              <a:defRPr/>
            </a:pPr>
            <a:r>
              <a:rPr lang="en-US" sz="868" b="1" dirty="0">
                <a:solidFill>
                  <a:srgbClr val="000066"/>
                </a:solidFill>
                <a:latin typeface="Arial" charset="0"/>
              </a:rPr>
              <a:t>- 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Horizontal stabilizer</a:t>
            </a:r>
          </a:p>
          <a:p>
            <a:pPr defTabSz="662836" eaLnBrk="0" hangingPunct="0">
              <a:spcAft>
                <a:spcPct val="50000"/>
              </a:spcAft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(</a:t>
            </a:r>
            <a:r>
              <a:rPr lang="en-US" sz="744" b="1" dirty="0" err="1">
                <a:solidFill>
                  <a:srgbClr val="000066"/>
                </a:solidFill>
                <a:latin typeface="Arial" charset="0"/>
              </a:rPr>
              <a:t>cocured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 </a:t>
            </a:r>
            <a:r>
              <a:rPr lang="en-US" sz="744" b="1" dirty="0" err="1">
                <a:solidFill>
                  <a:srgbClr val="000066"/>
                </a:solidFill>
                <a:latin typeface="Arial" charset="0"/>
              </a:rPr>
              <a:t>multispar</a:t>
            </a: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)</a:t>
            </a:r>
          </a:p>
          <a:p>
            <a:pPr defTabSz="662836" eaLnBrk="0" hangingPunct="0">
              <a:spcAft>
                <a:spcPct val="50000"/>
              </a:spcAft>
              <a:buFontTx/>
              <a:buChar char="-"/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One Piece Barrel</a:t>
            </a:r>
          </a:p>
          <a:p>
            <a:pPr defTabSz="662836" eaLnBrk="0" hangingPunct="0">
              <a:defRPr/>
            </a:pPr>
            <a:r>
              <a:rPr lang="en-US" sz="744" b="1" dirty="0">
                <a:solidFill>
                  <a:srgbClr val="000066"/>
                </a:solidFill>
                <a:latin typeface="Arial" charset="0"/>
              </a:rPr>
              <a:t>(RFI frames)</a:t>
            </a:r>
          </a:p>
          <a:p>
            <a:pPr defTabSz="662836" eaLnBrk="0" hangingPunct="0">
              <a:defRPr/>
            </a:pPr>
            <a:endParaRPr lang="en-US" sz="744" b="1" dirty="0">
              <a:solidFill>
                <a:srgbClr val="000066"/>
              </a:solidFill>
              <a:latin typeface="Arial" charset="0"/>
            </a:endParaRPr>
          </a:p>
        </p:txBody>
      </p:sp>
      <p:pic>
        <p:nvPicPr>
          <p:cNvPr id="49" name="Picture 6" descr="B767"/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608" y="4193776"/>
            <a:ext cx="764056" cy="60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0" name="Picture 7" descr="amx_04"/>
          <p:cNvPicPr preferRelativeResize="0"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28026" y="4193777"/>
            <a:ext cx="856270" cy="631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8" descr="BOEING 7E7"/>
          <p:cNvPicPr preferRelativeResize="0"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360472" y="4180275"/>
            <a:ext cx="984711" cy="649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" name="Rectangle 9"/>
          <p:cNvSpPr>
            <a:spLocks noChangeArrowheads="1"/>
          </p:cNvSpPr>
          <p:nvPr/>
        </p:nvSpPr>
        <p:spPr bwMode="auto">
          <a:xfrm>
            <a:off x="1197367" y="4943260"/>
            <a:ext cx="717950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AM-X</a:t>
            </a:r>
            <a:r>
              <a:rPr lang="it-IT" altLang="it-IT" sz="1158" dirty="0">
                <a:solidFill>
                  <a:srgbClr val="000066"/>
                </a:solidFill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54" name="Rectangle 10"/>
          <p:cNvSpPr>
            <a:spLocks noChangeArrowheads="1"/>
          </p:cNvSpPr>
          <p:nvPr/>
        </p:nvSpPr>
        <p:spPr bwMode="auto">
          <a:xfrm>
            <a:off x="463109" y="4943260"/>
            <a:ext cx="635616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B767</a:t>
            </a:r>
          </a:p>
        </p:txBody>
      </p:sp>
      <p:sp>
        <p:nvSpPr>
          <p:cNvPr id="55" name="Rectangle 11"/>
          <p:cNvSpPr>
            <a:spLocks noChangeArrowheads="1"/>
          </p:cNvSpPr>
          <p:nvPr/>
        </p:nvSpPr>
        <p:spPr bwMode="auto">
          <a:xfrm>
            <a:off x="7511269" y="4943260"/>
            <a:ext cx="635616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B787</a:t>
            </a:r>
          </a:p>
        </p:txBody>
      </p:sp>
      <p:sp>
        <p:nvSpPr>
          <p:cNvPr id="56" name="Rectangle 12"/>
          <p:cNvSpPr>
            <a:spLocks noChangeArrowheads="1"/>
          </p:cNvSpPr>
          <p:nvPr/>
        </p:nvSpPr>
        <p:spPr bwMode="auto">
          <a:xfrm>
            <a:off x="6417253" y="4918322"/>
            <a:ext cx="531875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JSF</a:t>
            </a:r>
          </a:p>
        </p:txBody>
      </p:sp>
      <p:pic>
        <p:nvPicPr>
          <p:cNvPr id="57" name="Picture 13" descr="PD073-063"/>
          <p:cNvPicPr preferRelativeResize="0"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50369" y="4185894"/>
            <a:ext cx="1065398" cy="648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" name="Rectangle 14"/>
          <p:cNvSpPr>
            <a:spLocks noChangeArrowheads="1"/>
          </p:cNvSpPr>
          <p:nvPr/>
        </p:nvSpPr>
        <p:spPr bwMode="auto">
          <a:xfrm>
            <a:off x="3224209" y="4943260"/>
            <a:ext cx="635616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B777</a:t>
            </a:r>
          </a:p>
        </p:txBody>
      </p:sp>
      <p:sp>
        <p:nvSpPr>
          <p:cNvPr id="64" name="Rectangle 15"/>
          <p:cNvSpPr>
            <a:spLocks noChangeArrowheads="1"/>
          </p:cNvSpPr>
          <p:nvPr/>
        </p:nvSpPr>
        <p:spPr bwMode="auto">
          <a:xfrm>
            <a:off x="5469417" y="1810129"/>
            <a:ext cx="1037404" cy="435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Wing</a:t>
            </a:r>
          </a:p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(Fiber placement panel)</a:t>
            </a:r>
          </a:p>
        </p:txBody>
      </p:sp>
      <p:sp>
        <p:nvSpPr>
          <p:cNvPr id="72" name="Line 16"/>
          <p:cNvSpPr>
            <a:spLocks noChangeShapeType="1"/>
          </p:cNvSpPr>
          <p:nvPr/>
        </p:nvSpPr>
        <p:spPr bwMode="auto">
          <a:xfrm flipV="1">
            <a:off x="414159" y="4075644"/>
            <a:ext cx="9292179" cy="0"/>
          </a:xfrm>
          <a:prstGeom prst="line">
            <a:avLst/>
          </a:prstGeom>
          <a:noFill/>
          <a:ln w="38100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74" name="Line 17"/>
          <p:cNvSpPr>
            <a:spLocks noChangeShapeType="1"/>
          </p:cNvSpPr>
          <p:nvPr/>
        </p:nvSpPr>
        <p:spPr bwMode="auto">
          <a:xfrm flipV="1">
            <a:off x="430475" y="1991264"/>
            <a:ext cx="9372867" cy="1964934"/>
          </a:xfrm>
          <a:prstGeom prst="line">
            <a:avLst/>
          </a:prstGeom>
          <a:noFill/>
          <a:ln w="38100">
            <a:solidFill>
              <a:srgbClr val="FF0000"/>
            </a:solidFill>
            <a:round/>
            <a:headEnd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75" name="AutoShape 18"/>
          <p:cNvSpPr>
            <a:spLocks noChangeArrowheads="1"/>
          </p:cNvSpPr>
          <p:nvPr/>
        </p:nvSpPr>
        <p:spPr bwMode="auto">
          <a:xfrm rot="5400000">
            <a:off x="648650" y="3582738"/>
            <a:ext cx="439715" cy="472596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76" name="AutoShape 19"/>
          <p:cNvSpPr>
            <a:spLocks noChangeArrowheads="1"/>
          </p:cNvSpPr>
          <p:nvPr/>
        </p:nvSpPr>
        <p:spPr bwMode="auto">
          <a:xfrm rot="5400000">
            <a:off x="1264893" y="3461980"/>
            <a:ext cx="654979" cy="472596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400 h 21600"/>
              <a:gd name="T14" fmla="*/ 18900 w 21600"/>
              <a:gd name="T15" fmla="*/ 1620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6200" y="0"/>
                </a:moveTo>
                <a:lnTo>
                  <a:pt x="16200" y="5400"/>
                </a:lnTo>
                <a:lnTo>
                  <a:pt x="3375" y="5400"/>
                </a:lnTo>
                <a:lnTo>
                  <a:pt x="3375" y="16200"/>
                </a:lnTo>
                <a:lnTo>
                  <a:pt x="16200" y="16200"/>
                </a:lnTo>
                <a:lnTo>
                  <a:pt x="16200" y="21600"/>
                </a:lnTo>
                <a:lnTo>
                  <a:pt x="21600" y="10800"/>
                </a:lnTo>
                <a:lnTo>
                  <a:pt x="16200" y="0"/>
                </a:lnTo>
                <a:close/>
              </a:path>
              <a:path w="21600" h="21600">
                <a:moveTo>
                  <a:pt x="1350" y="5400"/>
                </a:moveTo>
                <a:lnTo>
                  <a:pt x="1350" y="16200"/>
                </a:lnTo>
                <a:lnTo>
                  <a:pt x="2700" y="16200"/>
                </a:lnTo>
                <a:lnTo>
                  <a:pt x="2700" y="5400"/>
                </a:lnTo>
                <a:lnTo>
                  <a:pt x="1350" y="5400"/>
                </a:lnTo>
                <a:close/>
              </a:path>
              <a:path w="21600" h="21600">
                <a:moveTo>
                  <a:pt x="0" y="5400"/>
                </a:moveTo>
                <a:lnTo>
                  <a:pt x="0" y="16200"/>
                </a:lnTo>
                <a:lnTo>
                  <a:pt x="675" y="16200"/>
                </a:lnTo>
                <a:lnTo>
                  <a:pt x="675" y="5400"/>
                </a:lnTo>
                <a:lnTo>
                  <a:pt x="0" y="5400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78" name="AutoShape 20"/>
          <p:cNvSpPr>
            <a:spLocks noChangeArrowheads="1"/>
          </p:cNvSpPr>
          <p:nvPr/>
        </p:nvSpPr>
        <p:spPr bwMode="auto">
          <a:xfrm rot="5400000">
            <a:off x="3465557" y="3154179"/>
            <a:ext cx="1249577" cy="472596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365 h 21600"/>
              <a:gd name="T14" fmla="*/ 19864 w 21600"/>
              <a:gd name="T15" fmla="*/ 1723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8686" y="0"/>
                </a:moveTo>
                <a:lnTo>
                  <a:pt x="18686" y="4365"/>
                </a:lnTo>
                <a:lnTo>
                  <a:pt x="3375" y="4365"/>
                </a:lnTo>
                <a:lnTo>
                  <a:pt x="3375" y="17235"/>
                </a:lnTo>
                <a:lnTo>
                  <a:pt x="18686" y="17235"/>
                </a:lnTo>
                <a:lnTo>
                  <a:pt x="18686" y="21600"/>
                </a:lnTo>
                <a:lnTo>
                  <a:pt x="21600" y="10800"/>
                </a:lnTo>
                <a:lnTo>
                  <a:pt x="18686" y="0"/>
                </a:lnTo>
                <a:close/>
              </a:path>
              <a:path w="21600" h="21600">
                <a:moveTo>
                  <a:pt x="1350" y="4365"/>
                </a:moveTo>
                <a:lnTo>
                  <a:pt x="1350" y="17235"/>
                </a:lnTo>
                <a:lnTo>
                  <a:pt x="2700" y="17235"/>
                </a:lnTo>
                <a:lnTo>
                  <a:pt x="2700" y="4365"/>
                </a:lnTo>
                <a:lnTo>
                  <a:pt x="1350" y="4365"/>
                </a:lnTo>
                <a:close/>
              </a:path>
              <a:path w="21600" h="21600">
                <a:moveTo>
                  <a:pt x="0" y="4365"/>
                </a:moveTo>
                <a:lnTo>
                  <a:pt x="0" y="17235"/>
                </a:lnTo>
                <a:lnTo>
                  <a:pt x="675" y="17235"/>
                </a:lnTo>
                <a:lnTo>
                  <a:pt x="675" y="4365"/>
                </a:lnTo>
                <a:lnTo>
                  <a:pt x="0" y="4365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79" name="AutoShape 21"/>
          <p:cNvSpPr>
            <a:spLocks noChangeArrowheads="1"/>
          </p:cNvSpPr>
          <p:nvPr/>
        </p:nvSpPr>
        <p:spPr bwMode="auto">
          <a:xfrm rot="5400000">
            <a:off x="5190659" y="2943510"/>
            <a:ext cx="1670917" cy="47259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365 h 21600"/>
              <a:gd name="T14" fmla="*/ 19864 w 21600"/>
              <a:gd name="T15" fmla="*/ 1723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8686" y="0"/>
                </a:moveTo>
                <a:lnTo>
                  <a:pt x="18686" y="4365"/>
                </a:lnTo>
                <a:lnTo>
                  <a:pt x="3375" y="4365"/>
                </a:lnTo>
                <a:lnTo>
                  <a:pt x="3375" y="17235"/>
                </a:lnTo>
                <a:lnTo>
                  <a:pt x="18686" y="17235"/>
                </a:lnTo>
                <a:lnTo>
                  <a:pt x="18686" y="21600"/>
                </a:lnTo>
                <a:lnTo>
                  <a:pt x="21600" y="10800"/>
                </a:lnTo>
                <a:lnTo>
                  <a:pt x="18686" y="0"/>
                </a:lnTo>
                <a:close/>
              </a:path>
              <a:path w="21600" h="21600">
                <a:moveTo>
                  <a:pt x="1350" y="4365"/>
                </a:moveTo>
                <a:lnTo>
                  <a:pt x="1350" y="17235"/>
                </a:lnTo>
                <a:lnTo>
                  <a:pt x="2700" y="17235"/>
                </a:lnTo>
                <a:lnTo>
                  <a:pt x="2700" y="4365"/>
                </a:lnTo>
                <a:lnTo>
                  <a:pt x="1350" y="4365"/>
                </a:lnTo>
                <a:close/>
              </a:path>
              <a:path w="21600" h="21600">
                <a:moveTo>
                  <a:pt x="0" y="4365"/>
                </a:moveTo>
                <a:lnTo>
                  <a:pt x="0" y="17235"/>
                </a:lnTo>
                <a:lnTo>
                  <a:pt x="675" y="17235"/>
                </a:lnTo>
                <a:lnTo>
                  <a:pt x="675" y="4365"/>
                </a:lnTo>
                <a:lnTo>
                  <a:pt x="0" y="4365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80" name="AutoShape 22"/>
          <p:cNvSpPr>
            <a:spLocks noChangeArrowheads="1"/>
          </p:cNvSpPr>
          <p:nvPr/>
        </p:nvSpPr>
        <p:spPr bwMode="auto">
          <a:xfrm rot="5400000">
            <a:off x="6182956" y="2847692"/>
            <a:ext cx="1848115" cy="47259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365 h 21600"/>
              <a:gd name="T14" fmla="*/ 19864 w 21600"/>
              <a:gd name="T15" fmla="*/ 1723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8686" y="0"/>
                </a:moveTo>
                <a:lnTo>
                  <a:pt x="18686" y="4365"/>
                </a:lnTo>
                <a:lnTo>
                  <a:pt x="3375" y="4365"/>
                </a:lnTo>
                <a:lnTo>
                  <a:pt x="3375" y="17235"/>
                </a:lnTo>
                <a:lnTo>
                  <a:pt x="18686" y="17235"/>
                </a:lnTo>
                <a:lnTo>
                  <a:pt x="18686" y="21600"/>
                </a:lnTo>
                <a:lnTo>
                  <a:pt x="21600" y="10800"/>
                </a:lnTo>
                <a:lnTo>
                  <a:pt x="18686" y="0"/>
                </a:lnTo>
                <a:close/>
              </a:path>
              <a:path w="21600" h="21600">
                <a:moveTo>
                  <a:pt x="1350" y="4365"/>
                </a:moveTo>
                <a:lnTo>
                  <a:pt x="1350" y="17235"/>
                </a:lnTo>
                <a:lnTo>
                  <a:pt x="2700" y="17235"/>
                </a:lnTo>
                <a:lnTo>
                  <a:pt x="2700" y="4365"/>
                </a:lnTo>
                <a:lnTo>
                  <a:pt x="1350" y="4365"/>
                </a:lnTo>
                <a:close/>
              </a:path>
              <a:path w="21600" h="21600">
                <a:moveTo>
                  <a:pt x="0" y="4365"/>
                </a:moveTo>
                <a:lnTo>
                  <a:pt x="0" y="17235"/>
                </a:lnTo>
                <a:lnTo>
                  <a:pt x="675" y="17235"/>
                </a:lnTo>
                <a:lnTo>
                  <a:pt x="675" y="4365"/>
                </a:lnTo>
                <a:lnTo>
                  <a:pt x="0" y="4365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pic>
        <p:nvPicPr>
          <p:cNvPr id="81" name="Picture 23" descr="777"/>
          <p:cNvPicPr preferRelativeResize="0"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05663" y="4166219"/>
            <a:ext cx="973195" cy="649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3" name="Picture 24"/>
          <p:cNvPicPr preferRelativeResize="0"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32887" y="1517423"/>
            <a:ext cx="834863" cy="5867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7" name="Picture 25" descr="to_visc_3"/>
          <p:cNvPicPr preferRelativeResize="0"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931626" y="1685433"/>
            <a:ext cx="1052225" cy="6523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4" name="Rectangle 26"/>
          <p:cNvSpPr>
            <a:spLocks noChangeArrowheads="1"/>
          </p:cNvSpPr>
          <p:nvPr/>
        </p:nvSpPr>
        <p:spPr bwMode="auto">
          <a:xfrm>
            <a:off x="2017660" y="2407353"/>
            <a:ext cx="1045638" cy="55040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Wing panels (integral cobonded J-spar)</a:t>
            </a:r>
          </a:p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Rear fuse panels</a:t>
            </a:r>
          </a:p>
        </p:txBody>
      </p:sp>
      <p:pic>
        <p:nvPicPr>
          <p:cNvPr id="95" name="Picture 27" descr="efa7"/>
          <p:cNvPicPr preferRelativeResize="0"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116843" y="4176467"/>
            <a:ext cx="844116" cy="6313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" name="Rectangle 28"/>
          <p:cNvSpPr>
            <a:spLocks noChangeArrowheads="1"/>
          </p:cNvSpPr>
          <p:nvPr/>
        </p:nvSpPr>
        <p:spPr bwMode="auto">
          <a:xfrm>
            <a:off x="1864874" y="4943260"/>
            <a:ext cx="1192193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 eaLnBrk="1" hangingPunct="1"/>
            <a:r>
              <a:rPr lang="it-IT" altLang="it-IT" sz="1158" b="1" dirty="0" err="1">
                <a:solidFill>
                  <a:srgbClr val="000066"/>
                </a:solidFill>
                <a:latin typeface="Arial" panose="020B0604020202020204" pitchFamily="34" charset="0"/>
              </a:rPr>
              <a:t>Eurofighter</a:t>
            </a:r>
            <a:endParaRPr lang="it-IT" altLang="it-IT" sz="1158" b="1" dirty="0">
              <a:solidFill>
                <a:srgbClr val="000066"/>
              </a:solidFill>
              <a:latin typeface="Arial" panose="020B0604020202020204" pitchFamily="34" charset="0"/>
            </a:endParaRPr>
          </a:p>
        </p:txBody>
      </p:sp>
      <p:sp>
        <p:nvSpPr>
          <p:cNvPr id="97" name="AutoShape 29"/>
          <p:cNvSpPr>
            <a:spLocks noChangeArrowheads="1"/>
          </p:cNvSpPr>
          <p:nvPr/>
        </p:nvSpPr>
        <p:spPr bwMode="auto">
          <a:xfrm rot="5400000">
            <a:off x="2076554" y="3392412"/>
            <a:ext cx="773111" cy="47259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440 h 21600"/>
              <a:gd name="T14" fmla="*/ 19577 w 21600"/>
              <a:gd name="T15" fmla="*/ 17160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8164" y="0"/>
                </a:moveTo>
                <a:lnTo>
                  <a:pt x="18164" y="4440"/>
                </a:lnTo>
                <a:lnTo>
                  <a:pt x="3375" y="4440"/>
                </a:lnTo>
                <a:lnTo>
                  <a:pt x="3375" y="17160"/>
                </a:lnTo>
                <a:lnTo>
                  <a:pt x="18164" y="17160"/>
                </a:lnTo>
                <a:lnTo>
                  <a:pt x="18164" y="21600"/>
                </a:lnTo>
                <a:lnTo>
                  <a:pt x="21600" y="10800"/>
                </a:lnTo>
                <a:lnTo>
                  <a:pt x="18164" y="0"/>
                </a:lnTo>
                <a:close/>
              </a:path>
              <a:path w="21600" h="21600">
                <a:moveTo>
                  <a:pt x="1350" y="4440"/>
                </a:moveTo>
                <a:lnTo>
                  <a:pt x="1350" y="17160"/>
                </a:lnTo>
                <a:lnTo>
                  <a:pt x="2700" y="17160"/>
                </a:lnTo>
                <a:lnTo>
                  <a:pt x="2700" y="4440"/>
                </a:lnTo>
                <a:lnTo>
                  <a:pt x="1350" y="4440"/>
                </a:lnTo>
                <a:close/>
              </a:path>
              <a:path w="21600" h="21600">
                <a:moveTo>
                  <a:pt x="0" y="4440"/>
                </a:moveTo>
                <a:lnTo>
                  <a:pt x="0" y="17160"/>
                </a:lnTo>
                <a:lnTo>
                  <a:pt x="675" y="17160"/>
                </a:lnTo>
                <a:lnTo>
                  <a:pt x="675" y="4440"/>
                </a:lnTo>
                <a:lnTo>
                  <a:pt x="0" y="4440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pic>
        <p:nvPicPr>
          <p:cNvPr id="99" name="Picture 30" descr="BOX01"/>
          <p:cNvPicPr preferRelativeResize="0"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48730" y="984515"/>
            <a:ext cx="876030" cy="64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0" name="Text Box 31"/>
          <p:cNvSpPr txBox="1">
            <a:spLocks noChangeArrowheads="1"/>
          </p:cNvSpPr>
          <p:nvPr/>
        </p:nvSpPr>
        <p:spPr bwMode="auto">
          <a:xfrm>
            <a:off x="3708678" y="1660494"/>
            <a:ext cx="1213599" cy="7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6267" tIns="33134" rIns="66267" bIns="33134">
            <a:spAutoFit/>
          </a:bodyPr>
          <a:lstStyle>
            <a:lvl1pPr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defTabSz="801688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Horiz.Stabilizer (cocured multispar)</a:t>
            </a:r>
          </a:p>
          <a:p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Vertical Fin</a:t>
            </a:r>
          </a:p>
          <a:p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(panels &amp; cobonded stringers)</a:t>
            </a:r>
          </a:p>
          <a:p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Rudder &amp; Elevator</a:t>
            </a:r>
          </a:p>
        </p:txBody>
      </p:sp>
      <p:pic>
        <p:nvPicPr>
          <p:cNvPr id="101" name="Picture 32" descr="Atr"/>
          <p:cNvPicPr preferRelativeResize="0"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34025" y="4184582"/>
            <a:ext cx="954359" cy="649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" name="Rectangle 33"/>
          <p:cNvSpPr>
            <a:spLocks noChangeArrowheads="1"/>
          </p:cNvSpPr>
          <p:nvPr/>
        </p:nvSpPr>
        <p:spPr bwMode="auto">
          <a:xfrm>
            <a:off x="3986795" y="4943260"/>
            <a:ext cx="1075278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ATR 42/72</a:t>
            </a:r>
          </a:p>
        </p:txBody>
      </p:sp>
      <p:sp>
        <p:nvSpPr>
          <p:cNvPr id="103" name="AutoShape 34"/>
          <p:cNvSpPr>
            <a:spLocks noChangeArrowheads="1"/>
          </p:cNvSpPr>
          <p:nvPr/>
        </p:nvSpPr>
        <p:spPr bwMode="auto">
          <a:xfrm rot="5400000">
            <a:off x="2704718" y="3272969"/>
            <a:ext cx="1012001" cy="47259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5268 h 21600"/>
              <a:gd name="T14" fmla="*/ 19588 w 21600"/>
              <a:gd name="T15" fmla="*/ 16332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7672" y="0"/>
                </a:moveTo>
                <a:lnTo>
                  <a:pt x="17672" y="5268"/>
                </a:lnTo>
                <a:lnTo>
                  <a:pt x="3375" y="5268"/>
                </a:lnTo>
                <a:lnTo>
                  <a:pt x="3375" y="16332"/>
                </a:lnTo>
                <a:lnTo>
                  <a:pt x="17672" y="16332"/>
                </a:lnTo>
                <a:lnTo>
                  <a:pt x="17672" y="21600"/>
                </a:lnTo>
                <a:lnTo>
                  <a:pt x="21600" y="10800"/>
                </a:lnTo>
                <a:lnTo>
                  <a:pt x="17672" y="0"/>
                </a:lnTo>
                <a:close/>
              </a:path>
              <a:path w="21600" h="21600">
                <a:moveTo>
                  <a:pt x="1350" y="5268"/>
                </a:moveTo>
                <a:lnTo>
                  <a:pt x="1350" y="16332"/>
                </a:lnTo>
                <a:lnTo>
                  <a:pt x="2700" y="16332"/>
                </a:lnTo>
                <a:lnTo>
                  <a:pt x="2700" y="5268"/>
                </a:lnTo>
                <a:lnTo>
                  <a:pt x="1350" y="5268"/>
                </a:lnTo>
                <a:close/>
              </a:path>
              <a:path w="21600" h="21600">
                <a:moveTo>
                  <a:pt x="0" y="5268"/>
                </a:moveTo>
                <a:lnTo>
                  <a:pt x="0" y="16332"/>
                </a:lnTo>
                <a:lnTo>
                  <a:pt x="675" y="16332"/>
                </a:lnTo>
                <a:lnTo>
                  <a:pt x="675" y="5268"/>
                </a:lnTo>
                <a:lnTo>
                  <a:pt x="0" y="5268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pic>
        <p:nvPicPr>
          <p:cNvPr id="104" name="Picture 35" descr="esplosa4"/>
          <p:cNvPicPr preferRelativeResize="0"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571105" y="1116014"/>
            <a:ext cx="963304" cy="5473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6" name="Picture 36"/>
          <p:cNvPicPr preferRelativeResize="0"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70415" y="673426"/>
            <a:ext cx="960010" cy="4580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7" name="Rectangle 37"/>
          <p:cNvSpPr>
            <a:spLocks noChangeArrowheads="1"/>
          </p:cNvSpPr>
          <p:nvPr/>
        </p:nvSpPr>
        <p:spPr bwMode="auto">
          <a:xfrm>
            <a:off x="2882752" y="2138341"/>
            <a:ext cx="992945" cy="435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defTabSz="756026" eaLnBrk="1" hangingPunct="1"/>
            <a:r>
              <a:rPr lang="en-US" altLang="it-IT" sz="744" b="1" dirty="0">
                <a:solidFill>
                  <a:srgbClr val="000066"/>
                </a:solidFill>
                <a:latin typeface="Arial" panose="020B0604020202020204" pitchFamily="34" charset="0"/>
              </a:rPr>
              <a:t>- Outboard Flap (H/C sandwich 2nd generation)</a:t>
            </a:r>
          </a:p>
        </p:txBody>
      </p:sp>
      <p:pic>
        <p:nvPicPr>
          <p:cNvPr id="108" name="Picture 38" descr="A380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24681" y="4202265"/>
            <a:ext cx="1223478" cy="6497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9" name="Rectangle 39"/>
          <p:cNvSpPr>
            <a:spLocks noChangeArrowheads="1"/>
          </p:cNvSpPr>
          <p:nvPr/>
        </p:nvSpPr>
        <p:spPr bwMode="auto">
          <a:xfrm>
            <a:off x="4735158" y="1757626"/>
            <a:ext cx="775583" cy="779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Barrier Walls</a:t>
            </a:r>
          </a:p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(large panels)</a:t>
            </a:r>
          </a:p>
          <a:p>
            <a:pPr defTabSz="756026" eaLnBrk="1" hangingPunct="1"/>
            <a:r>
              <a:rPr lang="en-US" altLang="it-IT" sz="744" b="1">
                <a:solidFill>
                  <a:srgbClr val="000066"/>
                </a:solidFill>
                <a:latin typeface="Arial" panose="020B0604020202020204" pitchFamily="34" charset="0"/>
              </a:rPr>
              <a:t>- Upper Beams</a:t>
            </a:r>
          </a:p>
        </p:txBody>
      </p:sp>
      <p:sp>
        <p:nvSpPr>
          <p:cNvPr id="110" name="Rectangle 40"/>
          <p:cNvSpPr>
            <a:spLocks noChangeArrowheads="1"/>
          </p:cNvSpPr>
          <p:nvPr/>
        </p:nvSpPr>
        <p:spPr bwMode="auto">
          <a:xfrm>
            <a:off x="5298198" y="4941701"/>
            <a:ext cx="635616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A380</a:t>
            </a:r>
          </a:p>
        </p:txBody>
      </p:sp>
      <p:sp>
        <p:nvSpPr>
          <p:cNvPr id="111" name="AutoShape 41"/>
          <p:cNvSpPr>
            <a:spLocks noChangeArrowheads="1"/>
          </p:cNvSpPr>
          <p:nvPr/>
        </p:nvSpPr>
        <p:spPr bwMode="auto">
          <a:xfrm rot="5400000">
            <a:off x="4255405" y="3034736"/>
            <a:ext cx="1488467" cy="472595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365 h 21600"/>
              <a:gd name="T14" fmla="*/ 19864 w 21600"/>
              <a:gd name="T15" fmla="*/ 1723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8686" y="0"/>
                </a:moveTo>
                <a:lnTo>
                  <a:pt x="18686" y="4365"/>
                </a:lnTo>
                <a:lnTo>
                  <a:pt x="3375" y="4365"/>
                </a:lnTo>
                <a:lnTo>
                  <a:pt x="3375" y="17235"/>
                </a:lnTo>
                <a:lnTo>
                  <a:pt x="18686" y="17235"/>
                </a:lnTo>
                <a:lnTo>
                  <a:pt x="18686" y="21600"/>
                </a:lnTo>
                <a:lnTo>
                  <a:pt x="21600" y="10800"/>
                </a:lnTo>
                <a:lnTo>
                  <a:pt x="18686" y="0"/>
                </a:lnTo>
                <a:close/>
              </a:path>
              <a:path w="21600" h="21600">
                <a:moveTo>
                  <a:pt x="1350" y="4365"/>
                </a:moveTo>
                <a:lnTo>
                  <a:pt x="1350" y="17235"/>
                </a:lnTo>
                <a:lnTo>
                  <a:pt x="2700" y="17235"/>
                </a:lnTo>
                <a:lnTo>
                  <a:pt x="2700" y="4365"/>
                </a:lnTo>
                <a:lnTo>
                  <a:pt x="1350" y="4365"/>
                </a:lnTo>
                <a:close/>
              </a:path>
              <a:path w="21600" h="21600">
                <a:moveTo>
                  <a:pt x="0" y="4365"/>
                </a:moveTo>
                <a:lnTo>
                  <a:pt x="0" y="17235"/>
                </a:lnTo>
                <a:lnTo>
                  <a:pt x="675" y="17235"/>
                </a:lnTo>
                <a:lnTo>
                  <a:pt x="675" y="4365"/>
                </a:lnTo>
                <a:lnTo>
                  <a:pt x="0" y="4365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112" name="Line 42"/>
          <p:cNvSpPr>
            <a:spLocks noChangeShapeType="1"/>
          </p:cNvSpPr>
          <p:nvPr/>
        </p:nvSpPr>
        <p:spPr bwMode="auto">
          <a:xfrm>
            <a:off x="807246" y="3897133"/>
            <a:ext cx="0" cy="1785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sp>
        <p:nvSpPr>
          <p:cNvPr id="113" name="Line 43"/>
          <p:cNvSpPr>
            <a:spLocks noChangeShapeType="1"/>
          </p:cNvSpPr>
          <p:nvPr/>
        </p:nvSpPr>
        <p:spPr bwMode="auto">
          <a:xfrm>
            <a:off x="4803392" y="3897133"/>
            <a:ext cx="0" cy="1785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sp>
        <p:nvSpPr>
          <p:cNvPr id="114" name="Line 44"/>
          <p:cNvSpPr>
            <a:spLocks noChangeShapeType="1"/>
          </p:cNvSpPr>
          <p:nvPr/>
        </p:nvSpPr>
        <p:spPr bwMode="auto">
          <a:xfrm>
            <a:off x="8302615" y="3897133"/>
            <a:ext cx="0" cy="178511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sp>
        <p:nvSpPr>
          <p:cNvPr id="115" name="Text Box 45"/>
          <p:cNvSpPr txBox="1">
            <a:spLocks noChangeArrowheads="1"/>
          </p:cNvSpPr>
          <p:nvPr/>
        </p:nvSpPr>
        <p:spPr bwMode="auto">
          <a:xfrm>
            <a:off x="2449315" y="3758000"/>
            <a:ext cx="1193838" cy="3213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defTabSz="756026" eaLnBrk="1" hangingPunct="1">
              <a:spcBef>
                <a:spcPct val="50000"/>
              </a:spcBef>
            </a:pPr>
            <a:r>
              <a:rPr lang="it-IT" altLang="it-IT" sz="1488">
                <a:solidFill>
                  <a:schemeClr val="tx1"/>
                </a:solidFill>
                <a:latin typeface="Arial" panose="020B0604020202020204" pitchFamily="34" charset="0"/>
              </a:rPr>
              <a:t> </a:t>
            </a:r>
            <a:r>
              <a:rPr lang="it-IT" altLang="it-IT" sz="992" b="1">
                <a:solidFill>
                  <a:schemeClr val="tx1"/>
                </a:solidFill>
                <a:latin typeface="Arial" panose="020B0604020202020204" pitchFamily="34" charset="0"/>
              </a:rPr>
              <a:t>1980 - 1995</a:t>
            </a:r>
          </a:p>
        </p:txBody>
      </p:sp>
      <p:sp>
        <p:nvSpPr>
          <p:cNvPr id="116" name="Line 46"/>
          <p:cNvSpPr>
            <a:spLocks noChangeShapeType="1"/>
          </p:cNvSpPr>
          <p:nvPr/>
        </p:nvSpPr>
        <p:spPr bwMode="auto">
          <a:xfrm flipH="1">
            <a:off x="3391242" y="3956199"/>
            <a:ext cx="1567634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sp>
        <p:nvSpPr>
          <p:cNvPr id="117" name="Line 47"/>
          <p:cNvSpPr>
            <a:spLocks noChangeShapeType="1"/>
          </p:cNvSpPr>
          <p:nvPr/>
        </p:nvSpPr>
        <p:spPr bwMode="auto">
          <a:xfrm>
            <a:off x="833946" y="3956199"/>
            <a:ext cx="1941428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sp>
        <p:nvSpPr>
          <p:cNvPr id="118" name="Text Box 48"/>
          <p:cNvSpPr txBox="1">
            <a:spLocks noChangeArrowheads="1"/>
          </p:cNvSpPr>
          <p:nvPr/>
        </p:nvSpPr>
        <p:spPr bwMode="auto">
          <a:xfrm>
            <a:off x="6181425" y="3823629"/>
            <a:ext cx="969891" cy="2450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defTabSz="756026" eaLnBrk="1" hangingPunct="1">
              <a:spcBef>
                <a:spcPct val="50000"/>
              </a:spcBef>
            </a:pPr>
            <a:r>
              <a:rPr lang="it-IT" altLang="it-IT" sz="992" b="1" dirty="0">
                <a:solidFill>
                  <a:schemeClr val="tx1"/>
                </a:solidFill>
                <a:latin typeface="Arial" panose="020B0604020202020204" pitchFamily="34" charset="0"/>
              </a:rPr>
              <a:t>1995-2020</a:t>
            </a:r>
          </a:p>
        </p:txBody>
      </p:sp>
      <p:sp>
        <p:nvSpPr>
          <p:cNvPr id="119" name="Line 49"/>
          <p:cNvSpPr>
            <a:spLocks noChangeShapeType="1"/>
          </p:cNvSpPr>
          <p:nvPr/>
        </p:nvSpPr>
        <p:spPr bwMode="auto">
          <a:xfrm>
            <a:off x="4803392" y="3956199"/>
            <a:ext cx="1569281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 type="triangle" w="med" len="med"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sp>
        <p:nvSpPr>
          <p:cNvPr id="120" name="Line 50"/>
          <p:cNvSpPr>
            <a:spLocks noChangeShapeType="1"/>
          </p:cNvSpPr>
          <p:nvPr/>
        </p:nvSpPr>
        <p:spPr bwMode="auto">
          <a:xfrm>
            <a:off x="6957216" y="3956199"/>
            <a:ext cx="2115050" cy="1969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it-IT" sz="1488"/>
          </a:p>
        </p:txBody>
      </p:sp>
      <p:pic>
        <p:nvPicPr>
          <p:cNvPr id="121" name="Picture 51" descr="Immagine5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01655" y="1144649"/>
            <a:ext cx="1014351" cy="609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" name="Picture 22" descr="bombardier c"/>
          <p:cNvPicPr>
            <a:picLocks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361590" y="4175401"/>
            <a:ext cx="1185605" cy="653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3" name="Picture 89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865858" y="435148"/>
            <a:ext cx="966597" cy="590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" name="Picture 90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60762" y="1038989"/>
            <a:ext cx="1111505" cy="4843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5" name="Rettangolo 124"/>
          <p:cNvSpPr/>
          <p:nvPr/>
        </p:nvSpPr>
        <p:spPr>
          <a:xfrm>
            <a:off x="408226" y="4175401"/>
            <a:ext cx="9175266" cy="649727"/>
          </a:xfrm>
          <a:prstGeom prst="rect">
            <a:avLst/>
          </a:prstGeom>
          <a:noFill/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anchor="ctr"/>
          <a:lstStyle/>
          <a:p>
            <a:pPr algn="ctr" defTabSz="756026">
              <a:defRPr/>
            </a:pPr>
            <a:endParaRPr lang="it-IT" sz="1488">
              <a:ln>
                <a:solidFill>
                  <a:srgbClr val="FF0000"/>
                </a:solidFill>
              </a:ln>
            </a:endParaRPr>
          </a:p>
        </p:txBody>
      </p:sp>
      <p:sp>
        <p:nvSpPr>
          <p:cNvPr id="126" name="AutoShape 22"/>
          <p:cNvSpPr>
            <a:spLocks noChangeArrowheads="1"/>
          </p:cNvSpPr>
          <p:nvPr/>
        </p:nvSpPr>
        <p:spPr bwMode="auto">
          <a:xfrm rot="5400000">
            <a:off x="7216788" y="2736779"/>
            <a:ext cx="2084379" cy="472596"/>
          </a:xfrm>
          <a:custGeom>
            <a:avLst/>
            <a:gdLst>
              <a:gd name="T0" fmla="*/ 2147483647 w 21600"/>
              <a:gd name="T1" fmla="*/ 0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3375 w 21600"/>
              <a:gd name="T13" fmla="*/ 4365 h 21600"/>
              <a:gd name="T14" fmla="*/ 19864 w 21600"/>
              <a:gd name="T15" fmla="*/ 17235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8686" y="0"/>
                </a:moveTo>
                <a:lnTo>
                  <a:pt x="18686" y="4365"/>
                </a:lnTo>
                <a:lnTo>
                  <a:pt x="3375" y="4365"/>
                </a:lnTo>
                <a:lnTo>
                  <a:pt x="3375" y="17235"/>
                </a:lnTo>
                <a:lnTo>
                  <a:pt x="18686" y="17235"/>
                </a:lnTo>
                <a:lnTo>
                  <a:pt x="18686" y="21600"/>
                </a:lnTo>
                <a:lnTo>
                  <a:pt x="21600" y="10800"/>
                </a:lnTo>
                <a:lnTo>
                  <a:pt x="18686" y="0"/>
                </a:lnTo>
                <a:close/>
              </a:path>
              <a:path w="21600" h="21600">
                <a:moveTo>
                  <a:pt x="1350" y="4365"/>
                </a:moveTo>
                <a:lnTo>
                  <a:pt x="1350" y="17235"/>
                </a:lnTo>
                <a:lnTo>
                  <a:pt x="2700" y="17235"/>
                </a:lnTo>
                <a:lnTo>
                  <a:pt x="2700" y="4365"/>
                </a:lnTo>
                <a:lnTo>
                  <a:pt x="1350" y="4365"/>
                </a:lnTo>
                <a:close/>
              </a:path>
              <a:path w="21600" h="21600">
                <a:moveTo>
                  <a:pt x="0" y="4365"/>
                </a:moveTo>
                <a:lnTo>
                  <a:pt x="0" y="17235"/>
                </a:lnTo>
                <a:lnTo>
                  <a:pt x="675" y="17235"/>
                </a:lnTo>
                <a:lnTo>
                  <a:pt x="675" y="4365"/>
                </a:lnTo>
                <a:lnTo>
                  <a:pt x="0" y="4365"/>
                </a:lnTo>
                <a:close/>
              </a:path>
            </a:pathLst>
          </a:custGeom>
          <a:solidFill>
            <a:srgbClr val="B2B2B2">
              <a:alpha val="41176"/>
            </a:srgbClr>
          </a:solidFill>
          <a:ln w="9525">
            <a:solidFill>
              <a:schemeClr val="bg2"/>
            </a:solidFill>
            <a:miter lim="800000"/>
            <a:headEnd/>
            <a:tailEnd/>
          </a:ln>
        </p:spPr>
        <p:txBody>
          <a:bodyPr wrap="none" anchor="ctr"/>
          <a:lstStyle/>
          <a:p>
            <a:endParaRPr lang="it-IT" sz="1488"/>
          </a:p>
        </p:txBody>
      </p:sp>
      <p:sp>
        <p:nvSpPr>
          <p:cNvPr id="127" name="Rectangle 11"/>
          <p:cNvSpPr>
            <a:spLocks noChangeArrowheads="1"/>
          </p:cNvSpPr>
          <p:nvPr/>
        </p:nvSpPr>
        <p:spPr bwMode="auto">
          <a:xfrm>
            <a:off x="8455450" y="4943260"/>
            <a:ext cx="997884" cy="2705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bg1"/>
                </a:solidFill>
                <a:latin typeface="Impact" panose="020B0806030902050204" pitchFamily="34" charset="0"/>
                <a:ea typeface="ＭＳ Ｐゴシック" panose="020B0600070205080204" pitchFamily="34" charset="-128"/>
              </a:defRPr>
            </a:lvl9pPr>
          </a:lstStyle>
          <a:p>
            <a:pPr algn="ctr" defTabSz="756026">
              <a:spcBef>
                <a:spcPct val="50000"/>
              </a:spcBef>
            </a:pPr>
            <a:r>
              <a:rPr lang="it-IT" altLang="it-IT" sz="1158" b="1" dirty="0">
                <a:solidFill>
                  <a:srgbClr val="000066"/>
                </a:solidFill>
                <a:latin typeface="Arial" panose="020B0604020202020204" pitchFamily="34" charset="0"/>
              </a:rPr>
              <a:t>C- Series</a:t>
            </a:r>
          </a:p>
        </p:txBody>
      </p:sp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-10647" y="409103"/>
            <a:ext cx="8979886" cy="585554"/>
          </a:xfrm>
        </p:spPr>
        <p:txBody>
          <a:bodyPr>
            <a:normAutofit fontScale="90000"/>
          </a:bodyPr>
          <a:lstStyle/>
          <a:p>
            <a:r>
              <a:rPr lang="it-IT" sz="4000" b="1" dirty="0">
                <a:solidFill>
                  <a:srgbClr val="5B6770"/>
                </a:solidFill>
                <a:cs typeface="Arial"/>
              </a:rPr>
              <a:t>Heritage – CFRP </a:t>
            </a:r>
            <a:r>
              <a:rPr lang="it-IT" sz="4000" b="1" dirty="0" err="1">
                <a:solidFill>
                  <a:srgbClr val="5B6770"/>
                </a:solidFill>
                <a:cs typeface="Arial"/>
              </a:rPr>
              <a:t>Wings</a:t>
            </a:r>
            <a:r>
              <a:rPr lang="it-IT" sz="4000" b="1" dirty="0">
                <a:solidFill>
                  <a:srgbClr val="5B6770"/>
                </a:solidFill>
                <a:cs typeface="Arial"/>
              </a:rPr>
              <a:t> </a:t>
            </a:r>
            <a:r>
              <a:rPr lang="it-IT" sz="4000" b="1" dirty="0" err="1" smtClean="0">
                <a:solidFill>
                  <a:srgbClr val="5B6770"/>
                </a:solidFill>
                <a:cs typeface="Arial"/>
              </a:rPr>
              <a:t>Timeli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962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4" descr="atr42-50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618" b="11703"/>
          <a:stretch>
            <a:fillRect/>
          </a:stretch>
        </p:blipFill>
        <p:spPr bwMode="auto">
          <a:xfrm>
            <a:off x="1861129" y="1424201"/>
            <a:ext cx="4094085" cy="17720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9" name="Picture 5" descr="atr7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106" t="6812" r="-818" b="18338"/>
          <a:stretch>
            <a:fillRect/>
          </a:stretch>
        </p:blipFill>
        <p:spPr bwMode="auto">
          <a:xfrm>
            <a:off x="4759410" y="3391829"/>
            <a:ext cx="3654354" cy="2075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340" name="Text Box 7"/>
          <p:cNvSpPr txBox="1">
            <a:spLocks noChangeArrowheads="1"/>
          </p:cNvSpPr>
          <p:nvPr/>
        </p:nvSpPr>
        <p:spPr bwMode="auto">
          <a:xfrm>
            <a:off x="1807312" y="3611039"/>
            <a:ext cx="2637068" cy="15940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6270" tIns="33135" rIns="66270" bIns="33135">
            <a:spAutoFit/>
          </a:bodyPr>
          <a:lstStyle>
            <a:lvl1pPr defTabSz="801688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1pPr>
            <a:lvl2pPr marL="742950" indent="-285750" defTabSz="801688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2pPr>
            <a:lvl3pPr marL="1143000" indent="-228600" defTabSz="801688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3pPr>
            <a:lvl4pPr marL="1600200" indent="-228600" defTabSz="801688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4pPr>
            <a:lvl5pPr marL="2057400" indent="-228600" defTabSz="801688" eaLnBrk="0" hangingPunct="0"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5pPr>
            <a:lvl6pPr marL="25146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6pPr>
            <a:lvl7pPr marL="29718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7pPr>
            <a:lvl8pPr marL="34290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8pPr>
            <a:lvl9pPr marL="3886200" indent="-228600" defTabSz="801688" eaLnBrk="0" fontAlgn="base" hangingPunct="0">
              <a:spcBef>
                <a:spcPct val="0"/>
              </a:spcBef>
              <a:spcAft>
                <a:spcPct val="0"/>
              </a:spcAft>
              <a:defRPr sz="1600" b="1">
                <a:solidFill>
                  <a:schemeClr val="tx1"/>
                </a:solidFill>
                <a:latin typeface="Calibri" pitchFamily="34" charset="0"/>
                <a:ea typeface="ＭＳ Ｐゴシック" pitchFamily="34" charset="-128"/>
              </a:defRPr>
            </a:lvl9pPr>
          </a:lstStyle>
          <a:p>
            <a:pPr eaLnBrk="1" hangingPunct="1">
              <a:spcBef>
                <a:spcPct val="50000"/>
              </a:spcBef>
            </a:pPr>
            <a:r>
              <a:rPr lang="it-IT" altLang="it-IT" sz="1985">
                <a:solidFill>
                  <a:srgbClr val="6699FF"/>
                </a:solidFill>
                <a:latin typeface="Arial" pitchFamily="34" charset="0"/>
              </a:rPr>
              <a:t>ATR 42 / 72</a:t>
            </a:r>
          </a:p>
          <a:p>
            <a:pPr eaLnBrk="1" hangingPunct="1">
              <a:spcBef>
                <a:spcPct val="50000"/>
              </a:spcBef>
              <a:buClr>
                <a:srgbClr val="6699FF"/>
              </a:buClr>
              <a:buFont typeface="Wingdings" pitchFamily="2" charset="2"/>
              <a:buChar char="Ø"/>
            </a:pPr>
            <a:r>
              <a:rPr lang="it-IT" altLang="it-IT" sz="1323">
                <a:latin typeface="Arial" pitchFamily="34" charset="0"/>
              </a:rPr>
              <a:t> Fin</a:t>
            </a:r>
          </a:p>
          <a:p>
            <a:pPr eaLnBrk="1" hangingPunct="1">
              <a:spcBef>
                <a:spcPct val="50000"/>
              </a:spcBef>
              <a:buClr>
                <a:srgbClr val="6699FF"/>
              </a:buClr>
              <a:buFont typeface="Wingdings" pitchFamily="2" charset="2"/>
              <a:buChar char="Ø"/>
            </a:pPr>
            <a:r>
              <a:rPr lang="it-IT" altLang="it-IT" sz="1323">
                <a:latin typeface="Arial" pitchFamily="34" charset="0"/>
              </a:rPr>
              <a:t> Rudder</a:t>
            </a:r>
          </a:p>
          <a:p>
            <a:pPr eaLnBrk="1" hangingPunct="1">
              <a:spcBef>
                <a:spcPct val="50000"/>
              </a:spcBef>
              <a:buClr>
                <a:srgbClr val="6699FF"/>
              </a:buClr>
              <a:buFont typeface="Wingdings" pitchFamily="2" charset="2"/>
              <a:buChar char="Ø"/>
            </a:pPr>
            <a:r>
              <a:rPr lang="it-IT" altLang="it-IT" sz="1323">
                <a:latin typeface="Arial" pitchFamily="34" charset="0"/>
              </a:rPr>
              <a:t> Stabilizer</a:t>
            </a:r>
          </a:p>
          <a:p>
            <a:pPr eaLnBrk="1" hangingPunct="1">
              <a:spcBef>
                <a:spcPct val="50000"/>
              </a:spcBef>
              <a:buClr>
                <a:srgbClr val="6699FF"/>
              </a:buClr>
              <a:buFont typeface="Wingdings" pitchFamily="2" charset="2"/>
              <a:buChar char="Ø"/>
            </a:pPr>
            <a:r>
              <a:rPr lang="it-IT" altLang="it-IT" sz="1323">
                <a:latin typeface="Arial" pitchFamily="34" charset="0"/>
              </a:rPr>
              <a:t> Elevators</a:t>
            </a:r>
          </a:p>
        </p:txBody>
      </p:sp>
      <p:sp>
        <p:nvSpPr>
          <p:cNvPr id="2" name="Ovale 1"/>
          <p:cNvSpPr/>
          <p:nvPr/>
        </p:nvSpPr>
        <p:spPr>
          <a:xfrm>
            <a:off x="4759410" y="1424201"/>
            <a:ext cx="1293081" cy="1351534"/>
          </a:xfrm>
          <a:prstGeom prst="ellipse">
            <a:avLst/>
          </a:prstGeom>
          <a:noFill/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88"/>
          </a:p>
        </p:txBody>
      </p:sp>
      <p:sp>
        <p:nvSpPr>
          <p:cNvPr id="10" name="Ovale 9"/>
          <p:cNvSpPr/>
          <p:nvPr/>
        </p:nvSpPr>
        <p:spPr>
          <a:xfrm>
            <a:off x="6945591" y="3196248"/>
            <a:ext cx="1293081" cy="1351534"/>
          </a:xfrm>
          <a:prstGeom prst="ellipse">
            <a:avLst/>
          </a:prstGeom>
          <a:noFill/>
          <a:ln w="28575">
            <a:solidFill>
              <a:srgbClr val="00B0F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488"/>
          </a:p>
        </p:txBody>
      </p:sp>
      <p:sp>
        <p:nvSpPr>
          <p:cNvPr id="3" name="Titolo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/>
              <a:t>ATR </a:t>
            </a:r>
            <a:r>
              <a:rPr lang="en-GB" dirty="0" smtClean="0"/>
              <a:t>Progr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02707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Immagine 1" descr="cid:b3adfe20-7b57-49de-99ee-d3690b23f42a@leonardocompany.com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3082" y="1235162"/>
            <a:ext cx="3681124" cy="28586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Immagine 2" descr="cid:f83d68da-e50d-457f-b7ec-3efac8b67513@leonardocompany.co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39794" y="1241000"/>
            <a:ext cx="2560218" cy="3257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CasellaDiTesto 6"/>
          <p:cNvSpPr txBox="1"/>
          <p:nvPr/>
        </p:nvSpPr>
        <p:spPr>
          <a:xfrm>
            <a:off x="1429521" y="749839"/>
            <a:ext cx="1750773" cy="321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88" b="1" dirty="0">
                <a:solidFill>
                  <a:srgbClr val="0070C0"/>
                </a:solidFill>
              </a:rPr>
              <a:t>Vertical </a:t>
            </a:r>
            <a:r>
              <a:rPr lang="it-IT" sz="1488" b="1" dirty="0" err="1">
                <a:solidFill>
                  <a:srgbClr val="0070C0"/>
                </a:solidFill>
              </a:rPr>
              <a:t>Tail</a:t>
            </a:r>
            <a:r>
              <a:rPr lang="it-IT" sz="1488" b="1" dirty="0">
                <a:solidFill>
                  <a:srgbClr val="0070C0"/>
                </a:solidFill>
              </a:rPr>
              <a:t> </a:t>
            </a:r>
            <a:endParaRPr lang="it-IT" sz="2315" b="1" dirty="0">
              <a:solidFill>
                <a:srgbClr val="0070C0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5180254" y="759547"/>
            <a:ext cx="2679298" cy="3213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488" b="1" dirty="0" err="1">
                <a:solidFill>
                  <a:srgbClr val="0070C0"/>
                </a:solidFill>
              </a:rPr>
              <a:t>Horizontal</a:t>
            </a:r>
            <a:r>
              <a:rPr lang="it-IT" sz="1488" b="1" dirty="0">
                <a:solidFill>
                  <a:srgbClr val="0070C0"/>
                </a:solidFill>
              </a:rPr>
              <a:t> </a:t>
            </a:r>
            <a:r>
              <a:rPr lang="it-IT" sz="1488" b="1" dirty="0" err="1">
                <a:solidFill>
                  <a:srgbClr val="0070C0"/>
                </a:solidFill>
              </a:rPr>
              <a:t>Stabilizer</a:t>
            </a:r>
            <a:endParaRPr lang="it-IT" sz="2315" b="1" dirty="0">
              <a:solidFill>
                <a:srgbClr val="0070C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09306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BainBulletsConfiguration" hidden="1"/>
          <p:cNvSpPr txBox="1">
            <a:spLocks noChangeArrowheads="1"/>
          </p:cNvSpPr>
          <p:nvPr/>
        </p:nvSpPr>
        <p:spPr bwMode="auto">
          <a:xfrm>
            <a:off x="1270446" y="10501"/>
            <a:ext cx="7350713" cy="107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it-IT" altLang="it-IT" sz="100">
              <a:solidFill>
                <a:srgbClr val="FFFFFF"/>
              </a:solidFill>
            </a:endParaRPr>
          </a:p>
        </p:txBody>
      </p:sp>
      <p:grpSp>
        <p:nvGrpSpPr>
          <p:cNvPr id="5" name="Gruppo 4"/>
          <p:cNvGrpSpPr/>
          <p:nvPr/>
        </p:nvGrpSpPr>
        <p:grpSpPr>
          <a:xfrm>
            <a:off x="1527954" y="1100688"/>
            <a:ext cx="6879479" cy="4077525"/>
            <a:chOff x="1259946" y="702256"/>
            <a:chExt cx="7560733" cy="4481310"/>
          </a:xfrm>
        </p:grpSpPr>
        <p:pic>
          <p:nvPicPr>
            <p:cNvPr id="5124" name="Picture 162" descr="slide_8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534"/>
            <a:stretch>
              <a:fillRect/>
            </a:stretch>
          </p:blipFill>
          <p:spPr bwMode="auto">
            <a:xfrm>
              <a:off x="1259946" y="702256"/>
              <a:ext cx="7560733" cy="4481310"/>
            </a:xfrm>
            <a:prstGeom prst="rect">
              <a:avLst/>
            </a:prstGeom>
            <a:noFill/>
            <a:ln w="12700">
              <a:solidFill>
                <a:schemeClr val="tx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5125" name="AutoShape 145"/>
            <p:cNvSpPr>
              <a:spLocks/>
            </p:cNvSpPr>
            <p:nvPr/>
          </p:nvSpPr>
          <p:spPr bwMode="auto">
            <a:xfrm>
              <a:off x="4429941" y="783639"/>
              <a:ext cx="2388982" cy="628748"/>
            </a:xfrm>
            <a:prstGeom prst="callout2">
              <a:avLst>
                <a:gd name="adj1" fmla="val 13611"/>
                <a:gd name="adj2" fmla="val 102255"/>
                <a:gd name="adj3" fmla="val 13611"/>
                <a:gd name="adj4" fmla="val 111083"/>
                <a:gd name="adj5" fmla="val 289792"/>
                <a:gd name="adj6" fmla="val 121278"/>
              </a:avLst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 w="12700" algn="ctr">
              <a:solidFill>
                <a:srgbClr val="000000"/>
              </a:solidFill>
              <a:miter lim="800000"/>
              <a:headEnd/>
              <a:tailEnd type="diamond" w="lg" len="lg"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it-IT" sz="1323" b="1">
                  <a:solidFill>
                    <a:srgbClr val="000000"/>
                  </a:solidFill>
                </a:rPr>
                <a:t>Bombardier St-Laurent</a:t>
              </a:r>
              <a:r>
                <a:rPr lang="en-US" altLang="it-IT" sz="1158" b="1">
                  <a:solidFill>
                    <a:srgbClr val="000000"/>
                  </a:solidFill>
                </a:rPr>
                <a:t> </a:t>
              </a:r>
            </a:p>
            <a:p>
              <a:pPr algn="ctr" eaLnBrk="1" hangingPunct="1"/>
              <a:r>
                <a:rPr lang="en-US" altLang="it-IT" sz="1158" i="1">
                  <a:solidFill>
                    <a:srgbClr val="000000"/>
                  </a:solidFill>
                </a:rPr>
                <a:t>Cockpit, Rear Fuselage (TBC)</a:t>
              </a:r>
              <a:endParaRPr lang="en-CA" altLang="it-IT" sz="1158" i="1">
                <a:solidFill>
                  <a:schemeClr val="tx2"/>
                </a:solidFill>
              </a:endParaRPr>
            </a:p>
          </p:txBody>
        </p:sp>
        <p:sp>
          <p:nvSpPr>
            <p:cNvPr id="5126" name="AutoShape 146"/>
            <p:cNvSpPr>
              <a:spLocks/>
            </p:cNvSpPr>
            <p:nvPr/>
          </p:nvSpPr>
          <p:spPr bwMode="auto">
            <a:xfrm>
              <a:off x="6872740" y="4319857"/>
              <a:ext cx="1493770" cy="441043"/>
            </a:xfrm>
            <a:prstGeom prst="callout2">
              <a:avLst>
                <a:gd name="adj1" fmla="val 19458"/>
                <a:gd name="adj2" fmla="val -3611"/>
                <a:gd name="adj3" fmla="val 19458"/>
                <a:gd name="adj4" fmla="val -32782"/>
                <a:gd name="adj5" fmla="val -135676"/>
                <a:gd name="adj6" fmla="val -62556"/>
              </a:avLst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 w="9525" algn="ctr">
              <a:solidFill>
                <a:srgbClr val="000000"/>
              </a:solidFill>
              <a:miter lim="800000"/>
              <a:headEnd/>
              <a:tailEnd type="diamond" w="lg" len="lg"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it-IT" sz="1323" b="1">
                  <a:solidFill>
                    <a:srgbClr val="000000"/>
                  </a:solidFill>
                </a:rPr>
                <a:t>P&amp;W</a:t>
              </a:r>
            </a:p>
            <a:p>
              <a:pPr algn="ctr" eaLnBrk="1" hangingPunct="1"/>
              <a:r>
                <a:rPr lang="en-US" altLang="it-IT" sz="1158" i="1">
                  <a:solidFill>
                    <a:srgbClr val="000000"/>
                  </a:solidFill>
                </a:rPr>
                <a:t>Geared TurboFan</a:t>
              </a:r>
              <a:endParaRPr lang="en-CA" altLang="it-IT" sz="1158" i="1">
                <a:solidFill>
                  <a:schemeClr val="tx2"/>
                </a:solidFill>
              </a:endParaRPr>
            </a:p>
          </p:txBody>
        </p:sp>
        <p:sp>
          <p:nvSpPr>
            <p:cNvPr id="5127" name="Line 147"/>
            <p:cNvSpPr>
              <a:spLocks noChangeShapeType="1"/>
            </p:cNvSpPr>
            <p:nvPr/>
          </p:nvSpPr>
          <p:spPr bwMode="auto">
            <a:xfrm flipH="1">
              <a:off x="3080560" y="1080293"/>
              <a:ext cx="1296876" cy="1753670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diamond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it-IT" sz="1488"/>
            </a:p>
          </p:txBody>
        </p:sp>
        <p:sp>
          <p:nvSpPr>
            <p:cNvPr id="5128" name="Text Box 148"/>
            <p:cNvSpPr txBox="1">
              <a:spLocks noChangeArrowheads="1"/>
            </p:cNvSpPr>
            <p:nvPr/>
          </p:nvSpPr>
          <p:spPr bwMode="auto">
            <a:xfrm>
              <a:off x="6867489" y="3645167"/>
              <a:ext cx="1764171" cy="505361"/>
            </a:xfrm>
            <a:prstGeom prst="rect">
              <a:avLst/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>
              <a:noFill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554" tIns="37777" rIns="75554" bIns="37777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chemeClr val="accent1"/>
                </a:buClr>
              </a:pPr>
              <a:r>
                <a:rPr lang="en-US" altLang="it-IT" sz="1323" b="1">
                  <a:solidFill>
                    <a:srgbClr val="000000"/>
                  </a:solidFill>
                </a:rPr>
                <a:t>C&amp;D / Zodiac</a:t>
              </a:r>
              <a:r>
                <a:rPr lang="en-US" altLang="it-IT" sz="1158" b="1">
                  <a:solidFill>
                    <a:srgbClr val="000000"/>
                  </a:solidFill>
                </a:rPr>
                <a:t>     </a:t>
              </a:r>
              <a:r>
                <a:rPr lang="en-US" altLang="it-IT" sz="1158" i="1">
                  <a:solidFill>
                    <a:srgbClr val="000000"/>
                  </a:solidFill>
                </a:rPr>
                <a:t>Interiors</a:t>
              </a:r>
              <a:endParaRPr lang="en-US" altLang="it-IT" sz="1158" i="1">
                <a:solidFill>
                  <a:schemeClr val="bg1"/>
                </a:solidFill>
              </a:endParaRPr>
            </a:p>
          </p:txBody>
        </p:sp>
        <p:sp>
          <p:nvSpPr>
            <p:cNvPr id="5129" name="AutoShape 149"/>
            <p:cNvSpPr>
              <a:spLocks/>
            </p:cNvSpPr>
            <p:nvPr/>
          </p:nvSpPr>
          <p:spPr bwMode="auto">
            <a:xfrm>
              <a:off x="4356434" y="1677538"/>
              <a:ext cx="1764171" cy="651063"/>
            </a:xfrm>
            <a:prstGeom prst="callout2">
              <a:avLst>
                <a:gd name="adj1" fmla="val 13162"/>
                <a:gd name="adj2" fmla="val 103056"/>
                <a:gd name="adj3" fmla="val 13162"/>
                <a:gd name="adj4" fmla="val 121069"/>
                <a:gd name="adj5" fmla="val 139120"/>
                <a:gd name="adj6" fmla="val 138319"/>
              </a:avLst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 w="12700" algn="ctr">
              <a:solidFill>
                <a:srgbClr val="000000"/>
              </a:solidFill>
              <a:miter lim="800000"/>
              <a:headEnd/>
              <a:tailEnd type="diamond" w="lg" len="lg"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it-IT" sz="1323" b="1">
                  <a:solidFill>
                    <a:srgbClr val="000000"/>
                  </a:solidFill>
                </a:rPr>
                <a:t>SAC  </a:t>
              </a:r>
              <a:r>
                <a:rPr lang="en-US" altLang="it-IT" sz="1158" b="1">
                  <a:solidFill>
                    <a:srgbClr val="000000"/>
                  </a:solidFill>
                </a:rPr>
                <a:t>                             </a:t>
              </a:r>
              <a:r>
                <a:rPr lang="en-US" altLang="it-IT" sz="1158" i="1">
                  <a:solidFill>
                    <a:srgbClr val="000000"/>
                  </a:solidFill>
                </a:rPr>
                <a:t>Center Fuselage, </a:t>
              </a:r>
            </a:p>
            <a:p>
              <a:pPr algn="ctr" eaLnBrk="1" hangingPunct="1"/>
              <a:r>
                <a:rPr lang="en-US" altLang="it-IT" sz="1158" i="1">
                  <a:solidFill>
                    <a:srgbClr val="000000"/>
                  </a:solidFill>
                </a:rPr>
                <a:t>Centre Wing Box, Doors</a:t>
              </a:r>
              <a:endParaRPr lang="en-CA" altLang="it-IT" sz="1158" i="1">
                <a:solidFill>
                  <a:schemeClr val="tx2"/>
                </a:solidFill>
              </a:endParaRPr>
            </a:p>
          </p:txBody>
        </p:sp>
        <p:sp>
          <p:nvSpPr>
            <p:cNvPr id="5130" name="Line 150"/>
            <p:cNvSpPr>
              <a:spLocks noChangeShapeType="1"/>
            </p:cNvSpPr>
            <p:nvPr/>
          </p:nvSpPr>
          <p:spPr bwMode="auto">
            <a:xfrm flipH="1">
              <a:off x="3591172" y="2105454"/>
              <a:ext cx="736384" cy="756073"/>
            </a:xfrm>
            <a:prstGeom prst="line">
              <a:avLst/>
            </a:prstGeom>
            <a:noFill/>
            <a:ln w="6350">
              <a:solidFill>
                <a:schemeClr val="tx1"/>
              </a:solidFill>
              <a:round/>
              <a:headEnd/>
              <a:tailEnd type="diamond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it-IT" sz="1488"/>
            </a:p>
          </p:txBody>
        </p:sp>
        <p:sp>
          <p:nvSpPr>
            <p:cNvPr id="5131" name="Line 152"/>
            <p:cNvSpPr>
              <a:spLocks noChangeShapeType="1"/>
            </p:cNvSpPr>
            <p:nvPr/>
          </p:nvSpPr>
          <p:spPr bwMode="auto">
            <a:xfrm flipH="1" flipV="1">
              <a:off x="6457949" y="2910095"/>
              <a:ext cx="504049" cy="691754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diamond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it-IT" sz="1488"/>
            </a:p>
          </p:txBody>
        </p:sp>
        <p:sp>
          <p:nvSpPr>
            <p:cNvPr id="5132" name="AutoShape 154"/>
            <p:cNvSpPr>
              <a:spLocks/>
            </p:cNvSpPr>
            <p:nvPr/>
          </p:nvSpPr>
          <p:spPr bwMode="auto">
            <a:xfrm>
              <a:off x="4811915" y="4644076"/>
              <a:ext cx="1947939" cy="427917"/>
            </a:xfrm>
            <a:prstGeom prst="callout2">
              <a:avLst>
                <a:gd name="adj1" fmla="val 20056"/>
                <a:gd name="adj2" fmla="val -2764"/>
                <a:gd name="adj3" fmla="val 20056"/>
                <a:gd name="adj4" fmla="val -7718"/>
                <a:gd name="adj5" fmla="val -142620"/>
                <a:gd name="adj6" fmla="val -13421"/>
              </a:avLst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 w="9525" algn="ctr">
              <a:solidFill>
                <a:srgbClr val="000000"/>
              </a:solidFill>
              <a:miter lim="800000"/>
              <a:headEnd/>
              <a:tailEnd type="diamond" w="lg" len="lg"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it-IT" sz="1323" b="1">
                  <a:solidFill>
                    <a:srgbClr val="000000"/>
                  </a:solidFill>
                </a:rPr>
                <a:t>Bombardier Belfast</a:t>
              </a:r>
              <a:r>
                <a:rPr lang="en-US" altLang="it-IT" sz="1158" b="1">
                  <a:solidFill>
                    <a:srgbClr val="000000"/>
                  </a:solidFill>
                </a:rPr>
                <a:t>   </a:t>
              </a:r>
            </a:p>
            <a:p>
              <a:pPr algn="ctr" eaLnBrk="1" hangingPunct="1"/>
              <a:r>
                <a:rPr lang="en-US" altLang="it-IT" sz="1158" i="1">
                  <a:solidFill>
                    <a:srgbClr val="000000"/>
                  </a:solidFill>
                </a:rPr>
                <a:t>Wing</a:t>
              </a:r>
              <a:endParaRPr lang="en-CA" altLang="it-IT" sz="1158" i="1">
                <a:solidFill>
                  <a:schemeClr val="tx2"/>
                </a:solidFill>
              </a:endParaRPr>
            </a:p>
          </p:txBody>
        </p:sp>
        <p:sp>
          <p:nvSpPr>
            <p:cNvPr id="5133" name="Text Box 155"/>
            <p:cNvSpPr txBox="1">
              <a:spLocks noChangeArrowheads="1"/>
            </p:cNvSpPr>
            <p:nvPr/>
          </p:nvSpPr>
          <p:spPr bwMode="auto">
            <a:xfrm>
              <a:off x="7308532" y="1080293"/>
              <a:ext cx="1512147" cy="502736"/>
            </a:xfrm>
            <a:prstGeom prst="rect">
              <a:avLst/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>
              <a:noFill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554" tIns="37777" rIns="75554" bIns="37777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chemeClr val="accent1"/>
                </a:buClr>
              </a:pPr>
              <a:r>
                <a:rPr lang="en-US" altLang="it-IT" sz="1323" b="1">
                  <a:solidFill>
                    <a:srgbClr val="000000"/>
                  </a:solidFill>
                </a:rPr>
                <a:t>Rockwell Collins</a:t>
              </a:r>
              <a:r>
                <a:rPr lang="en-US" altLang="it-IT" sz="1158" b="1">
                  <a:solidFill>
                    <a:srgbClr val="000000"/>
                  </a:solidFill>
                </a:rPr>
                <a:t>     </a:t>
              </a:r>
              <a:r>
                <a:rPr lang="en-US" altLang="it-IT" sz="1158" i="1">
                  <a:solidFill>
                    <a:srgbClr val="000000"/>
                  </a:solidFill>
                </a:rPr>
                <a:t>Avionics</a:t>
              </a:r>
              <a:endParaRPr lang="en-US" altLang="it-IT" sz="1158" i="1">
                <a:solidFill>
                  <a:schemeClr val="bg1"/>
                </a:solidFill>
              </a:endParaRPr>
            </a:p>
          </p:txBody>
        </p:sp>
        <p:sp>
          <p:nvSpPr>
            <p:cNvPr id="5134" name="Line 156"/>
            <p:cNvSpPr>
              <a:spLocks noChangeShapeType="1"/>
            </p:cNvSpPr>
            <p:nvPr/>
          </p:nvSpPr>
          <p:spPr bwMode="auto">
            <a:xfrm flipH="1">
              <a:off x="7585497" y="1619783"/>
              <a:ext cx="484359" cy="1052727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diamond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it-IT" sz="1488"/>
            </a:p>
          </p:txBody>
        </p:sp>
        <p:sp>
          <p:nvSpPr>
            <p:cNvPr id="5135" name="Text Box 158"/>
            <p:cNvSpPr txBox="1">
              <a:spLocks noChangeArrowheads="1"/>
            </p:cNvSpPr>
            <p:nvPr/>
          </p:nvSpPr>
          <p:spPr bwMode="auto">
            <a:xfrm>
              <a:off x="1476529" y="756074"/>
              <a:ext cx="2000444" cy="649751"/>
            </a:xfrm>
            <a:prstGeom prst="rect">
              <a:avLst/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 w="9525" algn="ctr">
              <a:solidFill>
                <a:schemeClr val="bg2"/>
              </a:solidFill>
              <a:miter lim="800000"/>
              <a:headEnd type="none" w="lg" len="lg"/>
              <a:tailEnd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</p:spPr>
          <p:txBody>
            <a:bodyPr lIns="0" tIns="0" rIns="0" bIns="0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it-IT" sz="1323" b="1">
                  <a:solidFill>
                    <a:srgbClr val="000000"/>
                  </a:solidFill>
                </a:rPr>
                <a:t>Parker Hannifin </a:t>
              </a:r>
              <a:br>
                <a:rPr lang="en-US" altLang="it-IT" sz="1323" b="1">
                  <a:solidFill>
                    <a:srgbClr val="000000"/>
                  </a:solidFill>
                </a:rPr>
              </a:br>
              <a:r>
                <a:rPr lang="en-US" altLang="it-IT" sz="1158" i="1">
                  <a:solidFill>
                    <a:srgbClr val="000000"/>
                  </a:solidFill>
                </a:rPr>
                <a:t>Fuel &amp; Hydraulics</a:t>
              </a:r>
            </a:p>
          </p:txBody>
        </p:sp>
        <p:sp>
          <p:nvSpPr>
            <p:cNvPr id="5136" name="Text Box 159"/>
            <p:cNvSpPr txBox="1">
              <a:spLocks noChangeArrowheads="1"/>
            </p:cNvSpPr>
            <p:nvPr/>
          </p:nvSpPr>
          <p:spPr bwMode="auto">
            <a:xfrm>
              <a:off x="1527721" y="4482623"/>
              <a:ext cx="2558311" cy="630061"/>
            </a:xfrm>
            <a:prstGeom prst="rect">
              <a:avLst/>
            </a:prstGeom>
            <a:gradFill rotWithShape="1">
              <a:gsLst>
                <a:gs pos="0">
                  <a:srgbClr val="BCBCBC"/>
                </a:gs>
                <a:gs pos="35001">
                  <a:srgbClr val="D0D0D0"/>
                </a:gs>
                <a:gs pos="100000">
                  <a:srgbClr val="EDEDED"/>
                </a:gs>
              </a:gsLst>
              <a:lin ang="16200000" scaled="1"/>
            </a:gradFill>
            <a:ln>
              <a:noFill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554" tIns="37777" rIns="75554" bIns="37777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50000"/>
                </a:spcBef>
                <a:buClr>
                  <a:schemeClr val="accent1"/>
                </a:buClr>
              </a:pPr>
              <a:r>
                <a:rPr lang="en-US" altLang="it-IT" sz="1323" b="1">
                  <a:solidFill>
                    <a:srgbClr val="000000"/>
                  </a:solidFill>
                </a:rPr>
                <a:t>Liebherr-Aerospace Toulouse</a:t>
              </a:r>
              <a:r>
                <a:rPr lang="en-US" altLang="it-IT" sz="1158" b="1">
                  <a:solidFill>
                    <a:srgbClr val="000000"/>
                  </a:solidFill>
                </a:rPr>
                <a:t>    </a:t>
              </a:r>
              <a:r>
                <a:rPr lang="en-US" altLang="it-IT" sz="1158" i="1">
                  <a:solidFill>
                    <a:srgbClr val="000000"/>
                  </a:solidFill>
                </a:rPr>
                <a:t>Air Management System</a:t>
              </a:r>
              <a:endParaRPr lang="en-US" altLang="it-IT" sz="1158" i="1">
                <a:solidFill>
                  <a:schemeClr val="bg1"/>
                </a:solidFill>
              </a:endParaRPr>
            </a:p>
          </p:txBody>
        </p:sp>
        <p:sp>
          <p:nvSpPr>
            <p:cNvPr id="5137" name="Text Box 148"/>
            <p:cNvSpPr txBox="1">
              <a:spLocks noChangeArrowheads="1"/>
            </p:cNvSpPr>
            <p:nvPr/>
          </p:nvSpPr>
          <p:spPr bwMode="auto">
            <a:xfrm>
              <a:off x="1655047" y="3617601"/>
              <a:ext cx="1764171" cy="505362"/>
            </a:xfrm>
            <a:prstGeom prst="rect">
              <a:avLst/>
            </a:prstGeom>
            <a:solidFill>
              <a:srgbClr val="FFFF00"/>
            </a:solidFill>
            <a:ln>
              <a:noFill/>
            </a:ln>
            <a:effectLst>
              <a:outerShdw dist="20000" dir="5400000" rotWithShape="0">
                <a:srgbClr val="000000">
                  <a:alpha val="37999"/>
                </a:srgb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75554" tIns="37777" rIns="75554" bIns="37777" anchor="ctr" anchorCtr="1"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/>
              <a:r>
                <a:rPr lang="en-US" altLang="it-IT" sz="1323" b="1">
                  <a:solidFill>
                    <a:srgbClr val="000000"/>
                  </a:solidFill>
                </a:rPr>
                <a:t>Leonardo</a:t>
              </a:r>
              <a:endParaRPr lang="en-US" altLang="it-IT" sz="1158" b="1">
                <a:solidFill>
                  <a:srgbClr val="000000"/>
                </a:solidFill>
              </a:endParaRPr>
            </a:p>
            <a:p>
              <a:pPr algn="ctr" eaLnBrk="1" hangingPunct="1"/>
              <a:r>
                <a:rPr lang="en-US" altLang="it-IT" sz="1158" i="1">
                  <a:solidFill>
                    <a:srgbClr val="000000"/>
                  </a:solidFill>
                </a:rPr>
                <a:t>Empennages</a:t>
              </a:r>
              <a:endParaRPr lang="en-CA" altLang="it-IT" sz="1158" i="1">
                <a:solidFill>
                  <a:srgbClr val="000000"/>
                </a:solidFill>
              </a:endParaRPr>
            </a:p>
          </p:txBody>
        </p:sp>
        <p:sp>
          <p:nvSpPr>
            <p:cNvPr id="5138" name="Line 152"/>
            <p:cNvSpPr>
              <a:spLocks noChangeShapeType="1"/>
            </p:cNvSpPr>
            <p:nvPr/>
          </p:nvSpPr>
          <p:spPr bwMode="auto">
            <a:xfrm flipV="1">
              <a:off x="2621141" y="2700075"/>
              <a:ext cx="128637" cy="917526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diamond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it-IT" sz="1488"/>
            </a:p>
          </p:txBody>
        </p:sp>
        <p:sp>
          <p:nvSpPr>
            <p:cNvPr id="5139" name="Line 152"/>
            <p:cNvSpPr>
              <a:spLocks noChangeShapeType="1"/>
            </p:cNvSpPr>
            <p:nvPr/>
          </p:nvSpPr>
          <p:spPr bwMode="auto">
            <a:xfrm flipH="1" flipV="1">
              <a:off x="2468875" y="3158182"/>
              <a:ext cx="152265" cy="486985"/>
            </a:xfrm>
            <a:prstGeom prst="line">
              <a:avLst/>
            </a:prstGeom>
            <a:noFill/>
            <a:ln w="12700">
              <a:solidFill>
                <a:schemeClr val="tx1"/>
              </a:solidFill>
              <a:round/>
              <a:headEnd/>
              <a:tailEnd type="diamond" w="lg" len="lg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>
              <a:spAutoFit/>
            </a:bodyPr>
            <a:lstStyle/>
            <a:p>
              <a:endParaRPr lang="it-IT" sz="1488"/>
            </a:p>
          </p:txBody>
        </p:sp>
        <p:sp>
          <p:nvSpPr>
            <p:cNvPr id="2" name="Ovale 1"/>
            <p:cNvSpPr/>
            <p:nvPr/>
          </p:nvSpPr>
          <p:spPr>
            <a:xfrm>
              <a:off x="1941200" y="1823240"/>
              <a:ext cx="1965003" cy="1086855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dash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  <p:sp>
          <p:nvSpPr>
            <p:cNvPr id="24" name="Ovale 23"/>
            <p:cNvSpPr/>
            <p:nvPr/>
          </p:nvSpPr>
          <p:spPr>
            <a:xfrm>
              <a:off x="1941199" y="2833963"/>
              <a:ext cx="981845" cy="584119"/>
            </a:xfrm>
            <a:prstGeom prst="ellipse">
              <a:avLst/>
            </a:prstGeom>
            <a:noFill/>
            <a:ln w="28575">
              <a:solidFill>
                <a:srgbClr val="FFFF00"/>
              </a:solidFill>
              <a:prstDash val="dashDot"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it-IT" sz="1488"/>
            </a:p>
          </p:txBody>
        </p:sp>
      </p:grpSp>
      <p:sp>
        <p:nvSpPr>
          <p:cNvPr id="3" name="Titolo 2"/>
          <p:cNvSpPr>
            <a:spLocks noGrp="1"/>
          </p:cNvSpPr>
          <p:nvPr>
            <p:ph type="title"/>
          </p:nvPr>
        </p:nvSpPr>
        <p:spPr>
          <a:xfrm>
            <a:off x="550370" y="535552"/>
            <a:ext cx="8979886" cy="585554"/>
          </a:xfrm>
        </p:spPr>
        <p:txBody>
          <a:bodyPr>
            <a:normAutofit fontScale="90000"/>
          </a:bodyPr>
          <a:lstStyle/>
          <a:p>
            <a:r>
              <a:rPr lang="en-GB" dirty="0"/>
              <a:t>A220 </a:t>
            </a:r>
            <a:r>
              <a:rPr lang="en-GB" dirty="0" smtClean="0"/>
              <a:t>Progra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413099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YU.7.J_0ervX4N4.IRE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W3.b6EJ802ofFUORf6wzA"/>
</p:tagLst>
</file>

<file path=ppt/theme/theme1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227</TotalTime>
  <Words>1215</Words>
  <Application>Microsoft Office PowerPoint</Application>
  <PresentationFormat>Personalizzato</PresentationFormat>
  <Paragraphs>320</Paragraphs>
  <Slides>33</Slides>
  <Notes>5</Notes>
  <HiddenSlides>2</HiddenSlides>
  <MMClips>0</MMClips>
  <ScaleCrop>false</ScaleCrop>
  <HeadingPairs>
    <vt:vector size="10" baseType="variant">
      <vt:variant>
        <vt:lpstr>Caratteri utilizzati</vt:lpstr>
      </vt:variant>
      <vt:variant>
        <vt:i4>11</vt:i4>
      </vt:variant>
      <vt:variant>
        <vt:lpstr>Tema</vt:lpstr>
      </vt:variant>
      <vt:variant>
        <vt:i4>1</vt:i4>
      </vt:variant>
      <vt:variant>
        <vt:lpstr>Collegamenti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33</vt:i4>
      </vt:variant>
    </vt:vector>
  </HeadingPairs>
  <TitlesOfParts>
    <vt:vector size="48" baseType="lpstr">
      <vt:lpstr>MS PGothic</vt:lpstr>
      <vt:lpstr>MS PGothic</vt:lpstr>
      <vt:lpstr>Arial</vt:lpstr>
      <vt:lpstr>Arial Narrow</vt:lpstr>
      <vt:lpstr>Calibri</vt:lpstr>
      <vt:lpstr>Calibri Light</vt:lpstr>
      <vt:lpstr>新細明體</vt:lpstr>
      <vt:lpstr>Symbol</vt:lpstr>
      <vt:lpstr>Times New Roman</vt:lpstr>
      <vt:lpstr>Tw Cen MT Condensed</vt:lpstr>
      <vt:lpstr>Wingdings</vt:lpstr>
      <vt:lpstr>Tema di Office</vt:lpstr>
      <vt:lpstr>???</vt:lpstr>
      <vt:lpstr>???</vt:lpstr>
      <vt:lpstr>think-cell Slide</vt:lpstr>
      <vt:lpstr>Progetto ISAF</vt:lpstr>
      <vt:lpstr>Boeing 787 - The Aerostructure Division’s role</vt:lpstr>
      <vt:lpstr>Presentazione standard di PowerPoint</vt:lpstr>
      <vt:lpstr>Presentazione standard di PowerPoint</vt:lpstr>
      <vt:lpstr>Heritage – CFRP Fuselage Timeline</vt:lpstr>
      <vt:lpstr>Heritage – CFRP Wings Timeline</vt:lpstr>
      <vt:lpstr>ATR Program</vt:lpstr>
      <vt:lpstr>Presentazione standard di PowerPoint</vt:lpstr>
      <vt:lpstr>A220 Program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Assemblaggio ed installazione dello shim</vt:lpstr>
      <vt:lpstr>Configurazione teorica</vt:lpstr>
      <vt:lpstr>Motivazioni della variabilità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ogetto ISAF</vt:lpstr>
      <vt:lpstr>Stato dell’arte del processo di shimming Materiale Sacrificale</vt:lpstr>
      <vt:lpstr>Stato dell’arte del processo di shimming Shim Liquido</vt:lpstr>
      <vt:lpstr>Stato dell’arte del processo di shimming Shim in composito fresato</vt:lpstr>
      <vt:lpstr>Presentazione standard di PowerPoint</vt:lpstr>
      <vt:lpstr>Ottimizzazione processo esistente Shim in composito fresato</vt:lpstr>
      <vt:lpstr>Stampa additiva shim</vt:lpstr>
      <vt:lpstr>Proprietà dei materiali e dei processi di stampa 3D</vt:lpstr>
      <vt:lpstr>Presentazione standard di PowerPoint</vt:lpstr>
      <vt:lpstr>Deposizione shim in-situ</vt:lpstr>
      <vt:lpstr>Realizzazione di attrezzature adattative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standard di PowerPoint</dc:title>
  <dc:subject/>
  <dc:creator>GALLO NICOLA 1058</dc:creator>
  <dc:description/>
  <cp:lastModifiedBy>GALLO NICOLA 1058</cp:lastModifiedBy>
  <cp:revision>26</cp:revision>
  <dcterms:created xsi:type="dcterms:W3CDTF">2022-04-12T10:45:21Z</dcterms:created>
  <dcterms:modified xsi:type="dcterms:W3CDTF">2022-04-27T22:50:02Z</dcterms:modified>
  <dc:language>it-IT</dc:language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3bb4f5e6-4689-4e32-8ee0-7c59def9675b_Enabled">
    <vt:lpwstr>true</vt:lpwstr>
  </property>
  <property fmtid="{D5CDD505-2E9C-101B-9397-08002B2CF9AE}" pid="3" name="MSIP_Label_3bb4f5e6-4689-4e32-8ee0-7c59def9675b_SetDate">
    <vt:lpwstr>2022-04-27T22:50:01Z</vt:lpwstr>
  </property>
  <property fmtid="{D5CDD505-2E9C-101B-9397-08002B2CF9AE}" pid="4" name="MSIP_Label_3bb4f5e6-4689-4e32-8ee0-7c59def9675b_Method">
    <vt:lpwstr>Privileged</vt:lpwstr>
  </property>
  <property fmtid="{D5CDD505-2E9C-101B-9397-08002B2CF9AE}" pid="5" name="MSIP_Label_3bb4f5e6-4689-4e32-8ee0-7c59def9675b_Name">
    <vt:lpwstr>3bb4f5e6-4689-4e32-8ee0-7c59def9675b</vt:lpwstr>
  </property>
  <property fmtid="{D5CDD505-2E9C-101B-9397-08002B2CF9AE}" pid="6" name="MSIP_Label_3bb4f5e6-4689-4e32-8ee0-7c59def9675b_SiteId">
    <vt:lpwstr>31ae1cef-2393-4eb1-8962-4e4bbfccd663</vt:lpwstr>
  </property>
  <property fmtid="{D5CDD505-2E9C-101B-9397-08002B2CF9AE}" pid="7" name="MSIP_Label_3bb4f5e6-4689-4e32-8ee0-7c59def9675b_ActionId">
    <vt:lpwstr>8c10fd48-6e20-4eb6-b21b-e47d332d6730</vt:lpwstr>
  </property>
  <property fmtid="{D5CDD505-2E9C-101B-9397-08002B2CF9AE}" pid="8" name="MSIP_Label_3bb4f5e6-4689-4e32-8ee0-7c59def9675b_ContentBits">
    <vt:lpwstr>2</vt:lpwstr>
  </property>
</Properties>
</file>